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5" r:id="rId1"/>
    <p:sldMasterId id="2147483778" r:id="rId2"/>
  </p:sldMasterIdLst>
  <p:notesMasterIdLst>
    <p:notesMasterId r:id="rId23"/>
  </p:notesMasterIdLst>
  <p:handoutMasterIdLst>
    <p:handoutMasterId r:id="rId24"/>
  </p:handoutMasterIdLst>
  <p:sldIdLst>
    <p:sldId id="339" r:id="rId3"/>
    <p:sldId id="347" r:id="rId4"/>
    <p:sldId id="353" r:id="rId5"/>
    <p:sldId id="351" r:id="rId6"/>
    <p:sldId id="354" r:id="rId7"/>
    <p:sldId id="355" r:id="rId8"/>
    <p:sldId id="359" r:id="rId9"/>
    <p:sldId id="363" r:id="rId10"/>
    <p:sldId id="360" r:id="rId11"/>
    <p:sldId id="364" r:id="rId12"/>
    <p:sldId id="361" r:id="rId13"/>
    <p:sldId id="365" r:id="rId14"/>
    <p:sldId id="366" r:id="rId15"/>
    <p:sldId id="367" r:id="rId16"/>
    <p:sldId id="368" r:id="rId17"/>
    <p:sldId id="371" r:id="rId18"/>
    <p:sldId id="369" r:id="rId19"/>
    <p:sldId id="370" r:id="rId20"/>
    <p:sldId id="372" r:id="rId21"/>
    <p:sldId id="350" r:id="rId22"/>
  </p:sldIdLst>
  <p:sldSz cx="9144000" cy="6858000" type="screen4x3"/>
  <p:notesSz cx="6735763" cy="98663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8EB"/>
    <a:srgbClr val="FF8500"/>
    <a:srgbClr val="E4FF85"/>
    <a:srgbClr val="C9600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67" autoAdjust="0"/>
    <p:restoredTop sz="94660"/>
  </p:normalViewPr>
  <p:slideViewPr>
    <p:cSldViewPr>
      <p:cViewPr varScale="1">
        <p:scale>
          <a:sx n="117" d="100"/>
          <a:sy n="117" d="100"/>
        </p:scale>
        <p:origin x="-171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7C484C-84C5-4BB2-8A46-C17C23CA20F0}" type="doc">
      <dgm:prSet loTypeId="urn:microsoft.com/office/officeart/2005/8/layout/process1" loCatId="process" qsTypeId="urn:microsoft.com/office/officeart/2005/8/quickstyle/simple1" qsCatId="simple" csTypeId="urn:microsoft.com/office/officeart/2005/8/colors/accent0_1" csCatId="mainScheme" phldr="1"/>
      <dgm:spPr/>
    </dgm:pt>
    <dgm:pt modelId="{5948D2B9-AAFC-47A4-AA5A-522679E0FE83}">
      <dgm:prSet phldrT="[Текст]" custT="1"/>
      <dgm:spPr/>
      <dgm:t>
        <a:bodyPr/>
        <a:lstStyle/>
        <a:p>
          <a:r>
            <a:rPr lang="ru-RU" sz="1600" dirty="0" smtClean="0"/>
            <a:t>Схема территориального планирования РФ</a:t>
          </a:r>
          <a:endParaRPr lang="ru-RU" sz="1600" dirty="0"/>
        </a:p>
      </dgm:t>
    </dgm:pt>
    <dgm:pt modelId="{5C9A206C-F018-4EA0-A726-19E22488F9C0}" type="parTrans" cxnId="{B7612F54-A559-4DCA-AD84-3ADCF7DB4637}">
      <dgm:prSet/>
      <dgm:spPr/>
      <dgm:t>
        <a:bodyPr/>
        <a:lstStyle/>
        <a:p>
          <a:endParaRPr lang="ru-RU"/>
        </a:p>
      </dgm:t>
    </dgm:pt>
    <dgm:pt modelId="{3E82E776-774F-473A-8F57-8B1E7EF87755}" type="sibTrans" cxnId="{B7612F54-A559-4DCA-AD84-3ADCF7DB4637}">
      <dgm:prSet/>
      <dgm:spPr/>
      <dgm:t>
        <a:bodyPr/>
        <a:lstStyle/>
        <a:p>
          <a:endParaRPr lang="ru-RU"/>
        </a:p>
      </dgm:t>
    </dgm:pt>
    <dgm:pt modelId="{8D35A4C7-C845-4ACF-A5A8-3DD53A20A919}">
      <dgm:prSet phldrT="[Текст]" custT="1"/>
      <dgm:spPr/>
      <dgm:t>
        <a:bodyPr/>
        <a:lstStyle/>
        <a:p>
          <a:r>
            <a:rPr lang="ru-RU" sz="1600" dirty="0" smtClean="0">
              <a:latin typeface="+mn-lt"/>
            </a:rPr>
            <a:t>Проектная документация</a:t>
          </a:r>
        </a:p>
        <a:p>
          <a:r>
            <a:rPr lang="ru-RU" sz="1000" dirty="0" smtClean="0">
              <a:latin typeface="+mn-lt"/>
            </a:rPr>
            <a:t>(в соотв. С ПП РФ № 87 от 16.02.2008)</a:t>
          </a:r>
          <a:endParaRPr lang="ru-RU" sz="1000" dirty="0">
            <a:latin typeface="+mn-lt"/>
          </a:endParaRPr>
        </a:p>
      </dgm:t>
    </dgm:pt>
    <dgm:pt modelId="{107CC047-C022-4337-916F-7309A2B84CDD}" type="parTrans" cxnId="{BEC49070-40FD-4C5E-A6E5-352630A99BD0}">
      <dgm:prSet/>
      <dgm:spPr/>
      <dgm:t>
        <a:bodyPr/>
        <a:lstStyle/>
        <a:p>
          <a:endParaRPr lang="ru-RU"/>
        </a:p>
      </dgm:t>
    </dgm:pt>
    <dgm:pt modelId="{5D6F1017-F32D-4526-A518-771B7217BC22}" type="sibTrans" cxnId="{BEC49070-40FD-4C5E-A6E5-352630A99BD0}">
      <dgm:prSet/>
      <dgm:spPr/>
      <dgm:t>
        <a:bodyPr/>
        <a:lstStyle/>
        <a:p>
          <a:endParaRPr lang="ru-RU"/>
        </a:p>
      </dgm:t>
    </dgm:pt>
    <dgm:pt modelId="{5A1514A6-A73D-4CCB-AAA4-CEAB971FA888}">
      <dgm:prSet phldrT="[Текст]" custT="1"/>
      <dgm:spPr/>
      <dgm:t>
        <a:bodyPr/>
        <a:lstStyle/>
        <a:p>
          <a:r>
            <a:rPr lang="ru-RU" sz="1600" dirty="0" smtClean="0"/>
            <a:t>Подготовка территории и строительство</a:t>
          </a:r>
          <a:endParaRPr lang="ru-RU" sz="1600" dirty="0"/>
        </a:p>
      </dgm:t>
    </dgm:pt>
    <dgm:pt modelId="{E2488F95-75D2-4A00-B4F8-B2B3F832C4F6}" type="parTrans" cxnId="{D7017983-DE35-4CF0-9838-75204406DFCA}">
      <dgm:prSet/>
      <dgm:spPr/>
      <dgm:t>
        <a:bodyPr/>
        <a:lstStyle/>
        <a:p>
          <a:endParaRPr lang="ru-RU"/>
        </a:p>
      </dgm:t>
    </dgm:pt>
    <dgm:pt modelId="{F35BCF80-C453-4CEB-B13B-AD3647D1423F}" type="sibTrans" cxnId="{D7017983-DE35-4CF0-9838-75204406DFCA}">
      <dgm:prSet/>
      <dgm:spPr/>
      <dgm:t>
        <a:bodyPr/>
        <a:lstStyle/>
        <a:p>
          <a:endParaRPr lang="ru-RU"/>
        </a:p>
      </dgm:t>
    </dgm:pt>
    <dgm:pt modelId="{CB272742-9FC3-434D-8FF6-D02B97F67942}" type="pres">
      <dgm:prSet presAssocID="{A07C484C-84C5-4BB2-8A46-C17C23CA20F0}" presName="Name0" presStyleCnt="0">
        <dgm:presLayoutVars>
          <dgm:dir/>
          <dgm:resizeHandles val="exact"/>
        </dgm:presLayoutVars>
      </dgm:prSet>
      <dgm:spPr/>
    </dgm:pt>
    <dgm:pt modelId="{2F6FF044-9B3C-41B2-8E84-A49DFEF9F5FF}" type="pres">
      <dgm:prSet presAssocID="{5948D2B9-AAFC-47A4-AA5A-522679E0FE83}" presName="node" presStyleLbl="node1" presStyleIdx="0" presStyleCnt="3" custScaleX="1113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65663B-4855-41CD-9EF9-F713EBA35B3F}" type="pres">
      <dgm:prSet presAssocID="{3E82E776-774F-473A-8F57-8B1E7EF87755}" presName="sibTrans" presStyleLbl="sibTrans2D1" presStyleIdx="0" presStyleCnt="2"/>
      <dgm:spPr/>
      <dgm:t>
        <a:bodyPr/>
        <a:lstStyle/>
        <a:p>
          <a:endParaRPr lang="ru-RU"/>
        </a:p>
      </dgm:t>
    </dgm:pt>
    <dgm:pt modelId="{26D4CFC5-B8DB-4F91-8D40-4B56E035D008}" type="pres">
      <dgm:prSet presAssocID="{3E82E776-774F-473A-8F57-8B1E7EF87755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AFF8480E-3688-4259-A3CC-3E76A5E4935B}" type="pres">
      <dgm:prSet presAssocID="{8D35A4C7-C845-4ACF-A5A8-3DD53A20A91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C49E8B-1F8F-4675-BE11-BB08153911AA}" type="pres">
      <dgm:prSet presAssocID="{5D6F1017-F32D-4526-A518-771B7217BC22}" presName="sibTrans" presStyleLbl="sibTrans2D1" presStyleIdx="1" presStyleCnt="2"/>
      <dgm:spPr/>
      <dgm:t>
        <a:bodyPr/>
        <a:lstStyle/>
        <a:p>
          <a:endParaRPr lang="ru-RU"/>
        </a:p>
      </dgm:t>
    </dgm:pt>
    <dgm:pt modelId="{BC7B0230-7FE1-4B75-BDFA-C555EE33A1FE}" type="pres">
      <dgm:prSet presAssocID="{5D6F1017-F32D-4526-A518-771B7217BC22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FBEAE38F-F4EB-4BD1-A03A-1CB593E79AFA}" type="pres">
      <dgm:prSet presAssocID="{5A1514A6-A73D-4CCB-AAA4-CEAB971FA88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35D521B-930B-4AFD-BB7F-330956D2B49C}" type="presOf" srcId="{5D6F1017-F32D-4526-A518-771B7217BC22}" destId="{ABC49E8B-1F8F-4675-BE11-BB08153911AA}" srcOrd="0" destOrd="0" presId="urn:microsoft.com/office/officeart/2005/8/layout/process1"/>
    <dgm:cxn modelId="{0B30A543-197D-4F3E-98FD-B9F5141138BB}" type="presOf" srcId="{3E82E776-774F-473A-8F57-8B1E7EF87755}" destId="{26D4CFC5-B8DB-4F91-8D40-4B56E035D008}" srcOrd="1" destOrd="0" presId="urn:microsoft.com/office/officeart/2005/8/layout/process1"/>
    <dgm:cxn modelId="{BB1105FD-6BEF-4FE8-B4DE-0347BABECA9D}" type="presOf" srcId="{8D35A4C7-C845-4ACF-A5A8-3DD53A20A919}" destId="{AFF8480E-3688-4259-A3CC-3E76A5E4935B}" srcOrd="0" destOrd="0" presId="urn:microsoft.com/office/officeart/2005/8/layout/process1"/>
    <dgm:cxn modelId="{D7017983-DE35-4CF0-9838-75204406DFCA}" srcId="{A07C484C-84C5-4BB2-8A46-C17C23CA20F0}" destId="{5A1514A6-A73D-4CCB-AAA4-CEAB971FA888}" srcOrd="2" destOrd="0" parTransId="{E2488F95-75D2-4A00-B4F8-B2B3F832C4F6}" sibTransId="{F35BCF80-C453-4CEB-B13B-AD3647D1423F}"/>
    <dgm:cxn modelId="{CE0A0A16-6EC6-4BFB-BE5A-DF20421B6334}" type="presOf" srcId="{5A1514A6-A73D-4CCB-AAA4-CEAB971FA888}" destId="{FBEAE38F-F4EB-4BD1-A03A-1CB593E79AFA}" srcOrd="0" destOrd="0" presId="urn:microsoft.com/office/officeart/2005/8/layout/process1"/>
    <dgm:cxn modelId="{B7612F54-A559-4DCA-AD84-3ADCF7DB4637}" srcId="{A07C484C-84C5-4BB2-8A46-C17C23CA20F0}" destId="{5948D2B9-AAFC-47A4-AA5A-522679E0FE83}" srcOrd="0" destOrd="0" parTransId="{5C9A206C-F018-4EA0-A726-19E22488F9C0}" sibTransId="{3E82E776-774F-473A-8F57-8B1E7EF87755}"/>
    <dgm:cxn modelId="{BEC49070-40FD-4C5E-A6E5-352630A99BD0}" srcId="{A07C484C-84C5-4BB2-8A46-C17C23CA20F0}" destId="{8D35A4C7-C845-4ACF-A5A8-3DD53A20A919}" srcOrd="1" destOrd="0" parTransId="{107CC047-C022-4337-916F-7309A2B84CDD}" sibTransId="{5D6F1017-F32D-4526-A518-771B7217BC22}"/>
    <dgm:cxn modelId="{EB903A4E-785E-46CC-ADE7-7C0BFB86E8FE}" type="presOf" srcId="{5948D2B9-AAFC-47A4-AA5A-522679E0FE83}" destId="{2F6FF044-9B3C-41B2-8E84-A49DFEF9F5FF}" srcOrd="0" destOrd="0" presId="urn:microsoft.com/office/officeart/2005/8/layout/process1"/>
    <dgm:cxn modelId="{8205BAE2-6FED-4FFD-BCBB-1332EDB4EA47}" type="presOf" srcId="{A07C484C-84C5-4BB2-8A46-C17C23CA20F0}" destId="{CB272742-9FC3-434D-8FF6-D02B97F67942}" srcOrd="0" destOrd="0" presId="urn:microsoft.com/office/officeart/2005/8/layout/process1"/>
    <dgm:cxn modelId="{E48E38F6-6F9F-406C-B339-173207B2C557}" type="presOf" srcId="{3E82E776-774F-473A-8F57-8B1E7EF87755}" destId="{1065663B-4855-41CD-9EF9-F713EBA35B3F}" srcOrd="0" destOrd="0" presId="urn:microsoft.com/office/officeart/2005/8/layout/process1"/>
    <dgm:cxn modelId="{E5DCECDB-E6D2-41F6-B16E-17C643E5C28E}" type="presOf" srcId="{5D6F1017-F32D-4526-A518-771B7217BC22}" destId="{BC7B0230-7FE1-4B75-BDFA-C555EE33A1FE}" srcOrd="1" destOrd="0" presId="urn:microsoft.com/office/officeart/2005/8/layout/process1"/>
    <dgm:cxn modelId="{C652786F-4145-4E48-821A-8B6F4B356BA1}" type="presParOf" srcId="{CB272742-9FC3-434D-8FF6-D02B97F67942}" destId="{2F6FF044-9B3C-41B2-8E84-A49DFEF9F5FF}" srcOrd="0" destOrd="0" presId="urn:microsoft.com/office/officeart/2005/8/layout/process1"/>
    <dgm:cxn modelId="{C92C6EE9-9F29-4CEE-8EA4-CBEDE68183F7}" type="presParOf" srcId="{CB272742-9FC3-434D-8FF6-D02B97F67942}" destId="{1065663B-4855-41CD-9EF9-F713EBA35B3F}" srcOrd="1" destOrd="0" presId="urn:microsoft.com/office/officeart/2005/8/layout/process1"/>
    <dgm:cxn modelId="{3D48F18A-B322-4A4E-A9EC-45D08E38A9FF}" type="presParOf" srcId="{1065663B-4855-41CD-9EF9-F713EBA35B3F}" destId="{26D4CFC5-B8DB-4F91-8D40-4B56E035D008}" srcOrd="0" destOrd="0" presId="urn:microsoft.com/office/officeart/2005/8/layout/process1"/>
    <dgm:cxn modelId="{8E34873D-9DA1-4484-80D3-8FDBB43030B2}" type="presParOf" srcId="{CB272742-9FC3-434D-8FF6-D02B97F67942}" destId="{AFF8480E-3688-4259-A3CC-3E76A5E4935B}" srcOrd="2" destOrd="0" presId="urn:microsoft.com/office/officeart/2005/8/layout/process1"/>
    <dgm:cxn modelId="{C7057CA8-0A80-43F9-BB7C-7AC407A24528}" type="presParOf" srcId="{CB272742-9FC3-434D-8FF6-D02B97F67942}" destId="{ABC49E8B-1F8F-4675-BE11-BB08153911AA}" srcOrd="3" destOrd="0" presId="urn:microsoft.com/office/officeart/2005/8/layout/process1"/>
    <dgm:cxn modelId="{61EB740A-9136-4D83-9F4E-F31E7F54CDA9}" type="presParOf" srcId="{ABC49E8B-1F8F-4675-BE11-BB08153911AA}" destId="{BC7B0230-7FE1-4B75-BDFA-C555EE33A1FE}" srcOrd="0" destOrd="0" presId="urn:microsoft.com/office/officeart/2005/8/layout/process1"/>
    <dgm:cxn modelId="{1FABA7F2-BF20-4AD8-8276-B088FE141C87}" type="presParOf" srcId="{CB272742-9FC3-434D-8FF6-D02B97F67942}" destId="{FBEAE38F-F4EB-4BD1-A03A-1CB593E79AFA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6FF044-9B3C-41B2-8E84-A49DFEF9F5FF}">
      <dsp:nvSpPr>
        <dsp:cNvPr id="0" name=""/>
        <dsp:cNvSpPr/>
      </dsp:nvSpPr>
      <dsp:spPr>
        <a:xfrm>
          <a:off x="5850" y="142163"/>
          <a:ext cx="2010893" cy="10838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Схема территориального планирования РФ</a:t>
          </a:r>
          <a:endParaRPr lang="ru-RU" sz="1600" kern="1200" dirty="0"/>
        </a:p>
      </dsp:txBody>
      <dsp:txXfrm>
        <a:off x="37594" y="173907"/>
        <a:ext cx="1947405" cy="1020337"/>
      </dsp:txXfrm>
    </dsp:sp>
    <dsp:sp modelId="{1065663B-4855-41CD-9EF9-F713EBA35B3F}">
      <dsp:nvSpPr>
        <dsp:cNvPr id="0" name=""/>
        <dsp:cNvSpPr/>
      </dsp:nvSpPr>
      <dsp:spPr>
        <a:xfrm>
          <a:off x="2197382" y="460085"/>
          <a:ext cx="382951" cy="447981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/>
        </a:p>
      </dsp:txBody>
      <dsp:txXfrm>
        <a:off x="2197382" y="549681"/>
        <a:ext cx="268066" cy="268789"/>
      </dsp:txXfrm>
    </dsp:sp>
    <dsp:sp modelId="{AFF8480E-3688-4259-A3CC-3E76A5E4935B}">
      <dsp:nvSpPr>
        <dsp:cNvPr id="0" name=""/>
        <dsp:cNvSpPr/>
      </dsp:nvSpPr>
      <dsp:spPr>
        <a:xfrm>
          <a:off x="2739294" y="142163"/>
          <a:ext cx="1806375" cy="10838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+mn-lt"/>
            </a:rPr>
            <a:t>Проектная документация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+mn-lt"/>
            </a:rPr>
            <a:t>(в соотв. С ПП РФ № 87 от 16.02.2008)</a:t>
          </a:r>
          <a:endParaRPr lang="ru-RU" sz="1000" kern="1200" dirty="0">
            <a:latin typeface="+mn-lt"/>
          </a:endParaRPr>
        </a:p>
      </dsp:txBody>
      <dsp:txXfrm>
        <a:off x="2771038" y="173907"/>
        <a:ext cx="1742887" cy="1020337"/>
      </dsp:txXfrm>
    </dsp:sp>
    <dsp:sp modelId="{ABC49E8B-1F8F-4675-BE11-BB08153911AA}">
      <dsp:nvSpPr>
        <dsp:cNvPr id="0" name=""/>
        <dsp:cNvSpPr/>
      </dsp:nvSpPr>
      <dsp:spPr>
        <a:xfrm>
          <a:off x="4726308" y="460085"/>
          <a:ext cx="382951" cy="447981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/>
        </a:p>
      </dsp:txBody>
      <dsp:txXfrm>
        <a:off x="4726308" y="549681"/>
        <a:ext cx="268066" cy="268789"/>
      </dsp:txXfrm>
    </dsp:sp>
    <dsp:sp modelId="{FBEAE38F-F4EB-4BD1-A03A-1CB593E79AFA}">
      <dsp:nvSpPr>
        <dsp:cNvPr id="0" name=""/>
        <dsp:cNvSpPr/>
      </dsp:nvSpPr>
      <dsp:spPr>
        <a:xfrm>
          <a:off x="5268221" y="142163"/>
          <a:ext cx="1806375" cy="10838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Подготовка территории и строительство</a:t>
          </a:r>
          <a:endParaRPr lang="ru-RU" sz="1600" kern="1200" dirty="0"/>
        </a:p>
      </dsp:txBody>
      <dsp:txXfrm>
        <a:off x="5299965" y="173907"/>
        <a:ext cx="1742887" cy="10203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9F8F6ED6-0020-4649-8E18-872C80A7FFC0}" type="datetimeFigureOut">
              <a:rPr lang="ru-RU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FB4C7884-868E-414E-8679-2B27BB0525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9864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4C21B0B-52CD-4D8C-8C4D-30B22394C257}" type="datetimeFigureOut">
              <a:rPr lang="ru-RU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F0DACF-D815-4AE5-831D-9EA3BD3682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19636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целях реализации кадровой стратегии мы прежде всего опираемся на наших сотрудников.</a:t>
            </a:r>
          </a:p>
          <a:p>
            <a:r>
              <a:rPr lang="ru-RU" dirty="0"/>
              <a:t>Ключевой движущей</a:t>
            </a:r>
            <a:r>
              <a:rPr lang="ru-RU" baseline="0" dirty="0"/>
              <a:t> силой любой крупной компании являются менеджеры среднего звена.</a:t>
            </a:r>
          </a:p>
          <a:p>
            <a:r>
              <a:rPr lang="ru-RU" baseline="0" dirty="0"/>
              <a:t>Именно их управленческих профессионализм определяет темп движения компании в внешней среде, доведение до результатов решений руководства. 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6076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целях реализации кадровой стратегии мы прежде всего опираемся на наших сотрудников.</a:t>
            </a:r>
          </a:p>
          <a:p>
            <a:r>
              <a:rPr lang="ru-RU" dirty="0"/>
              <a:t>Ключевой движущей</a:t>
            </a:r>
            <a:r>
              <a:rPr lang="ru-RU" baseline="0" dirty="0"/>
              <a:t> силой любой крупной компании являются менеджеры среднего звена.</a:t>
            </a:r>
          </a:p>
          <a:p>
            <a:r>
              <a:rPr lang="ru-RU" baseline="0" dirty="0"/>
              <a:t>Именно их управленческих профессионализм определяет темп движения компании в внешней среде, доведение до результатов решений руководства. 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6076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8AAE6D-91C6-43D7-91D1-55D3799871F6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C3614-E1B4-431E-AB38-F9B08C2EB8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4BE9A8-BD9D-4189-858F-8D6987153990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DEBDB6-5CE8-4F9C-A12D-59AC3102D54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1D8527-6865-47E2-BBC5-7B7B4DAE6D79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182494-7703-4D16-8FAF-FFBE6529543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30869-723B-4819-8B49-7CD39DF67881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4604C-C156-46C3-90CA-0B47DFBB938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grpSp>
        <p:nvGrpSpPr>
          <p:cNvPr id="5" name="Группа 4"/>
          <p:cNvGrpSpPr>
            <a:grpSpLocks/>
          </p:cNvGrpSpPr>
          <p:nvPr userDrawn="1"/>
        </p:nvGrpSpPr>
        <p:grpSpPr bwMode="auto">
          <a:xfrm>
            <a:off x="0" y="6237312"/>
            <a:ext cx="9144000" cy="620708"/>
            <a:chOff x="2982913" y="4741502"/>
            <a:chExt cx="5707062" cy="196842"/>
          </a:xfrm>
        </p:grpSpPr>
        <p:sp>
          <p:nvSpPr>
            <p:cNvPr id="6" name="Rectangl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982913" y="4741502"/>
              <a:ext cx="5707062" cy="148103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7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982913" y="4889606"/>
              <a:ext cx="5707062" cy="48738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</p:grpSp>
      <p:sp>
        <p:nvSpPr>
          <p:cNvPr id="8" name="Номер слайда 1"/>
          <p:cNvSpPr txBox="1">
            <a:spLocks/>
          </p:cNvSpPr>
          <p:nvPr userDrawn="1"/>
        </p:nvSpPr>
        <p:spPr>
          <a:xfrm>
            <a:off x="658822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7FBA7BBD-9857-4CBE-B425-B78ADDF2517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0232" y="188640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539552" y="908720"/>
            <a:ext cx="604867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81084" y="365125"/>
            <a:ext cx="6048672" cy="543595"/>
          </a:xfrm>
        </p:spPr>
        <p:txBody>
          <a:bodyPr/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50753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38B9EC-9C70-4C30-9E0C-A15DC055C7E5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2B70A-B3F9-46D7-8A1E-389E9604356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046473-9909-4EE6-95AA-9F7FB92D752C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E5FD3-16E5-4A14-8BA0-376E0BEE1E4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F1358-9B57-41F4-AAE2-01437688CF1D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036D4-2439-4377-9ADD-6F7EC3F1A38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67EAE3-42C5-44AB-A5F0-0BE45C329FF1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422B36-5DED-4A50-909B-6D1C887E5BA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BC6268-EEEC-4FD1-AB6C-43B2DD8466ED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74989-3122-4BD9-8BBB-5B4A7574D59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50B25-4A50-4159-9214-FD7FE9538964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42D7D-44EC-4B12-878E-B157430311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30869-723B-4819-8B49-7CD39DF67881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4604C-C156-46C3-90CA-0B47DFBB938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/>
          </a:bodyPr>
          <a:lstStyle>
            <a:lvl1pPr algn="l">
              <a:defRPr sz="24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AC95C-4EA7-4332-B949-C9C7F6FCE89C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7D2E4-E25F-451A-8903-5D00E67990C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612DD-BB32-4887-B592-0C5A9C498449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A66DC9-52B1-469A-9D90-0BCDD3D8C6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1D410-BD51-495A-9ACA-74D2E2848CC5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A554E-B192-485A-919C-CE36B5BA886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E7E726-FF49-48A0-BECB-536650D1173C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8A6D5-FE8A-4D24-9AF5-D862D4853F2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091B57-F5DA-4DEB-9349-344982EB04F0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B8917E-26DB-499E-B15F-938B337396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BF92-A5ED-4EA6-8B5D-CA2FE74DD55C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2DD3E-3812-4A89-87F2-395F6A3E3DB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8D0AFE-D8DF-4606-8A7A-6D58BD4E4233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4C255-5783-44C6-BAEF-6C6B78395AE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096371-853B-4809-95A6-44DC224FB63A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69DAA-68DA-491B-8548-782A0A64A4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F4F59-20EA-4D25-9AC2-07987A6C9864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0BFC75-AA9C-4771-8D2E-BED3A23C49F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00CC09-4F4A-4F00-ABE9-316A317C1BB7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AB8B85-CAE8-4F2D-9FBB-E4801FB9D18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703720-F1D7-4D22-91E4-5BCDECE0D87F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428922-06DE-4C60-8BB5-C2FBE4A460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274EF0-EDFD-4F51-BF0F-1004273A9CFE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6C61F-DE5C-48DC-9A8C-33A4CB0B78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C9078E-3D16-4F45-9A84-0A805FEBAE6C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D9C8DDB-921B-4888-9625-6859C454811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89" r:id="rId2"/>
    <p:sldLayoutId id="2147483788" r:id="rId3"/>
    <p:sldLayoutId id="2147483787" r:id="rId4"/>
    <p:sldLayoutId id="2147483786" r:id="rId5"/>
    <p:sldLayoutId id="2147483785" r:id="rId6"/>
    <p:sldLayoutId id="2147483784" r:id="rId7"/>
    <p:sldLayoutId id="2147483783" r:id="rId8"/>
    <p:sldLayoutId id="2147483782" r:id="rId9"/>
    <p:sldLayoutId id="2147483781" r:id="rId10"/>
    <p:sldLayoutId id="2147483780" r:id="rId11"/>
    <p:sldLayoutId id="214748380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E46C0A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43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97C9D1B-306F-4BA6-B56D-50B3CA637117}" type="datetime1">
              <a:rPr lang="ru-RU" smtClean="0"/>
              <a:pPr>
                <a:defRPr/>
              </a:pPr>
              <a:t>29.05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370E83B-8B98-4A44-93BA-3BB452DA9E0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0" r:id="rId2"/>
    <p:sldLayoutId id="2147483799" r:id="rId3"/>
    <p:sldLayoutId id="2147483798" r:id="rId4"/>
    <p:sldLayoutId id="2147483797" r:id="rId5"/>
    <p:sldLayoutId id="2147483796" r:id="rId6"/>
    <p:sldLayoutId id="2147483795" r:id="rId7"/>
    <p:sldLayoutId id="2147483794" r:id="rId8"/>
    <p:sldLayoutId id="2147483793" r:id="rId9"/>
    <p:sldLayoutId id="2147483792" r:id="rId10"/>
    <p:sldLayoutId id="214748379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E46C0A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9" name="Picture 2" descr="Описание: Описание: C:\Users\V_Korshkov\Desktop\Автодор лого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73838" y="277813"/>
            <a:ext cx="22860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91680" y="1939176"/>
            <a:ext cx="5707062" cy="8937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800" b="0" dirty="0">
              <a:solidFill>
                <a:srgbClr val="45545F"/>
              </a:solidFill>
            </a:endParaRPr>
          </a:p>
        </p:txBody>
      </p:sp>
      <p:grpSp>
        <p:nvGrpSpPr>
          <p:cNvPr id="3" name="Группа 4"/>
          <p:cNvGrpSpPr>
            <a:grpSpLocks/>
          </p:cNvGrpSpPr>
          <p:nvPr/>
        </p:nvGrpSpPr>
        <p:grpSpPr bwMode="auto">
          <a:xfrm>
            <a:off x="1691680" y="3933056"/>
            <a:ext cx="5707062" cy="432048"/>
            <a:chOff x="2982913" y="4457427"/>
            <a:chExt cx="5707062" cy="480919"/>
          </a:xfrm>
        </p:grpSpPr>
        <p:sp>
          <p:nvSpPr>
            <p:cNvPr id="11" name="Rectangle 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982913" y="4457427"/>
              <a:ext cx="5707062" cy="412657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2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982913" y="4863734"/>
              <a:ext cx="5707062" cy="74612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3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094038" y="4608148"/>
              <a:ext cx="4532312" cy="215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ru-RU" sz="1400" dirty="0">
                <a:solidFill>
                  <a:srgbClr val="003366"/>
                </a:solidFill>
              </a:endParaRPr>
            </a:p>
          </p:txBody>
        </p:sp>
      </p:grpSp>
      <p:sp>
        <p:nvSpPr>
          <p:cNvPr id="14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67644" y="2204864"/>
            <a:ext cx="640871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77900"/>
            <a:r>
              <a:rPr lang="ru-RU" sz="2400" dirty="0" smtClean="0"/>
              <a:t>Предпроектная подготовка. </a:t>
            </a:r>
            <a:r>
              <a:rPr lang="ru-RU" sz="2400" dirty="0"/>
              <a:t>Инженерные изыскания и проектные </a:t>
            </a:r>
            <a:r>
              <a:rPr lang="ru-RU" sz="2400" dirty="0" smtClean="0"/>
              <a:t>решения </a:t>
            </a:r>
            <a:r>
              <a:rPr lang="ru-RU" sz="2400" dirty="0"/>
              <a:t>при подготовке </a:t>
            </a:r>
            <a:r>
              <a:rPr lang="ru-RU" sz="2400" dirty="0" smtClean="0"/>
              <a:t>проектов </a:t>
            </a:r>
            <a:r>
              <a:rPr lang="ru-RU" sz="2400" dirty="0"/>
              <a:t>планировки территории крупных инвестиционных </a:t>
            </a:r>
            <a:r>
              <a:rPr lang="ru-RU" sz="2400" dirty="0" smtClean="0"/>
              <a:t>проектов</a:t>
            </a:r>
            <a:endParaRPr lang="ru-RU" sz="24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Группа 4"/>
          <p:cNvGrpSpPr>
            <a:grpSpLocks/>
          </p:cNvGrpSpPr>
          <p:nvPr/>
        </p:nvGrpSpPr>
        <p:grpSpPr bwMode="auto">
          <a:xfrm>
            <a:off x="0" y="6237312"/>
            <a:ext cx="9144000" cy="620708"/>
            <a:chOff x="2982913" y="4741502"/>
            <a:chExt cx="5707062" cy="196842"/>
          </a:xfrm>
        </p:grpSpPr>
        <p:sp>
          <p:nvSpPr>
            <p:cNvPr id="16" name="Rectangle 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982913" y="4741502"/>
              <a:ext cx="5707062" cy="148103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982913" y="4889606"/>
              <a:ext cx="5707062" cy="48738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</p:grp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AB8B85-CAE8-4F2D-9FBB-E4801FB9D182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87992" y="980728"/>
            <a:ext cx="56886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/>
              <a:t> </a:t>
            </a:r>
            <a:r>
              <a:rPr lang="ru-RU" sz="1600" b="1" dirty="0"/>
              <a:t>IV </a:t>
            </a:r>
            <a:r>
              <a:rPr lang="ru-RU" sz="1600" b="1" dirty="0" smtClean="0"/>
              <a:t>Международный форум </a:t>
            </a:r>
          </a:p>
          <a:p>
            <a:pPr algn="ctr"/>
            <a:r>
              <a:rPr lang="ru-RU" sz="1600" b="1" dirty="0" smtClean="0"/>
              <a:t>«</a:t>
            </a:r>
            <a:r>
              <a:rPr lang="ru-RU" sz="1600" b="1" dirty="0"/>
              <a:t>Инновации в дорожном строительстве»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4869160"/>
            <a:ext cx="41764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ачальник отдела разработки документации</a:t>
            </a:r>
          </a:p>
          <a:p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 планировке территории ГК «</a:t>
            </a:r>
            <a:r>
              <a:rPr lang="ru-RU" sz="14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Автодор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»</a:t>
            </a:r>
          </a:p>
          <a:p>
            <a:endParaRPr lang="ru-RU" sz="14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Биктимиров Рушан Сеярович</a:t>
            </a:r>
            <a:endParaRPr lang="ru-RU" sz="14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1138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ПОДГОТОВКА К ЗАПУСКУ ПЕРВООЧЕРЕДНЫХ ПРОЕКТОВ</a:t>
            </a:r>
            <a:b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задачи и проблемы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Freeform 5"/>
          <p:cNvSpPr>
            <a:spLocks/>
          </p:cNvSpPr>
          <p:nvPr/>
        </p:nvSpPr>
        <p:spPr bwMode="auto">
          <a:xfrm>
            <a:off x="6295781" y="2456509"/>
            <a:ext cx="960220" cy="540299"/>
          </a:xfrm>
          <a:custGeom>
            <a:avLst/>
            <a:gdLst>
              <a:gd name="T0" fmla="*/ 210 w 212"/>
              <a:gd name="T1" fmla="*/ 45 h 119"/>
              <a:gd name="T2" fmla="*/ 182 w 212"/>
              <a:gd name="T3" fmla="*/ 66 h 119"/>
              <a:gd name="T4" fmla="*/ 143 w 212"/>
              <a:gd name="T5" fmla="*/ 48 h 119"/>
              <a:gd name="T6" fmla="*/ 103 w 212"/>
              <a:gd name="T7" fmla="*/ 14 h 119"/>
              <a:gd name="T8" fmla="*/ 97 w 212"/>
              <a:gd name="T9" fmla="*/ 0 h 119"/>
              <a:gd name="T10" fmla="*/ 89 w 212"/>
              <a:gd name="T11" fmla="*/ 9 h 119"/>
              <a:gd name="T12" fmla="*/ 71 w 212"/>
              <a:gd name="T13" fmla="*/ 3 h 119"/>
              <a:gd name="T14" fmla="*/ 52 w 212"/>
              <a:gd name="T15" fmla="*/ 11 h 119"/>
              <a:gd name="T16" fmla="*/ 21 w 212"/>
              <a:gd name="T17" fmla="*/ 30 h 119"/>
              <a:gd name="T18" fmla="*/ 0 w 212"/>
              <a:gd name="T19" fmla="*/ 51 h 119"/>
              <a:gd name="T20" fmla="*/ 23 w 212"/>
              <a:gd name="T21" fmla="*/ 64 h 119"/>
              <a:gd name="T22" fmla="*/ 37 w 212"/>
              <a:gd name="T23" fmla="*/ 54 h 119"/>
              <a:gd name="T24" fmla="*/ 42 w 212"/>
              <a:gd name="T25" fmla="*/ 70 h 119"/>
              <a:gd name="T26" fmla="*/ 60 w 212"/>
              <a:gd name="T27" fmla="*/ 83 h 119"/>
              <a:gd name="T28" fmla="*/ 54 w 212"/>
              <a:gd name="T29" fmla="*/ 83 h 119"/>
              <a:gd name="T30" fmla="*/ 54 w 212"/>
              <a:gd name="T31" fmla="*/ 83 h 119"/>
              <a:gd name="T32" fmla="*/ 54 w 212"/>
              <a:gd name="T33" fmla="*/ 91 h 119"/>
              <a:gd name="T34" fmla="*/ 54 w 212"/>
              <a:gd name="T35" fmla="*/ 91 h 119"/>
              <a:gd name="T36" fmla="*/ 79 w 212"/>
              <a:gd name="T37" fmla="*/ 108 h 119"/>
              <a:gd name="T38" fmla="*/ 95 w 212"/>
              <a:gd name="T39" fmla="*/ 110 h 119"/>
              <a:gd name="T40" fmla="*/ 117 w 212"/>
              <a:gd name="T41" fmla="*/ 98 h 119"/>
              <a:gd name="T42" fmla="*/ 128 w 212"/>
              <a:gd name="T43" fmla="*/ 114 h 119"/>
              <a:gd name="T44" fmla="*/ 148 w 212"/>
              <a:gd name="T45" fmla="*/ 119 h 119"/>
              <a:gd name="T46" fmla="*/ 154 w 212"/>
              <a:gd name="T47" fmla="*/ 114 h 119"/>
              <a:gd name="T48" fmla="*/ 163 w 212"/>
              <a:gd name="T49" fmla="*/ 104 h 119"/>
              <a:gd name="T50" fmla="*/ 201 w 212"/>
              <a:gd name="T51" fmla="*/ 97 h 119"/>
              <a:gd name="T52" fmla="*/ 212 w 212"/>
              <a:gd name="T53" fmla="*/ 43 h 119"/>
              <a:gd name="T54" fmla="*/ 212 w 212"/>
              <a:gd name="T55" fmla="*/ 43 h 119"/>
              <a:gd name="T56" fmla="*/ 210 w 212"/>
              <a:gd name="T57" fmla="*/ 45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12" h="119">
                <a:moveTo>
                  <a:pt x="210" y="45"/>
                </a:moveTo>
                <a:cubicBezTo>
                  <a:pt x="202" y="55"/>
                  <a:pt x="193" y="64"/>
                  <a:pt x="182" y="66"/>
                </a:cubicBezTo>
                <a:cubicBezTo>
                  <a:pt x="167" y="70"/>
                  <a:pt x="148" y="59"/>
                  <a:pt x="143" y="48"/>
                </a:cubicBezTo>
                <a:cubicBezTo>
                  <a:pt x="129" y="34"/>
                  <a:pt x="116" y="30"/>
                  <a:pt x="103" y="14"/>
                </a:cubicBezTo>
                <a:cubicBezTo>
                  <a:pt x="100" y="9"/>
                  <a:pt x="102" y="5"/>
                  <a:pt x="97" y="0"/>
                </a:cubicBezTo>
                <a:cubicBezTo>
                  <a:pt x="94" y="2"/>
                  <a:pt x="94" y="9"/>
                  <a:pt x="89" y="9"/>
                </a:cubicBezTo>
                <a:cubicBezTo>
                  <a:pt x="83" y="9"/>
                  <a:pt x="78" y="3"/>
                  <a:pt x="71" y="3"/>
                </a:cubicBezTo>
                <a:cubicBezTo>
                  <a:pt x="63" y="3"/>
                  <a:pt x="62" y="11"/>
                  <a:pt x="52" y="11"/>
                </a:cubicBezTo>
                <a:cubicBezTo>
                  <a:pt x="48" y="23"/>
                  <a:pt x="36" y="30"/>
                  <a:pt x="21" y="30"/>
                </a:cubicBezTo>
                <a:cubicBezTo>
                  <a:pt x="20" y="48"/>
                  <a:pt x="0" y="39"/>
                  <a:pt x="0" y="51"/>
                </a:cubicBezTo>
                <a:cubicBezTo>
                  <a:pt x="0" y="56"/>
                  <a:pt x="17" y="64"/>
                  <a:pt x="23" y="64"/>
                </a:cubicBezTo>
                <a:cubicBezTo>
                  <a:pt x="32" y="64"/>
                  <a:pt x="33" y="57"/>
                  <a:pt x="37" y="54"/>
                </a:cubicBezTo>
                <a:cubicBezTo>
                  <a:pt x="39" y="59"/>
                  <a:pt x="39" y="66"/>
                  <a:pt x="42" y="70"/>
                </a:cubicBezTo>
                <a:cubicBezTo>
                  <a:pt x="47" y="76"/>
                  <a:pt x="57" y="76"/>
                  <a:pt x="60" y="83"/>
                </a:cubicBezTo>
                <a:cubicBezTo>
                  <a:pt x="58" y="84"/>
                  <a:pt x="57" y="86"/>
                  <a:pt x="54" y="83"/>
                </a:cubicBezTo>
                <a:cubicBezTo>
                  <a:pt x="54" y="83"/>
                  <a:pt x="54" y="83"/>
                  <a:pt x="54" y="83"/>
                </a:cubicBezTo>
                <a:cubicBezTo>
                  <a:pt x="54" y="91"/>
                  <a:pt x="54" y="91"/>
                  <a:pt x="54" y="91"/>
                </a:cubicBezTo>
                <a:cubicBezTo>
                  <a:pt x="54" y="91"/>
                  <a:pt x="54" y="91"/>
                  <a:pt x="54" y="91"/>
                </a:cubicBezTo>
                <a:cubicBezTo>
                  <a:pt x="63" y="100"/>
                  <a:pt x="76" y="92"/>
                  <a:pt x="79" y="108"/>
                </a:cubicBezTo>
                <a:cubicBezTo>
                  <a:pt x="84" y="109"/>
                  <a:pt x="90" y="110"/>
                  <a:pt x="95" y="110"/>
                </a:cubicBezTo>
                <a:cubicBezTo>
                  <a:pt x="106" y="110"/>
                  <a:pt x="110" y="98"/>
                  <a:pt x="117" y="98"/>
                </a:cubicBezTo>
                <a:cubicBezTo>
                  <a:pt x="127" y="98"/>
                  <a:pt x="123" y="112"/>
                  <a:pt x="128" y="114"/>
                </a:cubicBezTo>
                <a:cubicBezTo>
                  <a:pt x="132" y="116"/>
                  <a:pt x="143" y="119"/>
                  <a:pt x="148" y="119"/>
                </a:cubicBezTo>
                <a:cubicBezTo>
                  <a:pt x="148" y="118"/>
                  <a:pt x="151" y="115"/>
                  <a:pt x="154" y="114"/>
                </a:cubicBezTo>
                <a:cubicBezTo>
                  <a:pt x="158" y="112"/>
                  <a:pt x="158" y="105"/>
                  <a:pt x="163" y="104"/>
                </a:cubicBezTo>
                <a:cubicBezTo>
                  <a:pt x="170" y="103"/>
                  <a:pt x="201" y="112"/>
                  <a:pt x="201" y="97"/>
                </a:cubicBezTo>
                <a:cubicBezTo>
                  <a:pt x="201" y="75"/>
                  <a:pt x="209" y="65"/>
                  <a:pt x="212" y="43"/>
                </a:cubicBezTo>
                <a:cubicBezTo>
                  <a:pt x="212" y="43"/>
                  <a:pt x="212" y="43"/>
                  <a:pt x="212" y="43"/>
                </a:cubicBezTo>
                <a:cubicBezTo>
                  <a:pt x="210" y="45"/>
                  <a:pt x="210" y="45"/>
                  <a:pt x="210" y="45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9" name="Freeform 6"/>
          <p:cNvSpPr>
            <a:spLocks/>
          </p:cNvSpPr>
          <p:nvPr/>
        </p:nvSpPr>
        <p:spPr bwMode="auto">
          <a:xfrm>
            <a:off x="5489533" y="2425717"/>
            <a:ext cx="534701" cy="643879"/>
          </a:xfrm>
          <a:custGeom>
            <a:avLst/>
            <a:gdLst>
              <a:gd name="T0" fmla="*/ 117 w 118"/>
              <a:gd name="T1" fmla="*/ 39 h 142"/>
              <a:gd name="T2" fmla="*/ 97 w 118"/>
              <a:gd name="T3" fmla="*/ 21 h 142"/>
              <a:gd name="T4" fmla="*/ 85 w 118"/>
              <a:gd name="T5" fmla="*/ 26 h 142"/>
              <a:gd name="T6" fmla="*/ 76 w 118"/>
              <a:gd name="T7" fmla="*/ 19 h 142"/>
              <a:gd name="T8" fmla="*/ 53 w 118"/>
              <a:gd name="T9" fmla="*/ 0 h 142"/>
              <a:gd name="T10" fmla="*/ 43 w 118"/>
              <a:gd name="T11" fmla="*/ 8 h 142"/>
              <a:gd name="T12" fmla="*/ 32 w 118"/>
              <a:gd name="T13" fmla="*/ 8 h 142"/>
              <a:gd name="T14" fmla="*/ 26 w 118"/>
              <a:gd name="T15" fmla="*/ 5 h 142"/>
              <a:gd name="T16" fmla="*/ 0 w 118"/>
              <a:gd name="T17" fmla="*/ 39 h 142"/>
              <a:gd name="T18" fmla="*/ 19 w 118"/>
              <a:gd name="T19" fmla="*/ 55 h 142"/>
              <a:gd name="T20" fmla="*/ 38 w 118"/>
              <a:gd name="T21" fmla="*/ 78 h 142"/>
              <a:gd name="T22" fmla="*/ 33 w 118"/>
              <a:gd name="T23" fmla="*/ 93 h 142"/>
              <a:gd name="T24" fmla="*/ 49 w 118"/>
              <a:gd name="T25" fmla="*/ 125 h 142"/>
              <a:gd name="T26" fmla="*/ 42 w 118"/>
              <a:gd name="T27" fmla="*/ 137 h 142"/>
              <a:gd name="T28" fmla="*/ 47 w 118"/>
              <a:gd name="T29" fmla="*/ 142 h 142"/>
              <a:gd name="T30" fmla="*/ 55 w 118"/>
              <a:gd name="T31" fmla="*/ 136 h 142"/>
              <a:gd name="T32" fmla="*/ 66 w 118"/>
              <a:gd name="T33" fmla="*/ 136 h 142"/>
              <a:gd name="T34" fmla="*/ 83 w 118"/>
              <a:gd name="T35" fmla="*/ 132 h 142"/>
              <a:gd name="T36" fmla="*/ 99 w 118"/>
              <a:gd name="T37" fmla="*/ 136 h 142"/>
              <a:gd name="T38" fmla="*/ 118 w 118"/>
              <a:gd name="T39" fmla="*/ 115 h 142"/>
              <a:gd name="T40" fmla="*/ 98 w 118"/>
              <a:gd name="T41" fmla="*/ 72 h 142"/>
              <a:gd name="T42" fmla="*/ 115 w 118"/>
              <a:gd name="T43" fmla="*/ 42 h 142"/>
              <a:gd name="T44" fmla="*/ 115 w 118"/>
              <a:gd name="T45" fmla="*/ 42 h 142"/>
              <a:gd name="T46" fmla="*/ 117 w 118"/>
              <a:gd name="T47" fmla="*/ 39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8" h="142">
                <a:moveTo>
                  <a:pt x="117" y="39"/>
                </a:moveTo>
                <a:cubicBezTo>
                  <a:pt x="113" y="30"/>
                  <a:pt x="110" y="21"/>
                  <a:pt x="97" y="21"/>
                </a:cubicBezTo>
                <a:cubicBezTo>
                  <a:pt x="92" y="21"/>
                  <a:pt x="88" y="26"/>
                  <a:pt x="85" y="26"/>
                </a:cubicBezTo>
                <a:cubicBezTo>
                  <a:pt x="80" y="26"/>
                  <a:pt x="80" y="21"/>
                  <a:pt x="76" y="19"/>
                </a:cubicBezTo>
                <a:cubicBezTo>
                  <a:pt x="62" y="12"/>
                  <a:pt x="58" y="21"/>
                  <a:pt x="53" y="0"/>
                </a:cubicBezTo>
                <a:cubicBezTo>
                  <a:pt x="48" y="2"/>
                  <a:pt x="47" y="8"/>
                  <a:pt x="43" y="8"/>
                </a:cubicBezTo>
                <a:cubicBezTo>
                  <a:pt x="39" y="8"/>
                  <a:pt x="35" y="8"/>
                  <a:pt x="32" y="8"/>
                </a:cubicBezTo>
                <a:cubicBezTo>
                  <a:pt x="29" y="8"/>
                  <a:pt x="27" y="7"/>
                  <a:pt x="26" y="5"/>
                </a:cubicBezTo>
                <a:cubicBezTo>
                  <a:pt x="13" y="19"/>
                  <a:pt x="12" y="31"/>
                  <a:pt x="0" y="39"/>
                </a:cubicBezTo>
                <a:cubicBezTo>
                  <a:pt x="13" y="41"/>
                  <a:pt x="15" y="46"/>
                  <a:pt x="19" y="55"/>
                </a:cubicBezTo>
                <a:cubicBezTo>
                  <a:pt x="23" y="62"/>
                  <a:pt x="38" y="59"/>
                  <a:pt x="38" y="78"/>
                </a:cubicBezTo>
                <a:cubicBezTo>
                  <a:pt x="38" y="83"/>
                  <a:pt x="33" y="87"/>
                  <a:pt x="33" y="93"/>
                </a:cubicBezTo>
                <a:cubicBezTo>
                  <a:pt x="33" y="110"/>
                  <a:pt x="49" y="107"/>
                  <a:pt x="49" y="125"/>
                </a:cubicBezTo>
                <a:cubicBezTo>
                  <a:pt x="49" y="130"/>
                  <a:pt x="42" y="131"/>
                  <a:pt x="42" y="137"/>
                </a:cubicBezTo>
                <a:cubicBezTo>
                  <a:pt x="42" y="141"/>
                  <a:pt x="44" y="142"/>
                  <a:pt x="47" y="142"/>
                </a:cubicBezTo>
                <a:cubicBezTo>
                  <a:pt x="50" y="142"/>
                  <a:pt x="51" y="136"/>
                  <a:pt x="55" y="136"/>
                </a:cubicBezTo>
                <a:cubicBezTo>
                  <a:pt x="62" y="136"/>
                  <a:pt x="64" y="136"/>
                  <a:pt x="66" y="136"/>
                </a:cubicBezTo>
                <a:cubicBezTo>
                  <a:pt x="71" y="136"/>
                  <a:pt x="76" y="132"/>
                  <a:pt x="83" y="132"/>
                </a:cubicBezTo>
                <a:cubicBezTo>
                  <a:pt x="90" y="132"/>
                  <a:pt x="92" y="136"/>
                  <a:pt x="99" y="136"/>
                </a:cubicBezTo>
                <a:cubicBezTo>
                  <a:pt x="113" y="136"/>
                  <a:pt x="118" y="128"/>
                  <a:pt x="118" y="115"/>
                </a:cubicBezTo>
                <a:cubicBezTo>
                  <a:pt x="118" y="99"/>
                  <a:pt x="98" y="90"/>
                  <a:pt x="98" y="72"/>
                </a:cubicBezTo>
                <a:cubicBezTo>
                  <a:pt x="98" y="57"/>
                  <a:pt x="110" y="53"/>
                  <a:pt x="115" y="42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7" y="39"/>
                  <a:pt x="117" y="39"/>
                  <a:pt x="117" y="39"/>
                </a:cubicBezTo>
                <a:close/>
              </a:path>
            </a:pathLst>
          </a:custGeom>
          <a:solidFill>
            <a:srgbClr val="B4B4B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0" name="Freeform 7"/>
          <p:cNvSpPr>
            <a:spLocks/>
          </p:cNvSpPr>
          <p:nvPr/>
        </p:nvSpPr>
        <p:spPr bwMode="auto">
          <a:xfrm>
            <a:off x="5534324" y="1073569"/>
            <a:ext cx="923827" cy="856640"/>
          </a:xfrm>
          <a:custGeom>
            <a:avLst/>
            <a:gdLst>
              <a:gd name="T0" fmla="*/ 107 w 204"/>
              <a:gd name="T1" fmla="*/ 4 h 189"/>
              <a:gd name="T2" fmla="*/ 68 w 204"/>
              <a:gd name="T3" fmla="*/ 0 h 189"/>
              <a:gd name="T4" fmla="*/ 60 w 204"/>
              <a:gd name="T5" fmla="*/ 32 h 189"/>
              <a:gd name="T6" fmla="*/ 70 w 204"/>
              <a:gd name="T7" fmla="*/ 71 h 189"/>
              <a:gd name="T8" fmla="*/ 56 w 204"/>
              <a:gd name="T9" fmla="*/ 47 h 189"/>
              <a:gd name="T10" fmla="*/ 35 w 204"/>
              <a:gd name="T11" fmla="*/ 40 h 189"/>
              <a:gd name="T12" fmla="*/ 16 w 204"/>
              <a:gd name="T13" fmla="*/ 40 h 189"/>
              <a:gd name="T14" fmla="*/ 16 w 204"/>
              <a:gd name="T15" fmla="*/ 40 h 189"/>
              <a:gd name="T16" fmla="*/ 16 w 204"/>
              <a:gd name="T17" fmla="*/ 51 h 189"/>
              <a:gd name="T18" fmla="*/ 16 w 204"/>
              <a:gd name="T19" fmla="*/ 51 h 189"/>
              <a:gd name="T20" fmla="*/ 0 w 204"/>
              <a:gd name="T21" fmla="*/ 62 h 189"/>
              <a:gd name="T22" fmla="*/ 8 w 204"/>
              <a:gd name="T23" fmla="*/ 87 h 189"/>
              <a:gd name="T24" fmla="*/ 5 w 204"/>
              <a:gd name="T25" fmla="*/ 105 h 189"/>
              <a:gd name="T26" fmla="*/ 9 w 204"/>
              <a:gd name="T27" fmla="*/ 119 h 189"/>
              <a:gd name="T28" fmla="*/ 21 w 204"/>
              <a:gd name="T29" fmla="*/ 111 h 189"/>
              <a:gd name="T30" fmla="*/ 28 w 204"/>
              <a:gd name="T31" fmla="*/ 118 h 189"/>
              <a:gd name="T32" fmla="*/ 50 w 204"/>
              <a:gd name="T33" fmla="*/ 119 h 189"/>
              <a:gd name="T34" fmla="*/ 62 w 204"/>
              <a:gd name="T35" fmla="*/ 125 h 189"/>
              <a:gd name="T36" fmla="*/ 71 w 204"/>
              <a:gd name="T37" fmla="*/ 121 h 189"/>
              <a:gd name="T38" fmla="*/ 91 w 204"/>
              <a:gd name="T39" fmla="*/ 145 h 189"/>
              <a:gd name="T40" fmla="*/ 97 w 204"/>
              <a:gd name="T41" fmla="*/ 145 h 189"/>
              <a:gd name="T42" fmla="*/ 107 w 204"/>
              <a:gd name="T43" fmla="*/ 168 h 189"/>
              <a:gd name="T44" fmla="*/ 137 w 204"/>
              <a:gd name="T45" fmla="*/ 189 h 189"/>
              <a:gd name="T46" fmla="*/ 157 w 204"/>
              <a:gd name="T47" fmla="*/ 178 h 189"/>
              <a:gd name="T48" fmla="*/ 158 w 204"/>
              <a:gd name="T49" fmla="*/ 158 h 189"/>
              <a:gd name="T50" fmla="*/ 193 w 204"/>
              <a:gd name="T51" fmla="*/ 135 h 189"/>
              <a:gd name="T52" fmla="*/ 204 w 204"/>
              <a:gd name="T53" fmla="*/ 123 h 189"/>
              <a:gd name="T54" fmla="*/ 173 w 204"/>
              <a:gd name="T55" fmla="*/ 89 h 189"/>
              <a:gd name="T56" fmla="*/ 169 w 204"/>
              <a:gd name="T57" fmla="*/ 103 h 189"/>
              <a:gd name="T58" fmla="*/ 139 w 204"/>
              <a:gd name="T59" fmla="*/ 94 h 189"/>
              <a:gd name="T60" fmla="*/ 136 w 204"/>
              <a:gd name="T61" fmla="*/ 97 h 189"/>
              <a:gd name="T62" fmla="*/ 121 w 204"/>
              <a:gd name="T63" fmla="*/ 105 h 189"/>
              <a:gd name="T64" fmla="*/ 121 w 204"/>
              <a:gd name="T65" fmla="*/ 105 h 189"/>
              <a:gd name="T66" fmla="*/ 114 w 204"/>
              <a:gd name="T67" fmla="*/ 105 h 189"/>
              <a:gd name="T68" fmla="*/ 114 w 204"/>
              <a:gd name="T69" fmla="*/ 105 h 189"/>
              <a:gd name="T70" fmla="*/ 86 w 204"/>
              <a:gd name="T71" fmla="*/ 89 h 189"/>
              <a:gd name="T72" fmla="*/ 108 w 204"/>
              <a:gd name="T73" fmla="*/ 44 h 189"/>
              <a:gd name="T74" fmla="*/ 110 w 204"/>
              <a:gd name="T75" fmla="*/ 22 h 189"/>
              <a:gd name="T76" fmla="*/ 108 w 204"/>
              <a:gd name="T77" fmla="*/ 4 h 189"/>
              <a:gd name="T78" fmla="*/ 108 w 204"/>
              <a:gd name="T79" fmla="*/ 4 h 189"/>
              <a:gd name="T80" fmla="*/ 107 w 204"/>
              <a:gd name="T81" fmla="*/ 4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4" h="189">
                <a:moveTo>
                  <a:pt x="107" y="4"/>
                </a:moveTo>
                <a:cubicBezTo>
                  <a:pt x="92" y="4"/>
                  <a:pt x="80" y="3"/>
                  <a:pt x="68" y="0"/>
                </a:cubicBezTo>
                <a:cubicBezTo>
                  <a:pt x="65" y="11"/>
                  <a:pt x="60" y="22"/>
                  <a:pt x="60" y="32"/>
                </a:cubicBezTo>
                <a:cubicBezTo>
                  <a:pt x="56" y="47"/>
                  <a:pt x="80" y="51"/>
                  <a:pt x="70" y="71"/>
                </a:cubicBezTo>
                <a:cubicBezTo>
                  <a:pt x="61" y="87"/>
                  <a:pt x="61" y="55"/>
                  <a:pt x="56" y="47"/>
                </a:cubicBezTo>
                <a:cubicBezTo>
                  <a:pt x="45" y="43"/>
                  <a:pt x="39" y="43"/>
                  <a:pt x="35" y="40"/>
                </a:cubicBezTo>
                <a:cubicBezTo>
                  <a:pt x="22" y="28"/>
                  <a:pt x="19" y="43"/>
                  <a:pt x="16" y="40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51"/>
                  <a:pt x="16" y="51"/>
                  <a:pt x="16" y="51"/>
                </a:cubicBezTo>
                <a:cubicBezTo>
                  <a:pt x="16" y="51"/>
                  <a:pt x="16" y="51"/>
                  <a:pt x="16" y="51"/>
                </a:cubicBezTo>
                <a:cubicBezTo>
                  <a:pt x="3" y="51"/>
                  <a:pt x="0" y="50"/>
                  <a:pt x="0" y="62"/>
                </a:cubicBezTo>
                <a:cubicBezTo>
                  <a:pt x="0" y="76"/>
                  <a:pt x="8" y="75"/>
                  <a:pt x="8" y="87"/>
                </a:cubicBezTo>
                <a:cubicBezTo>
                  <a:pt x="8" y="94"/>
                  <a:pt x="5" y="98"/>
                  <a:pt x="5" y="105"/>
                </a:cubicBezTo>
                <a:cubicBezTo>
                  <a:pt x="5" y="111"/>
                  <a:pt x="5" y="119"/>
                  <a:pt x="9" y="119"/>
                </a:cubicBezTo>
                <a:cubicBezTo>
                  <a:pt x="14" y="119"/>
                  <a:pt x="17" y="111"/>
                  <a:pt x="21" y="111"/>
                </a:cubicBezTo>
                <a:cubicBezTo>
                  <a:pt x="27" y="111"/>
                  <a:pt x="25" y="116"/>
                  <a:pt x="28" y="118"/>
                </a:cubicBezTo>
                <a:cubicBezTo>
                  <a:pt x="35" y="120"/>
                  <a:pt x="43" y="116"/>
                  <a:pt x="50" y="119"/>
                </a:cubicBezTo>
                <a:cubicBezTo>
                  <a:pt x="54" y="120"/>
                  <a:pt x="56" y="125"/>
                  <a:pt x="62" y="125"/>
                </a:cubicBezTo>
                <a:cubicBezTo>
                  <a:pt x="66" y="125"/>
                  <a:pt x="68" y="121"/>
                  <a:pt x="71" y="121"/>
                </a:cubicBezTo>
                <a:cubicBezTo>
                  <a:pt x="88" y="121"/>
                  <a:pt x="77" y="145"/>
                  <a:pt x="91" y="145"/>
                </a:cubicBezTo>
                <a:cubicBezTo>
                  <a:pt x="96" y="145"/>
                  <a:pt x="93" y="142"/>
                  <a:pt x="97" y="145"/>
                </a:cubicBezTo>
                <a:cubicBezTo>
                  <a:pt x="104" y="145"/>
                  <a:pt x="104" y="158"/>
                  <a:pt x="107" y="168"/>
                </a:cubicBezTo>
                <a:cubicBezTo>
                  <a:pt x="110" y="187"/>
                  <a:pt x="121" y="189"/>
                  <a:pt x="137" y="189"/>
                </a:cubicBezTo>
                <a:cubicBezTo>
                  <a:pt x="140" y="189"/>
                  <a:pt x="156" y="180"/>
                  <a:pt x="157" y="178"/>
                </a:cubicBezTo>
                <a:cubicBezTo>
                  <a:pt x="160" y="169"/>
                  <a:pt x="152" y="164"/>
                  <a:pt x="158" y="158"/>
                </a:cubicBezTo>
                <a:cubicBezTo>
                  <a:pt x="166" y="151"/>
                  <a:pt x="180" y="142"/>
                  <a:pt x="193" y="135"/>
                </a:cubicBezTo>
                <a:cubicBezTo>
                  <a:pt x="194" y="130"/>
                  <a:pt x="200" y="128"/>
                  <a:pt x="204" y="123"/>
                </a:cubicBezTo>
                <a:cubicBezTo>
                  <a:pt x="194" y="112"/>
                  <a:pt x="185" y="97"/>
                  <a:pt x="173" y="89"/>
                </a:cubicBezTo>
                <a:cubicBezTo>
                  <a:pt x="172" y="94"/>
                  <a:pt x="172" y="103"/>
                  <a:pt x="169" y="103"/>
                </a:cubicBezTo>
                <a:cubicBezTo>
                  <a:pt x="161" y="103"/>
                  <a:pt x="148" y="100"/>
                  <a:pt x="139" y="94"/>
                </a:cubicBezTo>
                <a:cubicBezTo>
                  <a:pt x="138" y="95"/>
                  <a:pt x="137" y="96"/>
                  <a:pt x="136" y="97"/>
                </a:cubicBezTo>
                <a:cubicBezTo>
                  <a:pt x="129" y="100"/>
                  <a:pt x="123" y="95"/>
                  <a:pt x="121" y="105"/>
                </a:cubicBezTo>
                <a:cubicBezTo>
                  <a:pt x="121" y="105"/>
                  <a:pt x="121" y="105"/>
                  <a:pt x="121" y="105"/>
                </a:cubicBezTo>
                <a:cubicBezTo>
                  <a:pt x="114" y="105"/>
                  <a:pt x="114" y="105"/>
                  <a:pt x="114" y="105"/>
                </a:cubicBezTo>
                <a:cubicBezTo>
                  <a:pt x="114" y="105"/>
                  <a:pt x="114" y="105"/>
                  <a:pt x="114" y="105"/>
                </a:cubicBezTo>
                <a:cubicBezTo>
                  <a:pt x="113" y="104"/>
                  <a:pt x="86" y="92"/>
                  <a:pt x="86" y="89"/>
                </a:cubicBezTo>
                <a:cubicBezTo>
                  <a:pt x="86" y="70"/>
                  <a:pt x="102" y="60"/>
                  <a:pt x="108" y="44"/>
                </a:cubicBezTo>
                <a:cubicBezTo>
                  <a:pt x="110" y="38"/>
                  <a:pt x="107" y="29"/>
                  <a:pt x="110" y="22"/>
                </a:cubicBezTo>
                <a:cubicBezTo>
                  <a:pt x="109" y="16"/>
                  <a:pt x="108" y="10"/>
                  <a:pt x="108" y="4"/>
                </a:cubicBezTo>
                <a:cubicBezTo>
                  <a:pt x="108" y="4"/>
                  <a:pt x="108" y="4"/>
                  <a:pt x="108" y="4"/>
                </a:cubicBezTo>
                <a:cubicBezTo>
                  <a:pt x="107" y="4"/>
                  <a:pt x="107" y="4"/>
                  <a:pt x="107" y="4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2" name="Line 27"/>
          <p:cNvSpPr>
            <a:spLocks noChangeShapeType="1"/>
          </p:cNvSpPr>
          <p:nvPr/>
        </p:nvSpPr>
        <p:spPr bwMode="auto">
          <a:xfrm>
            <a:off x="5534324" y="3629492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4" name="Line 28"/>
          <p:cNvSpPr>
            <a:spLocks noChangeShapeType="1"/>
          </p:cNvSpPr>
          <p:nvPr/>
        </p:nvSpPr>
        <p:spPr bwMode="auto">
          <a:xfrm>
            <a:off x="5534324" y="3629492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7" name="Line 29"/>
          <p:cNvSpPr>
            <a:spLocks noChangeShapeType="1"/>
          </p:cNvSpPr>
          <p:nvPr/>
        </p:nvSpPr>
        <p:spPr bwMode="auto">
          <a:xfrm>
            <a:off x="5534324" y="3629492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8" name="Line 30"/>
          <p:cNvSpPr>
            <a:spLocks noChangeShapeType="1"/>
          </p:cNvSpPr>
          <p:nvPr/>
        </p:nvSpPr>
        <p:spPr bwMode="auto">
          <a:xfrm>
            <a:off x="5534324" y="3629492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9" name="Freeform 50"/>
          <p:cNvSpPr>
            <a:spLocks/>
          </p:cNvSpPr>
          <p:nvPr/>
        </p:nvSpPr>
        <p:spPr bwMode="auto">
          <a:xfrm>
            <a:off x="5052813" y="1319923"/>
            <a:ext cx="517902" cy="825846"/>
          </a:xfrm>
          <a:custGeom>
            <a:avLst/>
            <a:gdLst>
              <a:gd name="T0" fmla="*/ 106 w 114"/>
              <a:gd name="T1" fmla="*/ 0 h 182"/>
              <a:gd name="T2" fmla="*/ 85 w 114"/>
              <a:gd name="T3" fmla="*/ 0 h 182"/>
              <a:gd name="T4" fmla="*/ 85 w 114"/>
              <a:gd name="T5" fmla="*/ 0 h 182"/>
              <a:gd name="T6" fmla="*/ 64 w 114"/>
              <a:gd name="T7" fmla="*/ 22 h 182"/>
              <a:gd name="T8" fmla="*/ 55 w 114"/>
              <a:gd name="T9" fmla="*/ 38 h 182"/>
              <a:gd name="T10" fmla="*/ 37 w 114"/>
              <a:gd name="T11" fmla="*/ 40 h 182"/>
              <a:gd name="T12" fmla="*/ 37 w 114"/>
              <a:gd name="T13" fmla="*/ 60 h 182"/>
              <a:gd name="T14" fmla="*/ 22 w 114"/>
              <a:gd name="T15" fmla="*/ 66 h 182"/>
              <a:gd name="T16" fmla="*/ 8 w 114"/>
              <a:gd name="T17" fmla="*/ 98 h 182"/>
              <a:gd name="T18" fmla="*/ 0 w 114"/>
              <a:gd name="T19" fmla="*/ 110 h 182"/>
              <a:gd name="T20" fmla="*/ 11 w 114"/>
              <a:gd name="T21" fmla="*/ 133 h 182"/>
              <a:gd name="T22" fmla="*/ 2 w 114"/>
              <a:gd name="T23" fmla="*/ 146 h 182"/>
              <a:gd name="T24" fmla="*/ 22 w 114"/>
              <a:gd name="T25" fmla="*/ 160 h 182"/>
              <a:gd name="T26" fmla="*/ 29 w 114"/>
              <a:gd name="T27" fmla="*/ 179 h 182"/>
              <a:gd name="T28" fmla="*/ 35 w 114"/>
              <a:gd name="T29" fmla="*/ 176 h 182"/>
              <a:gd name="T30" fmla="*/ 43 w 114"/>
              <a:gd name="T31" fmla="*/ 182 h 182"/>
              <a:gd name="T32" fmla="*/ 66 w 114"/>
              <a:gd name="T33" fmla="*/ 162 h 182"/>
              <a:gd name="T34" fmla="*/ 66 w 114"/>
              <a:gd name="T35" fmla="*/ 153 h 182"/>
              <a:gd name="T36" fmla="*/ 70 w 114"/>
              <a:gd name="T37" fmla="*/ 135 h 182"/>
              <a:gd name="T38" fmla="*/ 77 w 114"/>
              <a:gd name="T39" fmla="*/ 135 h 182"/>
              <a:gd name="T40" fmla="*/ 77 w 114"/>
              <a:gd name="T41" fmla="*/ 126 h 182"/>
              <a:gd name="T42" fmla="*/ 104 w 114"/>
              <a:gd name="T43" fmla="*/ 91 h 182"/>
              <a:gd name="T44" fmla="*/ 99 w 114"/>
              <a:gd name="T45" fmla="*/ 77 h 182"/>
              <a:gd name="T46" fmla="*/ 112 w 114"/>
              <a:gd name="T47" fmla="*/ 62 h 182"/>
              <a:gd name="T48" fmla="*/ 111 w 114"/>
              <a:gd name="T49" fmla="*/ 51 h 182"/>
              <a:gd name="T50" fmla="*/ 114 w 114"/>
              <a:gd name="T51" fmla="*/ 33 h 182"/>
              <a:gd name="T52" fmla="*/ 106 w 114"/>
              <a:gd name="T53" fmla="*/ 8 h 182"/>
              <a:gd name="T54" fmla="*/ 107 w 114"/>
              <a:gd name="T55" fmla="*/ 0 h 182"/>
              <a:gd name="T56" fmla="*/ 107 w 114"/>
              <a:gd name="T57" fmla="*/ 0 h 182"/>
              <a:gd name="T58" fmla="*/ 106 w 114"/>
              <a:gd name="T59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4" h="182">
                <a:moveTo>
                  <a:pt x="106" y="0"/>
                </a:moveTo>
                <a:cubicBezTo>
                  <a:pt x="85" y="0"/>
                  <a:pt x="85" y="0"/>
                  <a:pt x="85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79" y="12"/>
                  <a:pt x="70" y="13"/>
                  <a:pt x="64" y="22"/>
                </a:cubicBezTo>
                <a:cubicBezTo>
                  <a:pt x="60" y="27"/>
                  <a:pt x="60" y="33"/>
                  <a:pt x="55" y="38"/>
                </a:cubicBezTo>
                <a:cubicBezTo>
                  <a:pt x="51" y="40"/>
                  <a:pt x="42" y="37"/>
                  <a:pt x="37" y="40"/>
                </a:cubicBezTo>
                <a:cubicBezTo>
                  <a:pt x="31" y="45"/>
                  <a:pt x="38" y="53"/>
                  <a:pt x="37" y="60"/>
                </a:cubicBezTo>
                <a:cubicBezTo>
                  <a:pt x="35" y="61"/>
                  <a:pt x="22" y="66"/>
                  <a:pt x="22" y="66"/>
                </a:cubicBezTo>
                <a:cubicBezTo>
                  <a:pt x="13" y="73"/>
                  <a:pt x="13" y="89"/>
                  <a:pt x="8" y="98"/>
                </a:cubicBezTo>
                <a:cubicBezTo>
                  <a:pt x="6" y="103"/>
                  <a:pt x="0" y="103"/>
                  <a:pt x="0" y="110"/>
                </a:cubicBezTo>
                <a:cubicBezTo>
                  <a:pt x="0" y="123"/>
                  <a:pt x="11" y="124"/>
                  <a:pt x="11" y="133"/>
                </a:cubicBezTo>
                <a:cubicBezTo>
                  <a:pt x="11" y="139"/>
                  <a:pt x="2" y="140"/>
                  <a:pt x="2" y="146"/>
                </a:cubicBezTo>
                <a:cubicBezTo>
                  <a:pt x="2" y="148"/>
                  <a:pt x="21" y="155"/>
                  <a:pt x="22" y="160"/>
                </a:cubicBezTo>
                <a:cubicBezTo>
                  <a:pt x="24" y="167"/>
                  <a:pt x="22" y="179"/>
                  <a:pt x="29" y="179"/>
                </a:cubicBezTo>
                <a:cubicBezTo>
                  <a:pt x="32" y="179"/>
                  <a:pt x="33" y="176"/>
                  <a:pt x="35" y="176"/>
                </a:cubicBezTo>
                <a:cubicBezTo>
                  <a:pt x="38" y="176"/>
                  <a:pt x="39" y="182"/>
                  <a:pt x="43" y="182"/>
                </a:cubicBezTo>
                <a:cubicBezTo>
                  <a:pt x="49" y="182"/>
                  <a:pt x="66" y="168"/>
                  <a:pt x="66" y="162"/>
                </a:cubicBezTo>
                <a:cubicBezTo>
                  <a:pt x="66" y="158"/>
                  <a:pt x="66" y="157"/>
                  <a:pt x="66" y="153"/>
                </a:cubicBezTo>
                <a:cubicBezTo>
                  <a:pt x="66" y="148"/>
                  <a:pt x="69" y="142"/>
                  <a:pt x="70" y="135"/>
                </a:cubicBezTo>
                <a:cubicBezTo>
                  <a:pt x="72" y="135"/>
                  <a:pt x="75" y="134"/>
                  <a:pt x="77" y="135"/>
                </a:cubicBezTo>
                <a:cubicBezTo>
                  <a:pt x="77" y="131"/>
                  <a:pt x="77" y="126"/>
                  <a:pt x="77" y="126"/>
                </a:cubicBezTo>
                <a:cubicBezTo>
                  <a:pt x="77" y="115"/>
                  <a:pt x="104" y="103"/>
                  <a:pt x="104" y="91"/>
                </a:cubicBezTo>
                <a:cubicBezTo>
                  <a:pt x="104" y="86"/>
                  <a:pt x="99" y="83"/>
                  <a:pt x="99" y="77"/>
                </a:cubicBezTo>
                <a:cubicBezTo>
                  <a:pt x="99" y="66"/>
                  <a:pt x="103" y="62"/>
                  <a:pt x="112" y="62"/>
                </a:cubicBezTo>
                <a:cubicBezTo>
                  <a:pt x="111" y="60"/>
                  <a:pt x="111" y="55"/>
                  <a:pt x="111" y="51"/>
                </a:cubicBezTo>
                <a:cubicBezTo>
                  <a:pt x="111" y="44"/>
                  <a:pt x="114" y="40"/>
                  <a:pt x="114" y="33"/>
                </a:cubicBezTo>
                <a:cubicBezTo>
                  <a:pt x="114" y="21"/>
                  <a:pt x="106" y="22"/>
                  <a:pt x="106" y="8"/>
                </a:cubicBezTo>
                <a:cubicBezTo>
                  <a:pt x="106" y="3"/>
                  <a:pt x="106" y="1"/>
                  <a:pt x="107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6" y="0"/>
                  <a:pt x="106" y="0"/>
                  <a:pt x="106" y="0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0" name="Freeform 51"/>
          <p:cNvSpPr>
            <a:spLocks/>
          </p:cNvSpPr>
          <p:nvPr/>
        </p:nvSpPr>
        <p:spPr bwMode="auto">
          <a:xfrm>
            <a:off x="5402746" y="1577474"/>
            <a:ext cx="730665" cy="568295"/>
          </a:xfrm>
          <a:custGeom>
            <a:avLst/>
            <a:gdLst>
              <a:gd name="T0" fmla="*/ 157 w 161"/>
              <a:gd name="T1" fmla="*/ 125 h 125"/>
              <a:gd name="T2" fmla="*/ 157 w 161"/>
              <a:gd name="T3" fmla="*/ 100 h 125"/>
              <a:gd name="T4" fmla="*/ 144 w 161"/>
              <a:gd name="T5" fmla="*/ 94 h 125"/>
              <a:gd name="T6" fmla="*/ 149 w 161"/>
              <a:gd name="T7" fmla="*/ 74 h 125"/>
              <a:gd name="T8" fmla="*/ 136 w 161"/>
              <a:gd name="T9" fmla="*/ 57 h 125"/>
              <a:gd name="T10" fmla="*/ 126 w 161"/>
              <a:gd name="T11" fmla="*/ 34 h 125"/>
              <a:gd name="T12" fmla="*/ 120 w 161"/>
              <a:gd name="T13" fmla="*/ 34 h 125"/>
              <a:gd name="T14" fmla="*/ 100 w 161"/>
              <a:gd name="T15" fmla="*/ 10 h 125"/>
              <a:gd name="T16" fmla="*/ 91 w 161"/>
              <a:gd name="T17" fmla="*/ 14 h 125"/>
              <a:gd name="T18" fmla="*/ 79 w 161"/>
              <a:gd name="T19" fmla="*/ 8 h 125"/>
              <a:gd name="T20" fmla="*/ 57 w 161"/>
              <a:gd name="T21" fmla="*/ 7 h 125"/>
              <a:gd name="T22" fmla="*/ 50 w 161"/>
              <a:gd name="T23" fmla="*/ 0 h 125"/>
              <a:gd name="T24" fmla="*/ 40 w 161"/>
              <a:gd name="T25" fmla="*/ 8 h 125"/>
              <a:gd name="T26" fmla="*/ 35 w 161"/>
              <a:gd name="T27" fmla="*/ 5 h 125"/>
              <a:gd name="T28" fmla="*/ 22 w 161"/>
              <a:gd name="T29" fmla="*/ 20 h 125"/>
              <a:gd name="T30" fmla="*/ 27 w 161"/>
              <a:gd name="T31" fmla="*/ 34 h 125"/>
              <a:gd name="T32" fmla="*/ 0 w 161"/>
              <a:gd name="T33" fmla="*/ 69 h 125"/>
              <a:gd name="T34" fmla="*/ 0 w 161"/>
              <a:gd name="T35" fmla="*/ 77 h 125"/>
              <a:gd name="T36" fmla="*/ 11 w 161"/>
              <a:gd name="T37" fmla="*/ 89 h 125"/>
              <a:gd name="T38" fmla="*/ 52 w 161"/>
              <a:gd name="T39" fmla="*/ 96 h 125"/>
              <a:gd name="T40" fmla="*/ 63 w 161"/>
              <a:gd name="T41" fmla="*/ 105 h 125"/>
              <a:gd name="T42" fmla="*/ 95 w 161"/>
              <a:gd name="T43" fmla="*/ 93 h 125"/>
              <a:gd name="T44" fmla="*/ 112 w 161"/>
              <a:gd name="T45" fmla="*/ 111 h 125"/>
              <a:gd name="T46" fmla="*/ 121 w 161"/>
              <a:gd name="T47" fmla="*/ 107 h 125"/>
              <a:gd name="T48" fmla="*/ 128 w 161"/>
              <a:gd name="T49" fmla="*/ 116 h 125"/>
              <a:gd name="T50" fmla="*/ 134 w 161"/>
              <a:gd name="T51" fmla="*/ 112 h 125"/>
              <a:gd name="T52" fmla="*/ 155 w 161"/>
              <a:gd name="T53" fmla="*/ 122 h 125"/>
              <a:gd name="T54" fmla="*/ 155 w 161"/>
              <a:gd name="T55" fmla="*/ 122 h 125"/>
              <a:gd name="T56" fmla="*/ 157 w 161"/>
              <a:gd name="T57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61" h="125">
                <a:moveTo>
                  <a:pt x="157" y="125"/>
                </a:moveTo>
                <a:cubicBezTo>
                  <a:pt x="157" y="119"/>
                  <a:pt x="161" y="107"/>
                  <a:pt x="157" y="100"/>
                </a:cubicBezTo>
                <a:cubicBezTo>
                  <a:pt x="157" y="99"/>
                  <a:pt x="144" y="98"/>
                  <a:pt x="144" y="94"/>
                </a:cubicBezTo>
                <a:cubicBezTo>
                  <a:pt x="144" y="88"/>
                  <a:pt x="149" y="84"/>
                  <a:pt x="149" y="74"/>
                </a:cubicBezTo>
                <a:cubicBezTo>
                  <a:pt x="142" y="71"/>
                  <a:pt x="138" y="64"/>
                  <a:pt x="136" y="57"/>
                </a:cubicBezTo>
                <a:cubicBezTo>
                  <a:pt x="132" y="47"/>
                  <a:pt x="133" y="34"/>
                  <a:pt x="126" y="34"/>
                </a:cubicBezTo>
                <a:cubicBezTo>
                  <a:pt x="122" y="31"/>
                  <a:pt x="125" y="34"/>
                  <a:pt x="120" y="34"/>
                </a:cubicBezTo>
                <a:cubicBezTo>
                  <a:pt x="106" y="34"/>
                  <a:pt x="117" y="10"/>
                  <a:pt x="100" y="10"/>
                </a:cubicBezTo>
                <a:cubicBezTo>
                  <a:pt x="97" y="10"/>
                  <a:pt x="95" y="14"/>
                  <a:pt x="91" y="14"/>
                </a:cubicBezTo>
                <a:cubicBezTo>
                  <a:pt x="85" y="14"/>
                  <a:pt x="83" y="9"/>
                  <a:pt x="79" y="8"/>
                </a:cubicBezTo>
                <a:cubicBezTo>
                  <a:pt x="72" y="5"/>
                  <a:pt x="64" y="9"/>
                  <a:pt x="57" y="7"/>
                </a:cubicBezTo>
                <a:cubicBezTo>
                  <a:pt x="54" y="5"/>
                  <a:pt x="56" y="0"/>
                  <a:pt x="50" y="0"/>
                </a:cubicBezTo>
                <a:cubicBezTo>
                  <a:pt x="46" y="0"/>
                  <a:pt x="45" y="8"/>
                  <a:pt x="40" y="8"/>
                </a:cubicBezTo>
                <a:cubicBezTo>
                  <a:pt x="38" y="8"/>
                  <a:pt x="36" y="7"/>
                  <a:pt x="35" y="5"/>
                </a:cubicBezTo>
                <a:cubicBezTo>
                  <a:pt x="26" y="5"/>
                  <a:pt x="22" y="9"/>
                  <a:pt x="22" y="20"/>
                </a:cubicBezTo>
                <a:cubicBezTo>
                  <a:pt x="22" y="26"/>
                  <a:pt x="27" y="29"/>
                  <a:pt x="27" y="34"/>
                </a:cubicBezTo>
                <a:cubicBezTo>
                  <a:pt x="27" y="46"/>
                  <a:pt x="0" y="58"/>
                  <a:pt x="0" y="69"/>
                </a:cubicBezTo>
                <a:cubicBezTo>
                  <a:pt x="0" y="69"/>
                  <a:pt x="0" y="73"/>
                  <a:pt x="0" y="77"/>
                </a:cubicBezTo>
                <a:cubicBezTo>
                  <a:pt x="8" y="78"/>
                  <a:pt x="6" y="88"/>
                  <a:pt x="11" y="89"/>
                </a:cubicBezTo>
                <a:cubicBezTo>
                  <a:pt x="31" y="95"/>
                  <a:pt x="36" y="90"/>
                  <a:pt x="52" y="96"/>
                </a:cubicBezTo>
                <a:cubicBezTo>
                  <a:pt x="57" y="99"/>
                  <a:pt x="58" y="105"/>
                  <a:pt x="63" y="105"/>
                </a:cubicBezTo>
                <a:cubicBezTo>
                  <a:pt x="77" y="105"/>
                  <a:pt x="86" y="93"/>
                  <a:pt x="95" y="93"/>
                </a:cubicBezTo>
                <a:cubicBezTo>
                  <a:pt x="110" y="93"/>
                  <a:pt x="105" y="111"/>
                  <a:pt x="112" y="111"/>
                </a:cubicBezTo>
                <a:cubicBezTo>
                  <a:pt x="115" y="111"/>
                  <a:pt x="118" y="107"/>
                  <a:pt x="121" y="107"/>
                </a:cubicBezTo>
                <a:cubicBezTo>
                  <a:pt x="122" y="112"/>
                  <a:pt x="125" y="116"/>
                  <a:pt x="128" y="116"/>
                </a:cubicBezTo>
                <a:cubicBezTo>
                  <a:pt x="131" y="116"/>
                  <a:pt x="132" y="112"/>
                  <a:pt x="134" y="112"/>
                </a:cubicBezTo>
                <a:cubicBezTo>
                  <a:pt x="141" y="112"/>
                  <a:pt x="145" y="122"/>
                  <a:pt x="155" y="122"/>
                </a:cubicBezTo>
                <a:cubicBezTo>
                  <a:pt x="155" y="122"/>
                  <a:pt x="155" y="122"/>
                  <a:pt x="155" y="122"/>
                </a:cubicBezTo>
                <a:cubicBezTo>
                  <a:pt x="157" y="125"/>
                  <a:pt x="157" y="125"/>
                  <a:pt x="157" y="125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1" name="Freeform 53"/>
          <p:cNvSpPr>
            <a:spLocks/>
          </p:cNvSpPr>
          <p:nvPr/>
        </p:nvSpPr>
        <p:spPr bwMode="auto">
          <a:xfrm>
            <a:off x="6634518" y="4155793"/>
            <a:ext cx="1307357" cy="1310155"/>
          </a:xfrm>
          <a:custGeom>
            <a:avLst/>
            <a:gdLst>
              <a:gd name="T0" fmla="*/ 0 w 288"/>
              <a:gd name="T1" fmla="*/ 93 h 289"/>
              <a:gd name="T2" fmla="*/ 25 w 288"/>
              <a:gd name="T3" fmla="*/ 113 h 289"/>
              <a:gd name="T4" fmla="*/ 40 w 288"/>
              <a:gd name="T5" fmla="*/ 113 h 289"/>
              <a:gd name="T6" fmla="*/ 42 w 288"/>
              <a:gd name="T7" fmla="*/ 131 h 289"/>
              <a:gd name="T8" fmla="*/ 64 w 288"/>
              <a:gd name="T9" fmla="*/ 147 h 289"/>
              <a:gd name="T10" fmla="*/ 80 w 288"/>
              <a:gd name="T11" fmla="*/ 188 h 289"/>
              <a:gd name="T12" fmla="*/ 91 w 288"/>
              <a:gd name="T13" fmla="*/ 200 h 289"/>
              <a:gd name="T14" fmla="*/ 111 w 288"/>
              <a:gd name="T15" fmla="*/ 217 h 289"/>
              <a:gd name="T16" fmla="*/ 139 w 288"/>
              <a:gd name="T17" fmla="*/ 210 h 289"/>
              <a:gd name="T18" fmla="*/ 164 w 288"/>
              <a:gd name="T19" fmla="*/ 231 h 289"/>
              <a:gd name="T20" fmla="*/ 164 w 288"/>
              <a:gd name="T21" fmla="*/ 231 h 289"/>
              <a:gd name="T22" fmla="*/ 185 w 288"/>
              <a:gd name="T23" fmla="*/ 231 h 289"/>
              <a:gd name="T24" fmla="*/ 185 w 288"/>
              <a:gd name="T25" fmla="*/ 231 h 289"/>
              <a:gd name="T26" fmla="*/ 217 w 288"/>
              <a:gd name="T27" fmla="*/ 275 h 289"/>
              <a:gd name="T28" fmla="*/ 230 w 288"/>
              <a:gd name="T29" fmla="*/ 270 h 289"/>
              <a:gd name="T30" fmla="*/ 254 w 288"/>
              <a:gd name="T31" fmla="*/ 289 h 289"/>
              <a:gd name="T32" fmla="*/ 288 w 288"/>
              <a:gd name="T33" fmla="*/ 266 h 289"/>
              <a:gd name="T34" fmla="*/ 273 w 288"/>
              <a:gd name="T35" fmla="*/ 250 h 289"/>
              <a:gd name="T36" fmla="*/ 272 w 288"/>
              <a:gd name="T37" fmla="*/ 242 h 289"/>
              <a:gd name="T38" fmla="*/ 261 w 288"/>
              <a:gd name="T39" fmla="*/ 235 h 289"/>
              <a:gd name="T40" fmla="*/ 265 w 288"/>
              <a:gd name="T41" fmla="*/ 227 h 289"/>
              <a:gd name="T42" fmla="*/ 257 w 288"/>
              <a:gd name="T43" fmla="*/ 215 h 289"/>
              <a:gd name="T44" fmla="*/ 257 w 288"/>
              <a:gd name="T45" fmla="*/ 215 h 289"/>
              <a:gd name="T46" fmla="*/ 259 w 288"/>
              <a:gd name="T47" fmla="*/ 206 h 289"/>
              <a:gd name="T48" fmla="*/ 259 w 288"/>
              <a:gd name="T49" fmla="*/ 206 h 289"/>
              <a:gd name="T50" fmla="*/ 270 w 288"/>
              <a:gd name="T51" fmla="*/ 195 h 289"/>
              <a:gd name="T52" fmla="*/ 251 w 288"/>
              <a:gd name="T53" fmla="*/ 182 h 289"/>
              <a:gd name="T54" fmla="*/ 243 w 288"/>
              <a:gd name="T55" fmla="*/ 182 h 289"/>
              <a:gd name="T56" fmla="*/ 236 w 288"/>
              <a:gd name="T57" fmla="*/ 179 h 289"/>
              <a:gd name="T58" fmla="*/ 211 w 288"/>
              <a:gd name="T59" fmla="*/ 200 h 289"/>
              <a:gd name="T60" fmla="*/ 190 w 288"/>
              <a:gd name="T61" fmla="*/ 188 h 289"/>
              <a:gd name="T62" fmla="*/ 179 w 288"/>
              <a:gd name="T63" fmla="*/ 191 h 289"/>
              <a:gd name="T64" fmla="*/ 161 w 288"/>
              <a:gd name="T65" fmla="*/ 182 h 289"/>
              <a:gd name="T66" fmla="*/ 167 w 288"/>
              <a:gd name="T67" fmla="*/ 167 h 289"/>
              <a:gd name="T68" fmla="*/ 160 w 288"/>
              <a:gd name="T69" fmla="*/ 153 h 289"/>
              <a:gd name="T70" fmla="*/ 174 w 288"/>
              <a:gd name="T71" fmla="*/ 141 h 289"/>
              <a:gd name="T72" fmla="*/ 164 w 288"/>
              <a:gd name="T73" fmla="*/ 129 h 289"/>
              <a:gd name="T74" fmla="*/ 154 w 288"/>
              <a:gd name="T75" fmla="*/ 134 h 289"/>
              <a:gd name="T76" fmla="*/ 150 w 288"/>
              <a:gd name="T77" fmla="*/ 124 h 289"/>
              <a:gd name="T78" fmla="*/ 150 w 288"/>
              <a:gd name="T79" fmla="*/ 113 h 289"/>
              <a:gd name="T80" fmla="*/ 131 w 288"/>
              <a:gd name="T81" fmla="*/ 43 h 289"/>
              <a:gd name="T82" fmla="*/ 128 w 288"/>
              <a:gd name="T83" fmla="*/ 30 h 289"/>
              <a:gd name="T84" fmla="*/ 119 w 288"/>
              <a:gd name="T85" fmla="*/ 18 h 289"/>
              <a:gd name="T86" fmla="*/ 126 w 288"/>
              <a:gd name="T87" fmla="*/ 7 h 289"/>
              <a:gd name="T88" fmla="*/ 111 w 288"/>
              <a:gd name="T89" fmla="*/ 0 h 289"/>
              <a:gd name="T90" fmla="*/ 102 w 288"/>
              <a:gd name="T91" fmla="*/ 18 h 289"/>
              <a:gd name="T92" fmla="*/ 86 w 288"/>
              <a:gd name="T93" fmla="*/ 30 h 289"/>
              <a:gd name="T94" fmla="*/ 62 w 288"/>
              <a:gd name="T95" fmla="*/ 54 h 289"/>
              <a:gd name="T96" fmla="*/ 35 w 288"/>
              <a:gd name="T97" fmla="*/ 76 h 289"/>
              <a:gd name="T98" fmla="*/ 3 w 288"/>
              <a:gd name="T99" fmla="*/ 91 h 289"/>
              <a:gd name="T100" fmla="*/ 3 w 288"/>
              <a:gd name="T101" fmla="*/ 91 h 289"/>
              <a:gd name="T102" fmla="*/ 0 w 288"/>
              <a:gd name="T103" fmla="*/ 9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88" h="289">
                <a:moveTo>
                  <a:pt x="0" y="93"/>
                </a:moveTo>
                <a:cubicBezTo>
                  <a:pt x="12" y="95"/>
                  <a:pt x="9" y="113"/>
                  <a:pt x="25" y="113"/>
                </a:cubicBezTo>
                <a:cubicBezTo>
                  <a:pt x="31" y="113"/>
                  <a:pt x="35" y="110"/>
                  <a:pt x="40" y="113"/>
                </a:cubicBezTo>
                <a:cubicBezTo>
                  <a:pt x="44" y="116"/>
                  <a:pt x="41" y="126"/>
                  <a:pt x="42" y="131"/>
                </a:cubicBezTo>
                <a:cubicBezTo>
                  <a:pt x="44" y="139"/>
                  <a:pt x="64" y="135"/>
                  <a:pt x="64" y="147"/>
                </a:cubicBezTo>
                <a:cubicBezTo>
                  <a:pt x="64" y="157"/>
                  <a:pt x="70" y="183"/>
                  <a:pt x="80" y="188"/>
                </a:cubicBezTo>
                <a:cubicBezTo>
                  <a:pt x="90" y="189"/>
                  <a:pt x="90" y="194"/>
                  <a:pt x="91" y="200"/>
                </a:cubicBezTo>
                <a:cubicBezTo>
                  <a:pt x="92" y="210"/>
                  <a:pt x="101" y="217"/>
                  <a:pt x="111" y="217"/>
                </a:cubicBezTo>
                <a:cubicBezTo>
                  <a:pt x="121" y="217"/>
                  <a:pt x="128" y="210"/>
                  <a:pt x="139" y="210"/>
                </a:cubicBezTo>
                <a:cubicBezTo>
                  <a:pt x="156" y="210"/>
                  <a:pt x="153" y="226"/>
                  <a:pt x="164" y="231"/>
                </a:cubicBezTo>
                <a:cubicBezTo>
                  <a:pt x="164" y="231"/>
                  <a:pt x="164" y="231"/>
                  <a:pt x="164" y="231"/>
                </a:cubicBezTo>
                <a:cubicBezTo>
                  <a:pt x="185" y="231"/>
                  <a:pt x="185" y="231"/>
                  <a:pt x="185" y="231"/>
                </a:cubicBezTo>
                <a:cubicBezTo>
                  <a:pt x="185" y="231"/>
                  <a:pt x="185" y="231"/>
                  <a:pt x="185" y="231"/>
                </a:cubicBezTo>
                <a:cubicBezTo>
                  <a:pt x="198" y="242"/>
                  <a:pt x="193" y="275"/>
                  <a:pt x="217" y="275"/>
                </a:cubicBezTo>
                <a:cubicBezTo>
                  <a:pt x="222" y="275"/>
                  <a:pt x="224" y="270"/>
                  <a:pt x="230" y="270"/>
                </a:cubicBezTo>
                <a:cubicBezTo>
                  <a:pt x="241" y="270"/>
                  <a:pt x="241" y="289"/>
                  <a:pt x="254" y="289"/>
                </a:cubicBezTo>
                <a:cubicBezTo>
                  <a:pt x="274" y="289"/>
                  <a:pt x="283" y="281"/>
                  <a:pt x="288" y="266"/>
                </a:cubicBezTo>
                <a:cubicBezTo>
                  <a:pt x="288" y="253"/>
                  <a:pt x="277" y="257"/>
                  <a:pt x="273" y="250"/>
                </a:cubicBezTo>
                <a:cubicBezTo>
                  <a:pt x="272" y="248"/>
                  <a:pt x="274" y="244"/>
                  <a:pt x="272" y="242"/>
                </a:cubicBezTo>
                <a:cubicBezTo>
                  <a:pt x="271" y="238"/>
                  <a:pt x="261" y="238"/>
                  <a:pt x="261" y="235"/>
                </a:cubicBezTo>
                <a:cubicBezTo>
                  <a:pt x="261" y="232"/>
                  <a:pt x="265" y="230"/>
                  <a:pt x="265" y="227"/>
                </a:cubicBezTo>
                <a:cubicBezTo>
                  <a:pt x="265" y="220"/>
                  <a:pt x="257" y="221"/>
                  <a:pt x="257" y="215"/>
                </a:cubicBezTo>
                <a:cubicBezTo>
                  <a:pt x="257" y="215"/>
                  <a:pt x="257" y="215"/>
                  <a:pt x="257" y="215"/>
                </a:cubicBezTo>
                <a:cubicBezTo>
                  <a:pt x="259" y="206"/>
                  <a:pt x="259" y="206"/>
                  <a:pt x="259" y="206"/>
                </a:cubicBezTo>
                <a:cubicBezTo>
                  <a:pt x="259" y="206"/>
                  <a:pt x="259" y="206"/>
                  <a:pt x="259" y="206"/>
                </a:cubicBezTo>
                <a:cubicBezTo>
                  <a:pt x="261" y="204"/>
                  <a:pt x="270" y="196"/>
                  <a:pt x="270" y="195"/>
                </a:cubicBezTo>
                <a:cubicBezTo>
                  <a:pt x="270" y="187"/>
                  <a:pt x="255" y="182"/>
                  <a:pt x="251" y="182"/>
                </a:cubicBezTo>
                <a:cubicBezTo>
                  <a:pt x="247" y="182"/>
                  <a:pt x="245" y="182"/>
                  <a:pt x="243" y="182"/>
                </a:cubicBezTo>
                <a:cubicBezTo>
                  <a:pt x="239" y="182"/>
                  <a:pt x="236" y="183"/>
                  <a:pt x="236" y="179"/>
                </a:cubicBezTo>
                <a:cubicBezTo>
                  <a:pt x="229" y="184"/>
                  <a:pt x="219" y="200"/>
                  <a:pt x="211" y="200"/>
                </a:cubicBezTo>
                <a:cubicBezTo>
                  <a:pt x="199" y="200"/>
                  <a:pt x="199" y="188"/>
                  <a:pt x="190" y="188"/>
                </a:cubicBezTo>
                <a:cubicBezTo>
                  <a:pt x="185" y="188"/>
                  <a:pt x="183" y="191"/>
                  <a:pt x="179" y="191"/>
                </a:cubicBezTo>
                <a:cubicBezTo>
                  <a:pt x="175" y="191"/>
                  <a:pt x="161" y="183"/>
                  <a:pt x="161" y="182"/>
                </a:cubicBezTo>
                <a:cubicBezTo>
                  <a:pt x="161" y="173"/>
                  <a:pt x="167" y="175"/>
                  <a:pt x="167" y="167"/>
                </a:cubicBezTo>
                <a:cubicBezTo>
                  <a:pt x="167" y="159"/>
                  <a:pt x="160" y="158"/>
                  <a:pt x="160" y="153"/>
                </a:cubicBezTo>
                <a:cubicBezTo>
                  <a:pt x="160" y="147"/>
                  <a:pt x="174" y="148"/>
                  <a:pt x="174" y="141"/>
                </a:cubicBezTo>
                <a:cubicBezTo>
                  <a:pt x="174" y="136"/>
                  <a:pt x="166" y="129"/>
                  <a:pt x="164" y="129"/>
                </a:cubicBezTo>
                <a:cubicBezTo>
                  <a:pt x="160" y="129"/>
                  <a:pt x="159" y="134"/>
                  <a:pt x="154" y="134"/>
                </a:cubicBezTo>
                <a:cubicBezTo>
                  <a:pt x="150" y="134"/>
                  <a:pt x="150" y="129"/>
                  <a:pt x="150" y="124"/>
                </a:cubicBezTo>
                <a:cubicBezTo>
                  <a:pt x="150" y="123"/>
                  <a:pt x="150" y="116"/>
                  <a:pt x="150" y="113"/>
                </a:cubicBezTo>
                <a:cubicBezTo>
                  <a:pt x="150" y="82"/>
                  <a:pt x="131" y="76"/>
                  <a:pt x="131" y="43"/>
                </a:cubicBezTo>
                <a:cubicBezTo>
                  <a:pt x="131" y="39"/>
                  <a:pt x="128" y="34"/>
                  <a:pt x="128" y="30"/>
                </a:cubicBezTo>
                <a:cubicBezTo>
                  <a:pt x="126" y="27"/>
                  <a:pt x="119" y="24"/>
                  <a:pt x="119" y="18"/>
                </a:cubicBezTo>
                <a:cubicBezTo>
                  <a:pt x="119" y="13"/>
                  <a:pt x="124" y="12"/>
                  <a:pt x="126" y="7"/>
                </a:cubicBezTo>
                <a:cubicBezTo>
                  <a:pt x="119" y="6"/>
                  <a:pt x="117" y="0"/>
                  <a:pt x="111" y="0"/>
                </a:cubicBezTo>
                <a:cubicBezTo>
                  <a:pt x="101" y="0"/>
                  <a:pt x="106" y="13"/>
                  <a:pt x="102" y="18"/>
                </a:cubicBezTo>
                <a:cubicBezTo>
                  <a:pt x="97" y="25"/>
                  <a:pt x="90" y="24"/>
                  <a:pt x="86" y="30"/>
                </a:cubicBezTo>
                <a:cubicBezTo>
                  <a:pt x="79" y="38"/>
                  <a:pt x="76" y="54"/>
                  <a:pt x="62" y="54"/>
                </a:cubicBezTo>
                <a:cubicBezTo>
                  <a:pt x="49" y="54"/>
                  <a:pt x="41" y="71"/>
                  <a:pt x="35" y="76"/>
                </a:cubicBezTo>
                <a:cubicBezTo>
                  <a:pt x="25" y="83"/>
                  <a:pt x="5" y="78"/>
                  <a:pt x="3" y="91"/>
                </a:cubicBezTo>
                <a:cubicBezTo>
                  <a:pt x="3" y="91"/>
                  <a:pt x="3" y="91"/>
                  <a:pt x="3" y="91"/>
                </a:cubicBezTo>
                <a:cubicBezTo>
                  <a:pt x="0" y="93"/>
                  <a:pt x="0" y="93"/>
                  <a:pt x="0" y="93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2" name="Freeform 54"/>
          <p:cNvSpPr>
            <a:spLocks/>
          </p:cNvSpPr>
          <p:nvPr/>
        </p:nvSpPr>
        <p:spPr bwMode="auto">
          <a:xfrm>
            <a:off x="6113814" y="2901628"/>
            <a:ext cx="949023" cy="671875"/>
          </a:xfrm>
          <a:custGeom>
            <a:avLst/>
            <a:gdLst>
              <a:gd name="T0" fmla="*/ 92 w 209"/>
              <a:gd name="T1" fmla="*/ 144 h 148"/>
              <a:gd name="T2" fmla="*/ 111 w 209"/>
              <a:gd name="T3" fmla="*/ 128 h 148"/>
              <a:gd name="T4" fmla="*/ 129 w 209"/>
              <a:gd name="T5" fmla="*/ 105 h 148"/>
              <a:gd name="T6" fmla="*/ 124 w 209"/>
              <a:gd name="T7" fmla="*/ 89 h 148"/>
              <a:gd name="T8" fmla="*/ 148 w 209"/>
              <a:gd name="T9" fmla="*/ 68 h 148"/>
              <a:gd name="T10" fmla="*/ 163 w 209"/>
              <a:gd name="T11" fmla="*/ 75 h 148"/>
              <a:gd name="T12" fmla="*/ 163 w 209"/>
              <a:gd name="T13" fmla="*/ 75 h 148"/>
              <a:gd name="T14" fmla="*/ 163 w 209"/>
              <a:gd name="T15" fmla="*/ 74 h 148"/>
              <a:gd name="T16" fmla="*/ 163 w 209"/>
              <a:gd name="T17" fmla="*/ 74 h 148"/>
              <a:gd name="T18" fmla="*/ 183 w 209"/>
              <a:gd name="T19" fmla="*/ 55 h 148"/>
              <a:gd name="T20" fmla="*/ 194 w 209"/>
              <a:gd name="T21" fmla="*/ 60 h 148"/>
              <a:gd name="T22" fmla="*/ 209 w 209"/>
              <a:gd name="T23" fmla="*/ 54 h 148"/>
              <a:gd name="T24" fmla="*/ 209 w 209"/>
              <a:gd name="T25" fmla="*/ 54 h 148"/>
              <a:gd name="T26" fmla="*/ 209 w 209"/>
              <a:gd name="T27" fmla="*/ 48 h 148"/>
              <a:gd name="T28" fmla="*/ 209 w 209"/>
              <a:gd name="T29" fmla="*/ 48 h 148"/>
              <a:gd name="T30" fmla="*/ 188 w 209"/>
              <a:gd name="T31" fmla="*/ 21 h 148"/>
              <a:gd name="T32" fmla="*/ 168 w 209"/>
              <a:gd name="T33" fmla="*/ 16 h 148"/>
              <a:gd name="T34" fmla="*/ 157 w 209"/>
              <a:gd name="T35" fmla="*/ 0 h 148"/>
              <a:gd name="T36" fmla="*/ 135 w 209"/>
              <a:gd name="T37" fmla="*/ 12 h 148"/>
              <a:gd name="T38" fmla="*/ 114 w 209"/>
              <a:gd name="T39" fmla="*/ 10 h 148"/>
              <a:gd name="T40" fmla="*/ 114 w 209"/>
              <a:gd name="T41" fmla="*/ 10 h 148"/>
              <a:gd name="T42" fmla="*/ 100 w 209"/>
              <a:gd name="T43" fmla="*/ 10 h 148"/>
              <a:gd name="T44" fmla="*/ 100 w 209"/>
              <a:gd name="T45" fmla="*/ 10 h 148"/>
              <a:gd name="T46" fmla="*/ 86 w 209"/>
              <a:gd name="T47" fmla="*/ 26 h 148"/>
              <a:gd name="T48" fmla="*/ 75 w 209"/>
              <a:gd name="T49" fmla="*/ 17 h 148"/>
              <a:gd name="T50" fmla="*/ 60 w 209"/>
              <a:gd name="T51" fmla="*/ 27 h 148"/>
              <a:gd name="T52" fmla="*/ 0 w 209"/>
              <a:gd name="T53" fmla="*/ 68 h 148"/>
              <a:gd name="T54" fmla="*/ 9 w 209"/>
              <a:gd name="T55" fmla="*/ 79 h 148"/>
              <a:gd name="T56" fmla="*/ 9 w 209"/>
              <a:gd name="T57" fmla="*/ 79 h 148"/>
              <a:gd name="T58" fmla="*/ 9 w 209"/>
              <a:gd name="T59" fmla="*/ 84 h 148"/>
              <a:gd name="T60" fmla="*/ 9 w 209"/>
              <a:gd name="T61" fmla="*/ 84 h 148"/>
              <a:gd name="T62" fmla="*/ 6 w 209"/>
              <a:gd name="T63" fmla="*/ 90 h 148"/>
              <a:gd name="T64" fmla="*/ 25 w 209"/>
              <a:gd name="T65" fmla="*/ 101 h 148"/>
              <a:gd name="T66" fmla="*/ 36 w 209"/>
              <a:gd name="T67" fmla="*/ 130 h 148"/>
              <a:gd name="T68" fmla="*/ 50 w 209"/>
              <a:gd name="T69" fmla="*/ 148 h 148"/>
              <a:gd name="T70" fmla="*/ 82 w 209"/>
              <a:gd name="T71" fmla="*/ 134 h 148"/>
              <a:gd name="T72" fmla="*/ 92 w 209"/>
              <a:gd name="T73" fmla="*/ 145 h 148"/>
              <a:gd name="T74" fmla="*/ 92 w 209"/>
              <a:gd name="T75" fmla="*/ 145 h 148"/>
              <a:gd name="T76" fmla="*/ 92 w 209"/>
              <a:gd name="T77" fmla="*/ 144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" h="148">
                <a:moveTo>
                  <a:pt x="92" y="144"/>
                </a:moveTo>
                <a:cubicBezTo>
                  <a:pt x="92" y="137"/>
                  <a:pt x="109" y="134"/>
                  <a:pt x="111" y="128"/>
                </a:cubicBezTo>
                <a:cubicBezTo>
                  <a:pt x="118" y="116"/>
                  <a:pt x="109" y="105"/>
                  <a:pt x="129" y="105"/>
                </a:cubicBezTo>
                <a:cubicBezTo>
                  <a:pt x="129" y="103"/>
                  <a:pt x="124" y="90"/>
                  <a:pt x="124" y="89"/>
                </a:cubicBezTo>
                <a:cubicBezTo>
                  <a:pt x="124" y="75"/>
                  <a:pt x="136" y="68"/>
                  <a:pt x="148" y="68"/>
                </a:cubicBezTo>
                <a:cubicBezTo>
                  <a:pt x="155" y="68"/>
                  <a:pt x="158" y="73"/>
                  <a:pt x="163" y="75"/>
                </a:cubicBezTo>
                <a:cubicBezTo>
                  <a:pt x="163" y="75"/>
                  <a:pt x="163" y="75"/>
                  <a:pt x="163" y="75"/>
                </a:cubicBezTo>
                <a:cubicBezTo>
                  <a:pt x="163" y="74"/>
                  <a:pt x="163" y="74"/>
                  <a:pt x="163" y="74"/>
                </a:cubicBezTo>
                <a:cubicBezTo>
                  <a:pt x="163" y="74"/>
                  <a:pt x="163" y="74"/>
                  <a:pt x="163" y="74"/>
                </a:cubicBezTo>
                <a:cubicBezTo>
                  <a:pt x="163" y="68"/>
                  <a:pt x="174" y="55"/>
                  <a:pt x="183" y="55"/>
                </a:cubicBezTo>
                <a:cubicBezTo>
                  <a:pt x="188" y="55"/>
                  <a:pt x="189" y="60"/>
                  <a:pt x="194" y="60"/>
                </a:cubicBezTo>
                <a:cubicBezTo>
                  <a:pt x="199" y="60"/>
                  <a:pt x="201" y="54"/>
                  <a:pt x="209" y="54"/>
                </a:cubicBezTo>
                <a:cubicBezTo>
                  <a:pt x="209" y="54"/>
                  <a:pt x="209" y="54"/>
                  <a:pt x="209" y="54"/>
                </a:cubicBezTo>
                <a:cubicBezTo>
                  <a:pt x="209" y="48"/>
                  <a:pt x="209" y="48"/>
                  <a:pt x="209" y="48"/>
                </a:cubicBezTo>
                <a:cubicBezTo>
                  <a:pt x="209" y="48"/>
                  <a:pt x="209" y="48"/>
                  <a:pt x="209" y="48"/>
                </a:cubicBezTo>
                <a:cubicBezTo>
                  <a:pt x="205" y="44"/>
                  <a:pt x="188" y="23"/>
                  <a:pt x="188" y="21"/>
                </a:cubicBezTo>
                <a:cubicBezTo>
                  <a:pt x="183" y="21"/>
                  <a:pt x="172" y="18"/>
                  <a:pt x="168" y="16"/>
                </a:cubicBezTo>
                <a:cubicBezTo>
                  <a:pt x="163" y="14"/>
                  <a:pt x="167" y="0"/>
                  <a:pt x="157" y="0"/>
                </a:cubicBezTo>
                <a:cubicBezTo>
                  <a:pt x="150" y="0"/>
                  <a:pt x="146" y="12"/>
                  <a:pt x="135" y="12"/>
                </a:cubicBezTo>
                <a:cubicBezTo>
                  <a:pt x="129" y="12"/>
                  <a:pt x="119" y="11"/>
                  <a:pt x="114" y="10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00" y="10"/>
                  <a:pt x="100" y="10"/>
                  <a:pt x="100" y="10"/>
                </a:cubicBezTo>
                <a:cubicBezTo>
                  <a:pt x="100" y="10"/>
                  <a:pt x="100" y="10"/>
                  <a:pt x="100" y="10"/>
                </a:cubicBezTo>
                <a:cubicBezTo>
                  <a:pt x="100" y="21"/>
                  <a:pt x="95" y="26"/>
                  <a:pt x="86" y="26"/>
                </a:cubicBezTo>
                <a:cubicBezTo>
                  <a:pt x="81" y="26"/>
                  <a:pt x="79" y="17"/>
                  <a:pt x="75" y="17"/>
                </a:cubicBezTo>
                <a:cubicBezTo>
                  <a:pt x="70" y="17"/>
                  <a:pt x="67" y="27"/>
                  <a:pt x="60" y="27"/>
                </a:cubicBezTo>
                <a:cubicBezTo>
                  <a:pt x="56" y="59"/>
                  <a:pt x="0" y="41"/>
                  <a:pt x="0" y="68"/>
                </a:cubicBezTo>
                <a:cubicBezTo>
                  <a:pt x="0" y="76"/>
                  <a:pt x="3" y="77"/>
                  <a:pt x="9" y="79"/>
                </a:cubicBezTo>
                <a:cubicBezTo>
                  <a:pt x="9" y="79"/>
                  <a:pt x="9" y="79"/>
                  <a:pt x="9" y="79"/>
                </a:cubicBezTo>
                <a:cubicBezTo>
                  <a:pt x="9" y="84"/>
                  <a:pt x="9" y="84"/>
                  <a:pt x="9" y="84"/>
                </a:cubicBezTo>
                <a:cubicBezTo>
                  <a:pt x="9" y="84"/>
                  <a:pt x="9" y="84"/>
                  <a:pt x="9" y="84"/>
                </a:cubicBezTo>
                <a:cubicBezTo>
                  <a:pt x="8" y="86"/>
                  <a:pt x="6" y="87"/>
                  <a:pt x="6" y="90"/>
                </a:cubicBezTo>
                <a:cubicBezTo>
                  <a:pt x="6" y="98"/>
                  <a:pt x="20" y="101"/>
                  <a:pt x="25" y="101"/>
                </a:cubicBezTo>
                <a:cubicBezTo>
                  <a:pt x="36" y="101"/>
                  <a:pt x="36" y="123"/>
                  <a:pt x="36" y="130"/>
                </a:cubicBezTo>
                <a:cubicBezTo>
                  <a:pt x="36" y="139"/>
                  <a:pt x="43" y="148"/>
                  <a:pt x="50" y="148"/>
                </a:cubicBezTo>
                <a:cubicBezTo>
                  <a:pt x="59" y="148"/>
                  <a:pt x="71" y="134"/>
                  <a:pt x="82" y="134"/>
                </a:cubicBezTo>
                <a:cubicBezTo>
                  <a:pt x="82" y="137"/>
                  <a:pt x="92" y="145"/>
                  <a:pt x="92" y="145"/>
                </a:cubicBezTo>
                <a:cubicBezTo>
                  <a:pt x="92" y="145"/>
                  <a:pt x="92" y="145"/>
                  <a:pt x="92" y="145"/>
                </a:cubicBezTo>
                <a:cubicBezTo>
                  <a:pt x="92" y="144"/>
                  <a:pt x="92" y="144"/>
                  <a:pt x="92" y="144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3" name="Freeform 55"/>
          <p:cNvSpPr>
            <a:spLocks/>
          </p:cNvSpPr>
          <p:nvPr/>
        </p:nvSpPr>
        <p:spPr bwMode="auto">
          <a:xfrm>
            <a:off x="6010234" y="2252149"/>
            <a:ext cx="520702" cy="473110"/>
          </a:xfrm>
          <a:custGeom>
            <a:avLst/>
            <a:gdLst>
              <a:gd name="T0" fmla="*/ 63 w 115"/>
              <a:gd name="T1" fmla="*/ 96 h 104"/>
              <a:gd name="T2" fmla="*/ 84 w 115"/>
              <a:gd name="T3" fmla="*/ 75 h 104"/>
              <a:gd name="T4" fmla="*/ 115 w 115"/>
              <a:gd name="T5" fmla="*/ 56 h 104"/>
              <a:gd name="T6" fmla="*/ 83 w 115"/>
              <a:gd name="T7" fmla="*/ 9 h 104"/>
              <a:gd name="T8" fmla="*/ 78 w 115"/>
              <a:gd name="T9" fmla="*/ 14 h 104"/>
              <a:gd name="T10" fmla="*/ 57 w 115"/>
              <a:gd name="T11" fmla="*/ 0 h 104"/>
              <a:gd name="T12" fmla="*/ 48 w 115"/>
              <a:gd name="T13" fmla="*/ 0 h 104"/>
              <a:gd name="T14" fmla="*/ 42 w 115"/>
              <a:gd name="T15" fmla="*/ 4 h 104"/>
              <a:gd name="T16" fmla="*/ 32 w 115"/>
              <a:gd name="T17" fmla="*/ 4 h 104"/>
              <a:gd name="T18" fmla="*/ 20 w 115"/>
              <a:gd name="T19" fmla="*/ 30 h 104"/>
              <a:gd name="T20" fmla="*/ 29 w 115"/>
              <a:gd name="T21" fmla="*/ 38 h 104"/>
              <a:gd name="T22" fmla="*/ 29 w 115"/>
              <a:gd name="T23" fmla="*/ 45 h 104"/>
              <a:gd name="T24" fmla="*/ 0 w 115"/>
              <a:gd name="T25" fmla="*/ 84 h 104"/>
              <a:gd name="T26" fmla="*/ 14 w 115"/>
              <a:gd name="T27" fmla="*/ 104 h 104"/>
              <a:gd name="T28" fmla="*/ 35 w 115"/>
              <a:gd name="T29" fmla="*/ 93 h 104"/>
              <a:gd name="T30" fmla="*/ 62 w 115"/>
              <a:gd name="T31" fmla="*/ 96 h 104"/>
              <a:gd name="T32" fmla="*/ 62 w 115"/>
              <a:gd name="T33" fmla="*/ 96 h 104"/>
              <a:gd name="T34" fmla="*/ 63 w 115"/>
              <a:gd name="T35" fmla="*/ 9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5" h="104">
                <a:moveTo>
                  <a:pt x="63" y="96"/>
                </a:moveTo>
                <a:cubicBezTo>
                  <a:pt x="63" y="84"/>
                  <a:pt x="83" y="93"/>
                  <a:pt x="84" y="75"/>
                </a:cubicBezTo>
                <a:cubicBezTo>
                  <a:pt x="99" y="75"/>
                  <a:pt x="111" y="68"/>
                  <a:pt x="115" y="56"/>
                </a:cubicBezTo>
                <a:cubicBezTo>
                  <a:pt x="93" y="56"/>
                  <a:pt x="104" y="9"/>
                  <a:pt x="83" y="9"/>
                </a:cubicBezTo>
                <a:cubicBezTo>
                  <a:pt x="80" y="9"/>
                  <a:pt x="79" y="14"/>
                  <a:pt x="78" y="14"/>
                </a:cubicBezTo>
                <a:cubicBezTo>
                  <a:pt x="68" y="14"/>
                  <a:pt x="67" y="0"/>
                  <a:pt x="57" y="0"/>
                </a:cubicBezTo>
                <a:cubicBezTo>
                  <a:pt x="53" y="0"/>
                  <a:pt x="50" y="3"/>
                  <a:pt x="48" y="0"/>
                </a:cubicBezTo>
                <a:cubicBezTo>
                  <a:pt x="46" y="3"/>
                  <a:pt x="43" y="4"/>
                  <a:pt x="42" y="4"/>
                </a:cubicBezTo>
                <a:cubicBezTo>
                  <a:pt x="39" y="4"/>
                  <a:pt x="35" y="4"/>
                  <a:pt x="32" y="4"/>
                </a:cubicBezTo>
                <a:cubicBezTo>
                  <a:pt x="32" y="21"/>
                  <a:pt x="20" y="18"/>
                  <a:pt x="20" y="30"/>
                </a:cubicBezTo>
                <a:cubicBezTo>
                  <a:pt x="20" y="36"/>
                  <a:pt x="24" y="38"/>
                  <a:pt x="29" y="38"/>
                </a:cubicBezTo>
                <a:cubicBezTo>
                  <a:pt x="29" y="41"/>
                  <a:pt x="29" y="45"/>
                  <a:pt x="29" y="45"/>
                </a:cubicBezTo>
                <a:cubicBezTo>
                  <a:pt x="29" y="62"/>
                  <a:pt x="0" y="62"/>
                  <a:pt x="0" y="84"/>
                </a:cubicBezTo>
                <a:cubicBezTo>
                  <a:pt x="0" y="91"/>
                  <a:pt x="7" y="104"/>
                  <a:pt x="14" y="104"/>
                </a:cubicBezTo>
                <a:cubicBezTo>
                  <a:pt x="24" y="104"/>
                  <a:pt x="26" y="93"/>
                  <a:pt x="35" y="93"/>
                </a:cubicBezTo>
                <a:cubicBezTo>
                  <a:pt x="45" y="93"/>
                  <a:pt x="52" y="96"/>
                  <a:pt x="62" y="96"/>
                </a:cubicBezTo>
                <a:cubicBezTo>
                  <a:pt x="62" y="96"/>
                  <a:pt x="62" y="96"/>
                  <a:pt x="62" y="96"/>
                </a:cubicBezTo>
                <a:cubicBezTo>
                  <a:pt x="63" y="96"/>
                  <a:pt x="63" y="96"/>
                  <a:pt x="63" y="9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4" name="Freeform 56"/>
          <p:cNvSpPr>
            <a:spLocks/>
          </p:cNvSpPr>
          <p:nvPr/>
        </p:nvSpPr>
        <p:spPr bwMode="auto">
          <a:xfrm>
            <a:off x="5248775" y="1927409"/>
            <a:ext cx="979817" cy="674675"/>
          </a:xfrm>
          <a:custGeom>
            <a:avLst/>
            <a:gdLst>
              <a:gd name="T0" fmla="*/ 0 w 216"/>
              <a:gd name="T1" fmla="*/ 48 h 149"/>
              <a:gd name="T2" fmla="*/ 23 w 216"/>
              <a:gd name="T3" fmla="*/ 28 h 149"/>
              <a:gd name="T4" fmla="*/ 23 w 216"/>
              <a:gd name="T5" fmla="*/ 19 h 149"/>
              <a:gd name="T6" fmla="*/ 27 w 216"/>
              <a:gd name="T7" fmla="*/ 1 h 149"/>
              <a:gd name="T8" fmla="*/ 34 w 216"/>
              <a:gd name="T9" fmla="*/ 1 h 149"/>
              <a:gd name="T10" fmla="*/ 45 w 216"/>
              <a:gd name="T11" fmla="*/ 12 h 149"/>
              <a:gd name="T12" fmla="*/ 86 w 216"/>
              <a:gd name="T13" fmla="*/ 19 h 149"/>
              <a:gd name="T14" fmla="*/ 97 w 216"/>
              <a:gd name="T15" fmla="*/ 28 h 149"/>
              <a:gd name="T16" fmla="*/ 129 w 216"/>
              <a:gd name="T17" fmla="*/ 16 h 149"/>
              <a:gd name="T18" fmla="*/ 146 w 216"/>
              <a:gd name="T19" fmla="*/ 34 h 149"/>
              <a:gd name="T20" fmla="*/ 155 w 216"/>
              <a:gd name="T21" fmla="*/ 30 h 149"/>
              <a:gd name="T22" fmla="*/ 162 w 216"/>
              <a:gd name="T23" fmla="*/ 39 h 149"/>
              <a:gd name="T24" fmla="*/ 168 w 216"/>
              <a:gd name="T25" fmla="*/ 35 h 149"/>
              <a:gd name="T26" fmla="*/ 189 w 216"/>
              <a:gd name="T27" fmla="*/ 45 h 149"/>
              <a:gd name="T28" fmla="*/ 189 w 216"/>
              <a:gd name="T29" fmla="*/ 45 h 149"/>
              <a:gd name="T30" fmla="*/ 191 w 216"/>
              <a:gd name="T31" fmla="*/ 48 h 149"/>
              <a:gd name="T32" fmla="*/ 191 w 216"/>
              <a:gd name="T33" fmla="*/ 48 h 149"/>
              <a:gd name="T34" fmla="*/ 194 w 216"/>
              <a:gd name="T35" fmla="*/ 54 h 149"/>
              <a:gd name="T36" fmla="*/ 208 w 216"/>
              <a:gd name="T37" fmla="*/ 48 h 149"/>
              <a:gd name="T38" fmla="*/ 214 w 216"/>
              <a:gd name="T39" fmla="*/ 67 h 149"/>
              <a:gd name="T40" fmla="*/ 216 w 216"/>
              <a:gd name="T41" fmla="*/ 72 h 149"/>
              <a:gd name="T42" fmla="*/ 210 w 216"/>
              <a:gd name="T43" fmla="*/ 76 h 149"/>
              <a:gd name="T44" fmla="*/ 200 w 216"/>
              <a:gd name="T45" fmla="*/ 76 h 149"/>
              <a:gd name="T46" fmla="*/ 188 w 216"/>
              <a:gd name="T47" fmla="*/ 102 h 149"/>
              <a:gd name="T48" fmla="*/ 197 w 216"/>
              <a:gd name="T49" fmla="*/ 110 h 149"/>
              <a:gd name="T50" fmla="*/ 197 w 216"/>
              <a:gd name="T51" fmla="*/ 117 h 149"/>
              <a:gd name="T52" fmla="*/ 170 w 216"/>
              <a:gd name="T53" fmla="*/ 149 h 149"/>
              <a:gd name="T54" fmla="*/ 150 w 216"/>
              <a:gd name="T55" fmla="*/ 131 h 149"/>
              <a:gd name="T56" fmla="*/ 138 w 216"/>
              <a:gd name="T57" fmla="*/ 136 h 149"/>
              <a:gd name="T58" fmla="*/ 129 w 216"/>
              <a:gd name="T59" fmla="*/ 129 h 149"/>
              <a:gd name="T60" fmla="*/ 106 w 216"/>
              <a:gd name="T61" fmla="*/ 110 h 149"/>
              <a:gd name="T62" fmla="*/ 96 w 216"/>
              <a:gd name="T63" fmla="*/ 118 h 149"/>
              <a:gd name="T64" fmla="*/ 85 w 216"/>
              <a:gd name="T65" fmla="*/ 118 h 149"/>
              <a:gd name="T66" fmla="*/ 53 w 216"/>
              <a:gd name="T67" fmla="*/ 92 h 149"/>
              <a:gd name="T68" fmla="*/ 43 w 216"/>
              <a:gd name="T69" fmla="*/ 92 h 149"/>
              <a:gd name="T70" fmla="*/ 0 w 216"/>
              <a:gd name="T71" fmla="*/ 48 h 149"/>
              <a:gd name="T72" fmla="*/ 0 w 216"/>
              <a:gd name="T73" fmla="*/ 48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16" h="149">
                <a:moveTo>
                  <a:pt x="0" y="48"/>
                </a:moveTo>
                <a:cubicBezTo>
                  <a:pt x="6" y="48"/>
                  <a:pt x="23" y="34"/>
                  <a:pt x="23" y="28"/>
                </a:cubicBezTo>
                <a:cubicBezTo>
                  <a:pt x="23" y="24"/>
                  <a:pt x="23" y="23"/>
                  <a:pt x="23" y="19"/>
                </a:cubicBezTo>
                <a:cubicBezTo>
                  <a:pt x="23" y="14"/>
                  <a:pt x="26" y="8"/>
                  <a:pt x="27" y="1"/>
                </a:cubicBezTo>
                <a:cubicBezTo>
                  <a:pt x="29" y="1"/>
                  <a:pt x="32" y="0"/>
                  <a:pt x="34" y="1"/>
                </a:cubicBezTo>
                <a:cubicBezTo>
                  <a:pt x="42" y="3"/>
                  <a:pt x="40" y="11"/>
                  <a:pt x="45" y="12"/>
                </a:cubicBezTo>
                <a:cubicBezTo>
                  <a:pt x="65" y="18"/>
                  <a:pt x="70" y="13"/>
                  <a:pt x="86" y="19"/>
                </a:cubicBezTo>
                <a:cubicBezTo>
                  <a:pt x="91" y="22"/>
                  <a:pt x="92" y="28"/>
                  <a:pt x="97" y="28"/>
                </a:cubicBezTo>
                <a:cubicBezTo>
                  <a:pt x="111" y="28"/>
                  <a:pt x="120" y="16"/>
                  <a:pt x="129" y="16"/>
                </a:cubicBezTo>
                <a:cubicBezTo>
                  <a:pt x="144" y="16"/>
                  <a:pt x="139" y="34"/>
                  <a:pt x="146" y="34"/>
                </a:cubicBezTo>
                <a:cubicBezTo>
                  <a:pt x="149" y="34"/>
                  <a:pt x="152" y="30"/>
                  <a:pt x="155" y="30"/>
                </a:cubicBezTo>
                <a:cubicBezTo>
                  <a:pt x="156" y="35"/>
                  <a:pt x="159" y="39"/>
                  <a:pt x="162" y="39"/>
                </a:cubicBezTo>
                <a:cubicBezTo>
                  <a:pt x="165" y="39"/>
                  <a:pt x="166" y="35"/>
                  <a:pt x="168" y="35"/>
                </a:cubicBezTo>
                <a:cubicBezTo>
                  <a:pt x="175" y="35"/>
                  <a:pt x="179" y="45"/>
                  <a:pt x="189" y="45"/>
                </a:cubicBezTo>
                <a:cubicBezTo>
                  <a:pt x="189" y="45"/>
                  <a:pt x="189" y="45"/>
                  <a:pt x="189" y="45"/>
                </a:cubicBezTo>
                <a:cubicBezTo>
                  <a:pt x="191" y="48"/>
                  <a:pt x="191" y="48"/>
                  <a:pt x="191" y="48"/>
                </a:cubicBezTo>
                <a:cubicBezTo>
                  <a:pt x="191" y="48"/>
                  <a:pt x="191" y="48"/>
                  <a:pt x="191" y="48"/>
                </a:cubicBezTo>
                <a:cubicBezTo>
                  <a:pt x="191" y="51"/>
                  <a:pt x="192" y="54"/>
                  <a:pt x="194" y="54"/>
                </a:cubicBezTo>
                <a:cubicBezTo>
                  <a:pt x="200" y="54"/>
                  <a:pt x="203" y="48"/>
                  <a:pt x="208" y="48"/>
                </a:cubicBezTo>
                <a:cubicBezTo>
                  <a:pt x="216" y="48"/>
                  <a:pt x="213" y="61"/>
                  <a:pt x="214" y="67"/>
                </a:cubicBezTo>
                <a:cubicBezTo>
                  <a:pt x="214" y="70"/>
                  <a:pt x="215" y="72"/>
                  <a:pt x="216" y="72"/>
                </a:cubicBezTo>
                <a:cubicBezTo>
                  <a:pt x="214" y="75"/>
                  <a:pt x="211" y="76"/>
                  <a:pt x="210" y="76"/>
                </a:cubicBezTo>
                <a:cubicBezTo>
                  <a:pt x="207" y="76"/>
                  <a:pt x="203" y="76"/>
                  <a:pt x="200" y="76"/>
                </a:cubicBezTo>
                <a:cubicBezTo>
                  <a:pt x="200" y="93"/>
                  <a:pt x="188" y="90"/>
                  <a:pt x="188" y="102"/>
                </a:cubicBezTo>
                <a:cubicBezTo>
                  <a:pt x="188" y="108"/>
                  <a:pt x="192" y="110"/>
                  <a:pt x="197" y="110"/>
                </a:cubicBezTo>
                <a:cubicBezTo>
                  <a:pt x="197" y="113"/>
                  <a:pt x="197" y="117"/>
                  <a:pt x="197" y="117"/>
                </a:cubicBezTo>
                <a:cubicBezTo>
                  <a:pt x="197" y="131"/>
                  <a:pt x="175" y="133"/>
                  <a:pt x="170" y="149"/>
                </a:cubicBezTo>
                <a:cubicBezTo>
                  <a:pt x="166" y="140"/>
                  <a:pt x="163" y="131"/>
                  <a:pt x="150" y="131"/>
                </a:cubicBezTo>
                <a:cubicBezTo>
                  <a:pt x="145" y="131"/>
                  <a:pt x="141" y="136"/>
                  <a:pt x="138" y="136"/>
                </a:cubicBezTo>
                <a:cubicBezTo>
                  <a:pt x="133" y="136"/>
                  <a:pt x="133" y="131"/>
                  <a:pt x="129" y="129"/>
                </a:cubicBezTo>
                <a:cubicBezTo>
                  <a:pt x="115" y="122"/>
                  <a:pt x="111" y="131"/>
                  <a:pt x="106" y="110"/>
                </a:cubicBezTo>
                <a:cubicBezTo>
                  <a:pt x="101" y="112"/>
                  <a:pt x="100" y="118"/>
                  <a:pt x="96" y="118"/>
                </a:cubicBezTo>
                <a:cubicBezTo>
                  <a:pt x="92" y="118"/>
                  <a:pt x="88" y="118"/>
                  <a:pt x="85" y="118"/>
                </a:cubicBezTo>
                <a:cubicBezTo>
                  <a:pt x="66" y="118"/>
                  <a:pt x="74" y="92"/>
                  <a:pt x="53" y="92"/>
                </a:cubicBezTo>
                <a:cubicBezTo>
                  <a:pt x="52" y="92"/>
                  <a:pt x="48" y="92"/>
                  <a:pt x="43" y="92"/>
                </a:cubicBezTo>
                <a:cubicBezTo>
                  <a:pt x="22" y="92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5" name="Freeform 57"/>
          <p:cNvSpPr>
            <a:spLocks/>
          </p:cNvSpPr>
          <p:nvPr/>
        </p:nvSpPr>
        <p:spPr bwMode="auto">
          <a:xfrm>
            <a:off x="4938035" y="2117775"/>
            <a:ext cx="671875" cy="534701"/>
          </a:xfrm>
          <a:custGeom>
            <a:avLst/>
            <a:gdLst>
              <a:gd name="T0" fmla="*/ 68 w 148"/>
              <a:gd name="T1" fmla="*/ 6 h 118"/>
              <a:gd name="T2" fmla="*/ 60 w 148"/>
              <a:gd name="T3" fmla="*/ 0 h 118"/>
              <a:gd name="T4" fmla="*/ 54 w 148"/>
              <a:gd name="T5" fmla="*/ 3 h 118"/>
              <a:gd name="T6" fmla="*/ 42 w 148"/>
              <a:gd name="T7" fmla="*/ 12 h 118"/>
              <a:gd name="T8" fmla="*/ 19 w 148"/>
              <a:gd name="T9" fmla="*/ 30 h 118"/>
              <a:gd name="T10" fmla="*/ 10 w 148"/>
              <a:gd name="T11" fmla="*/ 62 h 118"/>
              <a:gd name="T12" fmla="*/ 11 w 148"/>
              <a:gd name="T13" fmla="*/ 78 h 118"/>
              <a:gd name="T14" fmla="*/ 0 w 148"/>
              <a:gd name="T15" fmla="*/ 81 h 118"/>
              <a:gd name="T16" fmla="*/ 10 w 148"/>
              <a:gd name="T17" fmla="*/ 100 h 118"/>
              <a:gd name="T18" fmla="*/ 8 w 148"/>
              <a:gd name="T19" fmla="*/ 110 h 118"/>
              <a:gd name="T20" fmla="*/ 20 w 148"/>
              <a:gd name="T21" fmla="*/ 116 h 118"/>
              <a:gd name="T22" fmla="*/ 72 w 148"/>
              <a:gd name="T23" fmla="*/ 98 h 118"/>
              <a:gd name="T24" fmla="*/ 81 w 148"/>
              <a:gd name="T25" fmla="*/ 114 h 118"/>
              <a:gd name="T26" fmla="*/ 86 w 148"/>
              <a:gd name="T27" fmla="*/ 110 h 118"/>
              <a:gd name="T28" fmla="*/ 96 w 148"/>
              <a:gd name="T29" fmla="*/ 118 h 118"/>
              <a:gd name="T30" fmla="*/ 105 w 148"/>
              <a:gd name="T31" fmla="*/ 111 h 118"/>
              <a:gd name="T32" fmla="*/ 148 w 148"/>
              <a:gd name="T33" fmla="*/ 75 h 118"/>
              <a:gd name="T34" fmla="*/ 121 w 148"/>
              <a:gd name="T35" fmla="*/ 50 h 118"/>
              <a:gd name="T36" fmla="*/ 111 w 148"/>
              <a:gd name="T37" fmla="*/ 50 h 118"/>
              <a:gd name="T38" fmla="*/ 65 w 148"/>
              <a:gd name="T39" fmla="*/ 3 h 118"/>
              <a:gd name="T40" fmla="*/ 65 w 148"/>
              <a:gd name="T41" fmla="*/ 3 h 118"/>
              <a:gd name="T42" fmla="*/ 68 w 148"/>
              <a:gd name="T43" fmla="*/ 6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8" h="118">
                <a:moveTo>
                  <a:pt x="68" y="6"/>
                </a:moveTo>
                <a:cubicBezTo>
                  <a:pt x="64" y="6"/>
                  <a:pt x="63" y="0"/>
                  <a:pt x="60" y="0"/>
                </a:cubicBezTo>
                <a:cubicBezTo>
                  <a:pt x="58" y="0"/>
                  <a:pt x="57" y="3"/>
                  <a:pt x="54" y="3"/>
                </a:cubicBezTo>
                <a:cubicBezTo>
                  <a:pt x="52" y="9"/>
                  <a:pt x="48" y="9"/>
                  <a:pt x="42" y="12"/>
                </a:cubicBezTo>
                <a:cubicBezTo>
                  <a:pt x="33" y="17"/>
                  <a:pt x="38" y="30"/>
                  <a:pt x="19" y="30"/>
                </a:cubicBezTo>
                <a:cubicBezTo>
                  <a:pt x="16" y="44"/>
                  <a:pt x="13" y="51"/>
                  <a:pt x="10" y="62"/>
                </a:cubicBezTo>
                <a:cubicBezTo>
                  <a:pt x="9" y="70"/>
                  <a:pt x="14" y="72"/>
                  <a:pt x="11" y="78"/>
                </a:cubicBezTo>
                <a:cubicBezTo>
                  <a:pt x="9" y="82"/>
                  <a:pt x="3" y="81"/>
                  <a:pt x="0" y="81"/>
                </a:cubicBezTo>
                <a:cubicBezTo>
                  <a:pt x="0" y="89"/>
                  <a:pt x="10" y="91"/>
                  <a:pt x="10" y="100"/>
                </a:cubicBezTo>
                <a:cubicBezTo>
                  <a:pt x="10" y="104"/>
                  <a:pt x="8" y="107"/>
                  <a:pt x="8" y="110"/>
                </a:cubicBezTo>
                <a:cubicBezTo>
                  <a:pt x="8" y="118"/>
                  <a:pt x="14" y="116"/>
                  <a:pt x="20" y="116"/>
                </a:cubicBezTo>
                <a:cubicBezTo>
                  <a:pt x="41" y="116"/>
                  <a:pt x="59" y="102"/>
                  <a:pt x="72" y="98"/>
                </a:cubicBezTo>
                <a:cubicBezTo>
                  <a:pt x="75" y="104"/>
                  <a:pt x="76" y="110"/>
                  <a:pt x="81" y="114"/>
                </a:cubicBezTo>
                <a:cubicBezTo>
                  <a:pt x="84" y="113"/>
                  <a:pt x="85" y="111"/>
                  <a:pt x="86" y="110"/>
                </a:cubicBezTo>
                <a:cubicBezTo>
                  <a:pt x="91" y="113"/>
                  <a:pt x="92" y="118"/>
                  <a:pt x="96" y="118"/>
                </a:cubicBezTo>
                <a:cubicBezTo>
                  <a:pt x="102" y="118"/>
                  <a:pt x="100" y="113"/>
                  <a:pt x="105" y="111"/>
                </a:cubicBezTo>
                <a:cubicBezTo>
                  <a:pt x="132" y="107"/>
                  <a:pt x="131" y="92"/>
                  <a:pt x="148" y="75"/>
                </a:cubicBezTo>
                <a:cubicBezTo>
                  <a:pt x="136" y="70"/>
                  <a:pt x="139" y="50"/>
                  <a:pt x="121" y="50"/>
                </a:cubicBezTo>
                <a:cubicBezTo>
                  <a:pt x="120" y="50"/>
                  <a:pt x="116" y="50"/>
                  <a:pt x="111" y="50"/>
                </a:cubicBezTo>
                <a:cubicBezTo>
                  <a:pt x="90" y="50"/>
                  <a:pt x="79" y="14"/>
                  <a:pt x="65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68" y="6"/>
                  <a:pt x="68" y="6"/>
                  <a:pt x="68" y="6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6" name="Freeform 58"/>
          <p:cNvSpPr>
            <a:spLocks/>
          </p:cNvSpPr>
          <p:nvPr/>
        </p:nvSpPr>
        <p:spPr bwMode="auto">
          <a:xfrm>
            <a:off x="5931849" y="2602084"/>
            <a:ext cx="453517" cy="607486"/>
          </a:xfrm>
          <a:custGeom>
            <a:avLst/>
            <a:gdLst>
              <a:gd name="T0" fmla="*/ 40 w 100"/>
              <a:gd name="T1" fmla="*/ 134 h 134"/>
              <a:gd name="T2" fmla="*/ 100 w 100"/>
              <a:gd name="T3" fmla="*/ 93 h 134"/>
              <a:gd name="T4" fmla="*/ 84 w 100"/>
              <a:gd name="T5" fmla="*/ 87 h 134"/>
              <a:gd name="T6" fmla="*/ 68 w 100"/>
              <a:gd name="T7" fmla="*/ 66 h 134"/>
              <a:gd name="T8" fmla="*/ 60 w 100"/>
              <a:gd name="T9" fmla="*/ 51 h 134"/>
              <a:gd name="T10" fmla="*/ 44 w 100"/>
              <a:gd name="T11" fmla="*/ 43 h 134"/>
              <a:gd name="T12" fmla="*/ 48 w 100"/>
              <a:gd name="T13" fmla="*/ 32 h 134"/>
              <a:gd name="T14" fmla="*/ 43 w 100"/>
              <a:gd name="T15" fmla="*/ 20 h 134"/>
              <a:gd name="T16" fmla="*/ 31 w 100"/>
              <a:gd name="T17" fmla="*/ 27 h 134"/>
              <a:gd name="T18" fmla="*/ 17 w 100"/>
              <a:gd name="T19" fmla="*/ 7 h 134"/>
              <a:gd name="T20" fmla="*/ 19 w 100"/>
              <a:gd name="T21" fmla="*/ 0 h 134"/>
              <a:gd name="T22" fmla="*/ 19 w 100"/>
              <a:gd name="T23" fmla="*/ 0 h 134"/>
              <a:gd name="T24" fmla="*/ 17 w 100"/>
              <a:gd name="T25" fmla="*/ 3 h 134"/>
              <a:gd name="T26" fmla="*/ 17 w 100"/>
              <a:gd name="T27" fmla="*/ 3 h 134"/>
              <a:gd name="T28" fmla="*/ 0 w 100"/>
              <a:gd name="T29" fmla="*/ 33 h 134"/>
              <a:gd name="T30" fmla="*/ 20 w 100"/>
              <a:gd name="T31" fmla="*/ 76 h 134"/>
              <a:gd name="T32" fmla="*/ 17 w 100"/>
              <a:gd name="T33" fmla="*/ 87 h 134"/>
              <a:gd name="T34" fmla="*/ 17 w 100"/>
              <a:gd name="T35" fmla="*/ 100 h 134"/>
              <a:gd name="T36" fmla="*/ 27 w 100"/>
              <a:gd name="T37" fmla="*/ 112 h 134"/>
              <a:gd name="T38" fmla="*/ 41 w 100"/>
              <a:gd name="T39" fmla="*/ 129 h 134"/>
              <a:gd name="T40" fmla="*/ 41 w 100"/>
              <a:gd name="T41" fmla="*/ 129 h 134"/>
              <a:gd name="T42" fmla="*/ 40 w 100"/>
              <a:gd name="T43" fmla="*/ 134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0" h="134">
                <a:moveTo>
                  <a:pt x="40" y="134"/>
                </a:moveTo>
                <a:cubicBezTo>
                  <a:pt x="40" y="107"/>
                  <a:pt x="96" y="125"/>
                  <a:pt x="100" y="93"/>
                </a:cubicBezTo>
                <a:cubicBezTo>
                  <a:pt x="96" y="92"/>
                  <a:pt x="91" y="87"/>
                  <a:pt x="84" y="87"/>
                </a:cubicBezTo>
                <a:cubicBezTo>
                  <a:pt x="84" y="72"/>
                  <a:pt x="73" y="75"/>
                  <a:pt x="68" y="66"/>
                </a:cubicBezTo>
                <a:cubicBezTo>
                  <a:pt x="64" y="60"/>
                  <a:pt x="69" y="54"/>
                  <a:pt x="60" y="51"/>
                </a:cubicBezTo>
                <a:cubicBezTo>
                  <a:pt x="56" y="49"/>
                  <a:pt x="44" y="52"/>
                  <a:pt x="44" y="43"/>
                </a:cubicBezTo>
                <a:cubicBezTo>
                  <a:pt x="44" y="38"/>
                  <a:pt x="48" y="38"/>
                  <a:pt x="48" y="32"/>
                </a:cubicBezTo>
                <a:cubicBezTo>
                  <a:pt x="48" y="27"/>
                  <a:pt x="44" y="24"/>
                  <a:pt x="43" y="20"/>
                </a:cubicBezTo>
                <a:cubicBezTo>
                  <a:pt x="40" y="24"/>
                  <a:pt x="37" y="27"/>
                  <a:pt x="31" y="27"/>
                </a:cubicBezTo>
                <a:cubicBezTo>
                  <a:pt x="24" y="27"/>
                  <a:pt x="17" y="16"/>
                  <a:pt x="17" y="7"/>
                </a:cubicBezTo>
                <a:cubicBezTo>
                  <a:pt x="17" y="6"/>
                  <a:pt x="17" y="1"/>
                  <a:pt x="1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2" y="14"/>
                  <a:pt x="0" y="18"/>
                  <a:pt x="0" y="33"/>
                </a:cubicBezTo>
                <a:cubicBezTo>
                  <a:pt x="0" y="51"/>
                  <a:pt x="20" y="60"/>
                  <a:pt x="20" y="76"/>
                </a:cubicBezTo>
                <a:cubicBezTo>
                  <a:pt x="20" y="81"/>
                  <a:pt x="19" y="84"/>
                  <a:pt x="17" y="87"/>
                </a:cubicBezTo>
                <a:cubicBezTo>
                  <a:pt x="17" y="96"/>
                  <a:pt x="17" y="97"/>
                  <a:pt x="17" y="100"/>
                </a:cubicBezTo>
                <a:cubicBezTo>
                  <a:pt x="17" y="107"/>
                  <a:pt x="24" y="110"/>
                  <a:pt x="27" y="112"/>
                </a:cubicBezTo>
                <a:cubicBezTo>
                  <a:pt x="30" y="120"/>
                  <a:pt x="36" y="126"/>
                  <a:pt x="41" y="129"/>
                </a:cubicBezTo>
                <a:cubicBezTo>
                  <a:pt x="41" y="129"/>
                  <a:pt x="41" y="129"/>
                  <a:pt x="41" y="129"/>
                </a:cubicBezTo>
                <a:cubicBezTo>
                  <a:pt x="40" y="134"/>
                  <a:pt x="40" y="134"/>
                  <a:pt x="40" y="134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7" name="Freeform 59"/>
          <p:cNvSpPr>
            <a:spLocks/>
          </p:cNvSpPr>
          <p:nvPr/>
        </p:nvSpPr>
        <p:spPr bwMode="auto">
          <a:xfrm>
            <a:off x="6127813" y="2674869"/>
            <a:ext cx="526300" cy="349935"/>
          </a:xfrm>
          <a:custGeom>
            <a:avLst/>
            <a:gdLst>
              <a:gd name="T0" fmla="*/ 116 w 116"/>
              <a:gd name="T1" fmla="*/ 61 h 77"/>
              <a:gd name="T2" fmla="*/ 111 w 116"/>
              <a:gd name="T3" fmla="*/ 60 h 77"/>
              <a:gd name="T4" fmla="*/ 111 w 116"/>
              <a:gd name="T5" fmla="*/ 60 h 77"/>
              <a:gd name="T6" fmla="*/ 97 w 116"/>
              <a:gd name="T7" fmla="*/ 60 h 77"/>
              <a:gd name="T8" fmla="*/ 97 w 116"/>
              <a:gd name="T9" fmla="*/ 60 h 77"/>
              <a:gd name="T10" fmla="*/ 83 w 116"/>
              <a:gd name="T11" fmla="*/ 76 h 77"/>
              <a:gd name="T12" fmla="*/ 72 w 116"/>
              <a:gd name="T13" fmla="*/ 67 h 77"/>
              <a:gd name="T14" fmla="*/ 57 w 116"/>
              <a:gd name="T15" fmla="*/ 77 h 77"/>
              <a:gd name="T16" fmla="*/ 41 w 116"/>
              <a:gd name="T17" fmla="*/ 71 h 77"/>
              <a:gd name="T18" fmla="*/ 25 w 116"/>
              <a:gd name="T19" fmla="*/ 50 h 77"/>
              <a:gd name="T20" fmla="*/ 17 w 116"/>
              <a:gd name="T21" fmla="*/ 35 h 77"/>
              <a:gd name="T22" fmla="*/ 1 w 116"/>
              <a:gd name="T23" fmla="*/ 27 h 77"/>
              <a:gd name="T24" fmla="*/ 5 w 116"/>
              <a:gd name="T25" fmla="*/ 16 h 77"/>
              <a:gd name="T26" fmla="*/ 0 w 116"/>
              <a:gd name="T27" fmla="*/ 4 h 77"/>
              <a:gd name="T28" fmla="*/ 9 w 116"/>
              <a:gd name="T29" fmla="*/ 0 h 77"/>
              <a:gd name="T30" fmla="*/ 37 w 116"/>
              <a:gd name="T31" fmla="*/ 3 h 77"/>
              <a:gd name="T32" fmla="*/ 60 w 116"/>
              <a:gd name="T33" fmla="*/ 16 h 77"/>
              <a:gd name="T34" fmla="*/ 74 w 116"/>
              <a:gd name="T35" fmla="*/ 6 h 77"/>
              <a:gd name="T36" fmla="*/ 79 w 116"/>
              <a:gd name="T37" fmla="*/ 22 h 77"/>
              <a:gd name="T38" fmla="*/ 97 w 116"/>
              <a:gd name="T39" fmla="*/ 35 h 77"/>
              <a:gd name="T40" fmla="*/ 91 w 116"/>
              <a:gd name="T41" fmla="*/ 35 h 77"/>
              <a:gd name="T42" fmla="*/ 91 w 116"/>
              <a:gd name="T43" fmla="*/ 35 h 77"/>
              <a:gd name="T44" fmla="*/ 91 w 116"/>
              <a:gd name="T45" fmla="*/ 43 h 77"/>
              <a:gd name="T46" fmla="*/ 91 w 116"/>
              <a:gd name="T47" fmla="*/ 43 h 77"/>
              <a:gd name="T48" fmla="*/ 116 w 116"/>
              <a:gd name="T49" fmla="*/ 59 h 77"/>
              <a:gd name="T50" fmla="*/ 116 w 116"/>
              <a:gd name="T51" fmla="*/ 59 h 77"/>
              <a:gd name="T52" fmla="*/ 116 w 116"/>
              <a:gd name="T53" fmla="*/ 61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16" h="77">
                <a:moveTo>
                  <a:pt x="116" y="61"/>
                </a:moveTo>
                <a:cubicBezTo>
                  <a:pt x="115" y="60"/>
                  <a:pt x="112" y="60"/>
                  <a:pt x="111" y="60"/>
                </a:cubicBezTo>
                <a:cubicBezTo>
                  <a:pt x="111" y="60"/>
                  <a:pt x="111" y="60"/>
                  <a:pt x="111" y="60"/>
                </a:cubicBezTo>
                <a:cubicBezTo>
                  <a:pt x="97" y="60"/>
                  <a:pt x="97" y="60"/>
                  <a:pt x="97" y="60"/>
                </a:cubicBezTo>
                <a:cubicBezTo>
                  <a:pt x="97" y="60"/>
                  <a:pt x="97" y="60"/>
                  <a:pt x="97" y="60"/>
                </a:cubicBezTo>
                <a:cubicBezTo>
                  <a:pt x="97" y="71"/>
                  <a:pt x="92" y="76"/>
                  <a:pt x="83" y="76"/>
                </a:cubicBezTo>
                <a:cubicBezTo>
                  <a:pt x="78" y="76"/>
                  <a:pt x="76" y="67"/>
                  <a:pt x="72" y="67"/>
                </a:cubicBezTo>
                <a:cubicBezTo>
                  <a:pt x="67" y="67"/>
                  <a:pt x="64" y="77"/>
                  <a:pt x="57" y="77"/>
                </a:cubicBezTo>
                <a:cubicBezTo>
                  <a:pt x="53" y="76"/>
                  <a:pt x="48" y="71"/>
                  <a:pt x="41" y="71"/>
                </a:cubicBezTo>
                <a:cubicBezTo>
                  <a:pt x="41" y="56"/>
                  <a:pt x="30" y="59"/>
                  <a:pt x="25" y="50"/>
                </a:cubicBezTo>
                <a:cubicBezTo>
                  <a:pt x="21" y="44"/>
                  <a:pt x="26" y="38"/>
                  <a:pt x="17" y="35"/>
                </a:cubicBezTo>
                <a:cubicBezTo>
                  <a:pt x="13" y="33"/>
                  <a:pt x="1" y="36"/>
                  <a:pt x="1" y="27"/>
                </a:cubicBezTo>
                <a:cubicBezTo>
                  <a:pt x="1" y="22"/>
                  <a:pt x="5" y="22"/>
                  <a:pt x="5" y="16"/>
                </a:cubicBezTo>
                <a:cubicBezTo>
                  <a:pt x="5" y="11"/>
                  <a:pt x="1" y="8"/>
                  <a:pt x="0" y="4"/>
                </a:cubicBezTo>
                <a:cubicBezTo>
                  <a:pt x="3" y="2"/>
                  <a:pt x="5" y="0"/>
                  <a:pt x="9" y="0"/>
                </a:cubicBezTo>
                <a:cubicBezTo>
                  <a:pt x="19" y="0"/>
                  <a:pt x="27" y="3"/>
                  <a:pt x="37" y="3"/>
                </a:cubicBezTo>
                <a:cubicBezTo>
                  <a:pt x="37" y="8"/>
                  <a:pt x="54" y="16"/>
                  <a:pt x="60" y="16"/>
                </a:cubicBezTo>
                <a:cubicBezTo>
                  <a:pt x="69" y="16"/>
                  <a:pt x="70" y="9"/>
                  <a:pt x="74" y="6"/>
                </a:cubicBezTo>
                <a:cubicBezTo>
                  <a:pt x="76" y="11"/>
                  <a:pt x="76" y="18"/>
                  <a:pt x="79" y="22"/>
                </a:cubicBezTo>
                <a:cubicBezTo>
                  <a:pt x="84" y="28"/>
                  <a:pt x="94" y="28"/>
                  <a:pt x="97" y="35"/>
                </a:cubicBezTo>
                <a:cubicBezTo>
                  <a:pt x="95" y="36"/>
                  <a:pt x="94" y="38"/>
                  <a:pt x="91" y="35"/>
                </a:cubicBezTo>
                <a:cubicBezTo>
                  <a:pt x="91" y="35"/>
                  <a:pt x="91" y="35"/>
                  <a:pt x="91" y="35"/>
                </a:cubicBezTo>
                <a:cubicBezTo>
                  <a:pt x="91" y="43"/>
                  <a:pt x="91" y="43"/>
                  <a:pt x="91" y="43"/>
                </a:cubicBezTo>
                <a:cubicBezTo>
                  <a:pt x="91" y="43"/>
                  <a:pt x="91" y="43"/>
                  <a:pt x="91" y="43"/>
                </a:cubicBezTo>
                <a:cubicBezTo>
                  <a:pt x="100" y="52"/>
                  <a:pt x="110" y="44"/>
                  <a:pt x="116" y="59"/>
                </a:cubicBezTo>
                <a:cubicBezTo>
                  <a:pt x="116" y="59"/>
                  <a:pt x="116" y="59"/>
                  <a:pt x="116" y="59"/>
                </a:cubicBezTo>
                <a:cubicBezTo>
                  <a:pt x="116" y="61"/>
                  <a:pt x="116" y="61"/>
                  <a:pt x="116" y="61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8" name="Freeform 60"/>
          <p:cNvSpPr>
            <a:spLocks/>
          </p:cNvSpPr>
          <p:nvPr/>
        </p:nvSpPr>
        <p:spPr bwMode="auto">
          <a:xfrm>
            <a:off x="5668700" y="3791862"/>
            <a:ext cx="1007813" cy="949023"/>
          </a:xfrm>
          <a:custGeom>
            <a:avLst/>
            <a:gdLst>
              <a:gd name="T0" fmla="*/ 141 w 222"/>
              <a:gd name="T1" fmla="*/ 62 h 209"/>
              <a:gd name="T2" fmla="*/ 190 w 222"/>
              <a:gd name="T3" fmla="*/ 80 h 209"/>
              <a:gd name="T4" fmla="*/ 190 w 222"/>
              <a:gd name="T5" fmla="*/ 75 h 209"/>
              <a:gd name="T6" fmla="*/ 190 w 222"/>
              <a:gd name="T7" fmla="*/ 75 h 209"/>
              <a:gd name="T8" fmla="*/ 190 w 222"/>
              <a:gd name="T9" fmla="*/ 75 h 209"/>
              <a:gd name="T10" fmla="*/ 190 w 222"/>
              <a:gd name="T11" fmla="*/ 75 h 209"/>
              <a:gd name="T12" fmla="*/ 190 w 222"/>
              <a:gd name="T13" fmla="*/ 75 h 209"/>
              <a:gd name="T14" fmla="*/ 181 w 222"/>
              <a:gd name="T15" fmla="*/ 89 h 209"/>
              <a:gd name="T16" fmla="*/ 201 w 222"/>
              <a:gd name="T17" fmla="*/ 115 h 209"/>
              <a:gd name="T18" fmla="*/ 222 w 222"/>
              <a:gd name="T19" fmla="*/ 163 h 209"/>
              <a:gd name="T20" fmla="*/ 216 w 222"/>
              <a:gd name="T21" fmla="*/ 171 h 209"/>
              <a:gd name="T22" fmla="*/ 209 w 222"/>
              <a:gd name="T23" fmla="*/ 172 h 209"/>
              <a:gd name="T24" fmla="*/ 177 w 222"/>
              <a:gd name="T25" fmla="*/ 178 h 209"/>
              <a:gd name="T26" fmla="*/ 165 w 222"/>
              <a:gd name="T27" fmla="*/ 174 h 209"/>
              <a:gd name="T28" fmla="*/ 142 w 222"/>
              <a:gd name="T29" fmla="*/ 180 h 209"/>
              <a:gd name="T30" fmla="*/ 111 w 222"/>
              <a:gd name="T31" fmla="*/ 209 h 209"/>
              <a:gd name="T32" fmla="*/ 98 w 222"/>
              <a:gd name="T33" fmla="*/ 204 h 209"/>
              <a:gd name="T34" fmla="*/ 98 w 222"/>
              <a:gd name="T35" fmla="*/ 169 h 209"/>
              <a:gd name="T36" fmla="*/ 94 w 222"/>
              <a:gd name="T37" fmla="*/ 168 h 209"/>
              <a:gd name="T38" fmla="*/ 78 w 222"/>
              <a:gd name="T39" fmla="*/ 140 h 209"/>
              <a:gd name="T40" fmla="*/ 70 w 222"/>
              <a:gd name="T41" fmla="*/ 140 h 209"/>
              <a:gd name="T42" fmla="*/ 61 w 222"/>
              <a:gd name="T43" fmla="*/ 121 h 209"/>
              <a:gd name="T44" fmla="*/ 52 w 222"/>
              <a:gd name="T45" fmla="*/ 121 h 209"/>
              <a:gd name="T46" fmla="*/ 43 w 222"/>
              <a:gd name="T47" fmla="*/ 114 h 209"/>
              <a:gd name="T48" fmla="*/ 53 w 222"/>
              <a:gd name="T49" fmla="*/ 98 h 209"/>
              <a:gd name="T50" fmla="*/ 24 w 222"/>
              <a:gd name="T51" fmla="*/ 66 h 209"/>
              <a:gd name="T52" fmla="*/ 0 w 222"/>
              <a:gd name="T53" fmla="*/ 46 h 209"/>
              <a:gd name="T54" fmla="*/ 4 w 222"/>
              <a:gd name="T55" fmla="*/ 29 h 209"/>
              <a:gd name="T56" fmla="*/ 4 w 222"/>
              <a:gd name="T57" fmla="*/ 19 h 209"/>
              <a:gd name="T58" fmla="*/ 4 w 222"/>
              <a:gd name="T59" fmla="*/ 19 h 209"/>
              <a:gd name="T60" fmla="*/ 27 w 222"/>
              <a:gd name="T61" fmla="*/ 3 h 209"/>
              <a:gd name="T62" fmla="*/ 27 w 222"/>
              <a:gd name="T63" fmla="*/ 3 h 209"/>
              <a:gd name="T64" fmla="*/ 40 w 222"/>
              <a:gd name="T65" fmla="*/ 0 h 209"/>
              <a:gd name="T66" fmla="*/ 62 w 222"/>
              <a:gd name="T67" fmla="*/ 19 h 209"/>
              <a:gd name="T68" fmla="*/ 88 w 222"/>
              <a:gd name="T69" fmla="*/ 33 h 209"/>
              <a:gd name="T70" fmla="*/ 141 w 222"/>
              <a:gd name="T71" fmla="*/ 60 h 209"/>
              <a:gd name="T72" fmla="*/ 141 w 222"/>
              <a:gd name="T73" fmla="*/ 60 h 209"/>
              <a:gd name="T74" fmla="*/ 141 w 222"/>
              <a:gd name="T75" fmla="*/ 6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22" h="209">
                <a:moveTo>
                  <a:pt x="141" y="62"/>
                </a:moveTo>
                <a:cubicBezTo>
                  <a:pt x="141" y="71"/>
                  <a:pt x="180" y="80"/>
                  <a:pt x="190" y="80"/>
                </a:cubicBezTo>
                <a:cubicBezTo>
                  <a:pt x="192" y="78"/>
                  <a:pt x="190" y="78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84"/>
                  <a:pt x="181" y="82"/>
                  <a:pt x="181" y="89"/>
                </a:cubicBezTo>
                <a:cubicBezTo>
                  <a:pt x="181" y="102"/>
                  <a:pt x="196" y="109"/>
                  <a:pt x="201" y="115"/>
                </a:cubicBezTo>
                <a:cubicBezTo>
                  <a:pt x="209" y="128"/>
                  <a:pt x="212" y="151"/>
                  <a:pt x="222" y="163"/>
                </a:cubicBezTo>
                <a:cubicBezTo>
                  <a:pt x="218" y="164"/>
                  <a:pt x="217" y="167"/>
                  <a:pt x="216" y="171"/>
                </a:cubicBezTo>
                <a:cubicBezTo>
                  <a:pt x="214" y="171"/>
                  <a:pt x="211" y="172"/>
                  <a:pt x="209" y="172"/>
                </a:cubicBezTo>
                <a:cubicBezTo>
                  <a:pt x="196" y="172"/>
                  <a:pt x="190" y="178"/>
                  <a:pt x="177" y="178"/>
                </a:cubicBezTo>
                <a:cubicBezTo>
                  <a:pt x="173" y="178"/>
                  <a:pt x="169" y="174"/>
                  <a:pt x="165" y="174"/>
                </a:cubicBezTo>
                <a:cubicBezTo>
                  <a:pt x="157" y="174"/>
                  <a:pt x="152" y="180"/>
                  <a:pt x="142" y="180"/>
                </a:cubicBezTo>
                <a:cubicBezTo>
                  <a:pt x="120" y="180"/>
                  <a:pt x="130" y="209"/>
                  <a:pt x="111" y="209"/>
                </a:cubicBezTo>
                <a:cubicBezTo>
                  <a:pt x="106" y="209"/>
                  <a:pt x="100" y="205"/>
                  <a:pt x="98" y="204"/>
                </a:cubicBezTo>
                <a:cubicBezTo>
                  <a:pt x="98" y="183"/>
                  <a:pt x="94" y="177"/>
                  <a:pt x="98" y="169"/>
                </a:cubicBezTo>
                <a:cubicBezTo>
                  <a:pt x="94" y="169"/>
                  <a:pt x="95" y="168"/>
                  <a:pt x="94" y="168"/>
                </a:cubicBezTo>
                <a:cubicBezTo>
                  <a:pt x="93" y="164"/>
                  <a:pt x="78" y="140"/>
                  <a:pt x="78" y="140"/>
                </a:cubicBezTo>
                <a:cubicBezTo>
                  <a:pt x="78" y="140"/>
                  <a:pt x="74" y="140"/>
                  <a:pt x="70" y="140"/>
                </a:cubicBezTo>
                <a:cubicBezTo>
                  <a:pt x="61" y="140"/>
                  <a:pt x="66" y="121"/>
                  <a:pt x="61" y="121"/>
                </a:cubicBezTo>
                <a:cubicBezTo>
                  <a:pt x="59" y="121"/>
                  <a:pt x="57" y="121"/>
                  <a:pt x="52" y="121"/>
                </a:cubicBezTo>
                <a:cubicBezTo>
                  <a:pt x="48" y="121"/>
                  <a:pt x="43" y="119"/>
                  <a:pt x="43" y="114"/>
                </a:cubicBezTo>
                <a:cubicBezTo>
                  <a:pt x="43" y="107"/>
                  <a:pt x="53" y="105"/>
                  <a:pt x="53" y="98"/>
                </a:cubicBezTo>
                <a:cubicBezTo>
                  <a:pt x="53" y="78"/>
                  <a:pt x="31" y="78"/>
                  <a:pt x="24" y="66"/>
                </a:cubicBezTo>
                <a:cubicBezTo>
                  <a:pt x="19" y="56"/>
                  <a:pt x="0" y="64"/>
                  <a:pt x="0" y="46"/>
                </a:cubicBezTo>
                <a:cubicBezTo>
                  <a:pt x="0" y="39"/>
                  <a:pt x="4" y="34"/>
                  <a:pt x="4" y="29"/>
                </a:cubicBezTo>
                <a:cubicBezTo>
                  <a:pt x="4" y="29"/>
                  <a:pt x="4" y="24"/>
                  <a:pt x="4" y="19"/>
                </a:cubicBezTo>
                <a:cubicBezTo>
                  <a:pt x="4" y="19"/>
                  <a:pt x="4" y="19"/>
                  <a:pt x="4" y="19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32" y="2"/>
                  <a:pt x="35" y="0"/>
                  <a:pt x="40" y="0"/>
                </a:cubicBezTo>
                <a:cubicBezTo>
                  <a:pt x="48" y="0"/>
                  <a:pt x="58" y="13"/>
                  <a:pt x="62" y="19"/>
                </a:cubicBezTo>
                <a:cubicBezTo>
                  <a:pt x="68" y="27"/>
                  <a:pt x="86" y="21"/>
                  <a:pt x="88" y="33"/>
                </a:cubicBezTo>
                <a:cubicBezTo>
                  <a:pt x="91" y="56"/>
                  <a:pt x="131" y="40"/>
                  <a:pt x="141" y="60"/>
                </a:cubicBezTo>
                <a:cubicBezTo>
                  <a:pt x="141" y="60"/>
                  <a:pt x="141" y="60"/>
                  <a:pt x="141" y="60"/>
                </a:cubicBezTo>
                <a:cubicBezTo>
                  <a:pt x="141" y="62"/>
                  <a:pt x="141" y="62"/>
                  <a:pt x="141" y="62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9" name="Freeform 61"/>
          <p:cNvSpPr>
            <a:spLocks/>
          </p:cNvSpPr>
          <p:nvPr/>
        </p:nvSpPr>
        <p:spPr bwMode="auto">
          <a:xfrm>
            <a:off x="5850663" y="3455924"/>
            <a:ext cx="557096" cy="615887"/>
          </a:xfrm>
          <a:custGeom>
            <a:avLst/>
            <a:gdLst>
              <a:gd name="T0" fmla="*/ 101 w 123"/>
              <a:gd name="T1" fmla="*/ 136 h 136"/>
              <a:gd name="T2" fmla="*/ 123 w 123"/>
              <a:gd name="T3" fmla="*/ 107 h 136"/>
              <a:gd name="T4" fmla="*/ 117 w 123"/>
              <a:gd name="T5" fmla="*/ 96 h 136"/>
              <a:gd name="T6" fmla="*/ 123 w 123"/>
              <a:gd name="T7" fmla="*/ 77 h 136"/>
              <a:gd name="T8" fmla="*/ 117 w 123"/>
              <a:gd name="T9" fmla="*/ 64 h 136"/>
              <a:gd name="T10" fmla="*/ 117 w 123"/>
              <a:gd name="T11" fmla="*/ 64 h 136"/>
              <a:gd name="T12" fmla="*/ 117 w 123"/>
              <a:gd name="T13" fmla="*/ 56 h 136"/>
              <a:gd name="T14" fmla="*/ 117 w 123"/>
              <a:gd name="T15" fmla="*/ 56 h 136"/>
              <a:gd name="T16" fmla="*/ 90 w 123"/>
              <a:gd name="T17" fmla="*/ 42 h 136"/>
              <a:gd name="T18" fmla="*/ 77 w 123"/>
              <a:gd name="T19" fmla="*/ 50 h 136"/>
              <a:gd name="T20" fmla="*/ 56 w 123"/>
              <a:gd name="T21" fmla="*/ 13 h 136"/>
              <a:gd name="T22" fmla="*/ 45 w 123"/>
              <a:gd name="T23" fmla="*/ 17 h 136"/>
              <a:gd name="T24" fmla="*/ 27 w 123"/>
              <a:gd name="T25" fmla="*/ 0 h 136"/>
              <a:gd name="T26" fmla="*/ 17 w 123"/>
              <a:gd name="T27" fmla="*/ 13 h 136"/>
              <a:gd name="T28" fmla="*/ 17 w 123"/>
              <a:gd name="T29" fmla="*/ 53 h 136"/>
              <a:gd name="T30" fmla="*/ 0 w 123"/>
              <a:gd name="T31" fmla="*/ 74 h 136"/>
              <a:gd name="T32" fmla="*/ 0 w 123"/>
              <a:gd name="T33" fmla="*/ 74 h 136"/>
              <a:gd name="T34" fmla="*/ 0 w 123"/>
              <a:gd name="T35" fmla="*/ 74 h 136"/>
              <a:gd name="T36" fmla="*/ 0 w 123"/>
              <a:gd name="T37" fmla="*/ 74 h 136"/>
              <a:gd name="T38" fmla="*/ 22 w 123"/>
              <a:gd name="T39" fmla="*/ 93 h 136"/>
              <a:gd name="T40" fmla="*/ 48 w 123"/>
              <a:gd name="T41" fmla="*/ 107 h 136"/>
              <a:gd name="T42" fmla="*/ 101 w 123"/>
              <a:gd name="T43" fmla="*/ 134 h 136"/>
              <a:gd name="T44" fmla="*/ 101 w 123"/>
              <a:gd name="T45" fmla="*/ 134 h 136"/>
              <a:gd name="T46" fmla="*/ 101 w 123"/>
              <a:gd name="T47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23" h="136">
                <a:moveTo>
                  <a:pt x="101" y="136"/>
                </a:moveTo>
                <a:cubicBezTo>
                  <a:pt x="101" y="125"/>
                  <a:pt x="123" y="120"/>
                  <a:pt x="123" y="107"/>
                </a:cubicBezTo>
                <a:cubicBezTo>
                  <a:pt x="123" y="101"/>
                  <a:pt x="117" y="102"/>
                  <a:pt x="117" y="96"/>
                </a:cubicBezTo>
                <a:cubicBezTo>
                  <a:pt x="117" y="88"/>
                  <a:pt x="123" y="87"/>
                  <a:pt x="123" y="77"/>
                </a:cubicBezTo>
                <a:cubicBezTo>
                  <a:pt x="123" y="70"/>
                  <a:pt x="121" y="65"/>
                  <a:pt x="117" y="64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56"/>
                  <a:pt x="117" y="56"/>
                  <a:pt x="117" y="56"/>
                </a:cubicBezTo>
                <a:cubicBezTo>
                  <a:pt x="117" y="56"/>
                  <a:pt x="117" y="56"/>
                  <a:pt x="117" y="56"/>
                </a:cubicBezTo>
                <a:cubicBezTo>
                  <a:pt x="106" y="55"/>
                  <a:pt x="101" y="42"/>
                  <a:pt x="90" y="42"/>
                </a:cubicBezTo>
                <a:cubicBezTo>
                  <a:pt x="83" y="42"/>
                  <a:pt x="82" y="50"/>
                  <a:pt x="77" y="50"/>
                </a:cubicBezTo>
                <a:cubicBezTo>
                  <a:pt x="61" y="50"/>
                  <a:pt x="75" y="13"/>
                  <a:pt x="56" y="13"/>
                </a:cubicBezTo>
                <a:cubicBezTo>
                  <a:pt x="53" y="13"/>
                  <a:pt x="50" y="17"/>
                  <a:pt x="45" y="17"/>
                </a:cubicBezTo>
                <a:cubicBezTo>
                  <a:pt x="39" y="17"/>
                  <a:pt x="28" y="7"/>
                  <a:pt x="27" y="0"/>
                </a:cubicBezTo>
                <a:cubicBezTo>
                  <a:pt x="21" y="2"/>
                  <a:pt x="17" y="7"/>
                  <a:pt x="17" y="13"/>
                </a:cubicBezTo>
                <a:cubicBezTo>
                  <a:pt x="17" y="28"/>
                  <a:pt x="17" y="35"/>
                  <a:pt x="17" y="53"/>
                </a:cubicBezTo>
                <a:cubicBezTo>
                  <a:pt x="17" y="65"/>
                  <a:pt x="3" y="67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8" y="74"/>
                  <a:pt x="18" y="87"/>
                  <a:pt x="22" y="93"/>
                </a:cubicBezTo>
                <a:cubicBezTo>
                  <a:pt x="28" y="101"/>
                  <a:pt x="46" y="95"/>
                  <a:pt x="48" y="107"/>
                </a:cubicBezTo>
                <a:cubicBezTo>
                  <a:pt x="51" y="130"/>
                  <a:pt x="91" y="114"/>
                  <a:pt x="101" y="134"/>
                </a:cubicBezTo>
                <a:cubicBezTo>
                  <a:pt x="101" y="134"/>
                  <a:pt x="101" y="134"/>
                  <a:pt x="101" y="134"/>
                </a:cubicBezTo>
                <a:cubicBezTo>
                  <a:pt x="101" y="136"/>
                  <a:pt x="101" y="136"/>
                  <a:pt x="101" y="13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0" name="Freeform 62"/>
          <p:cNvSpPr>
            <a:spLocks/>
          </p:cNvSpPr>
          <p:nvPr/>
        </p:nvSpPr>
        <p:spPr bwMode="auto">
          <a:xfrm>
            <a:off x="5139595" y="3903840"/>
            <a:ext cx="974219" cy="884636"/>
          </a:xfrm>
          <a:custGeom>
            <a:avLst/>
            <a:gdLst>
              <a:gd name="T0" fmla="*/ 208 w 215"/>
              <a:gd name="T1" fmla="*/ 144 h 195"/>
              <a:gd name="T2" fmla="*/ 197 w 215"/>
              <a:gd name="T3" fmla="*/ 152 h 195"/>
              <a:gd name="T4" fmla="*/ 163 w 215"/>
              <a:gd name="T5" fmla="*/ 170 h 195"/>
              <a:gd name="T6" fmla="*/ 137 w 215"/>
              <a:gd name="T7" fmla="*/ 195 h 195"/>
              <a:gd name="T8" fmla="*/ 124 w 215"/>
              <a:gd name="T9" fmla="*/ 176 h 195"/>
              <a:gd name="T10" fmla="*/ 111 w 215"/>
              <a:gd name="T11" fmla="*/ 179 h 195"/>
              <a:gd name="T12" fmla="*/ 92 w 215"/>
              <a:gd name="T13" fmla="*/ 176 h 195"/>
              <a:gd name="T14" fmla="*/ 74 w 215"/>
              <a:gd name="T15" fmla="*/ 184 h 195"/>
              <a:gd name="T16" fmla="*/ 64 w 215"/>
              <a:gd name="T17" fmla="*/ 168 h 195"/>
              <a:gd name="T18" fmla="*/ 56 w 215"/>
              <a:gd name="T19" fmla="*/ 182 h 195"/>
              <a:gd name="T20" fmla="*/ 39 w 215"/>
              <a:gd name="T21" fmla="*/ 178 h 195"/>
              <a:gd name="T22" fmla="*/ 24 w 215"/>
              <a:gd name="T23" fmla="*/ 181 h 195"/>
              <a:gd name="T24" fmla="*/ 7 w 215"/>
              <a:gd name="T25" fmla="*/ 162 h 195"/>
              <a:gd name="T26" fmla="*/ 10 w 215"/>
              <a:gd name="T27" fmla="*/ 143 h 195"/>
              <a:gd name="T28" fmla="*/ 0 w 215"/>
              <a:gd name="T29" fmla="*/ 127 h 195"/>
              <a:gd name="T30" fmla="*/ 18 w 215"/>
              <a:gd name="T31" fmla="*/ 114 h 195"/>
              <a:gd name="T32" fmla="*/ 34 w 215"/>
              <a:gd name="T33" fmla="*/ 117 h 195"/>
              <a:gd name="T34" fmla="*/ 41 w 215"/>
              <a:gd name="T35" fmla="*/ 100 h 195"/>
              <a:gd name="T36" fmla="*/ 41 w 215"/>
              <a:gd name="T37" fmla="*/ 85 h 195"/>
              <a:gd name="T38" fmla="*/ 56 w 215"/>
              <a:gd name="T39" fmla="*/ 57 h 195"/>
              <a:gd name="T40" fmla="*/ 48 w 215"/>
              <a:gd name="T41" fmla="*/ 36 h 195"/>
              <a:gd name="T42" fmla="*/ 68 w 215"/>
              <a:gd name="T43" fmla="*/ 0 h 195"/>
              <a:gd name="T44" fmla="*/ 94 w 215"/>
              <a:gd name="T45" fmla="*/ 0 h 195"/>
              <a:gd name="T46" fmla="*/ 116 w 215"/>
              <a:gd name="T47" fmla="*/ 15 h 195"/>
              <a:gd name="T48" fmla="*/ 117 w 215"/>
              <a:gd name="T49" fmla="*/ 21 h 195"/>
              <a:gd name="T50" fmla="*/ 141 w 215"/>
              <a:gd name="T51" fmla="*/ 41 h 195"/>
              <a:gd name="T52" fmla="*/ 170 w 215"/>
              <a:gd name="T53" fmla="*/ 73 h 195"/>
              <a:gd name="T54" fmla="*/ 160 w 215"/>
              <a:gd name="T55" fmla="*/ 89 h 195"/>
              <a:gd name="T56" fmla="*/ 169 w 215"/>
              <a:gd name="T57" fmla="*/ 96 h 195"/>
              <a:gd name="T58" fmla="*/ 178 w 215"/>
              <a:gd name="T59" fmla="*/ 96 h 195"/>
              <a:gd name="T60" fmla="*/ 187 w 215"/>
              <a:gd name="T61" fmla="*/ 115 h 195"/>
              <a:gd name="T62" fmla="*/ 195 w 215"/>
              <a:gd name="T63" fmla="*/ 115 h 195"/>
              <a:gd name="T64" fmla="*/ 211 w 215"/>
              <a:gd name="T65" fmla="*/ 143 h 195"/>
              <a:gd name="T66" fmla="*/ 215 w 215"/>
              <a:gd name="T67" fmla="*/ 144 h 195"/>
              <a:gd name="T68" fmla="*/ 215 w 215"/>
              <a:gd name="T69" fmla="*/ 144 h 195"/>
              <a:gd name="T70" fmla="*/ 215 w 215"/>
              <a:gd name="T71" fmla="*/ 144 h 195"/>
              <a:gd name="T72" fmla="*/ 208 w 215"/>
              <a:gd name="T73" fmla="*/ 144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15" h="195">
                <a:moveTo>
                  <a:pt x="208" y="144"/>
                </a:moveTo>
                <a:cubicBezTo>
                  <a:pt x="202" y="144"/>
                  <a:pt x="202" y="150"/>
                  <a:pt x="197" y="152"/>
                </a:cubicBezTo>
                <a:cubicBezTo>
                  <a:pt x="186" y="155"/>
                  <a:pt x="165" y="157"/>
                  <a:pt x="163" y="170"/>
                </a:cubicBezTo>
                <a:cubicBezTo>
                  <a:pt x="160" y="189"/>
                  <a:pt x="147" y="190"/>
                  <a:pt x="137" y="195"/>
                </a:cubicBezTo>
                <a:cubicBezTo>
                  <a:pt x="133" y="190"/>
                  <a:pt x="136" y="176"/>
                  <a:pt x="124" y="176"/>
                </a:cubicBezTo>
                <a:cubicBezTo>
                  <a:pt x="119" y="176"/>
                  <a:pt x="117" y="179"/>
                  <a:pt x="111" y="179"/>
                </a:cubicBezTo>
                <a:cubicBezTo>
                  <a:pt x="103" y="179"/>
                  <a:pt x="100" y="176"/>
                  <a:pt x="92" y="176"/>
                </a:cubicBezTo>
                <a:cubicBezTo>
                  <a:pt x="83" y="176"/>
                  <a:pt x="80" y="184"/>
                  <a:pt x="74" y="184"/>
                </a:cubicBezTo>
                <a:cubicBezTo>
                  <a:pt x="68" y="184"/>
                  <a:pt x="67" y="171"/>
                  <a:pt x="64" y="168"/>
                </a:cubicBezTo>
                <a:cubicBezTo>
                  <a:pt x="62" y="169"/>
                  <a:pt x="61" y="182"/>
                  <a:pt x="56" y="182"/>
                </a:cubicBezTo>
                <a:cubicBezTo>
                  <a:pt x="50" y="182"/>
                  <a:pt x="47" y="178"/>
                  <a:pt x="39" y="178"/>
                </a:cubicBezTo>
                <a:cubicBezTo>
                  <a:pt x="32" y="178"/>
                  <a:pt x="30" y="181"/>
                  <a:pt x="24" y="181"/>
                </a:cubicBezTo>
                <a:cubicBezTo>
                  <a:pt x="18" y="181"/>
                  <a:pt x="7" y="169"/>
                  <a:pt x="7" y="162"/>
                </a:cubicBezTo>
                <a:cubicBezTo>
                  <a:pt x="7" y="154"/>
                  <a:pt x="10" y="150"/>
                  <a:pt x="10" y="143"/>
                </a:cubicBezTo>
                <a:cubicBezTo>
                  <a:pt x="10" y="135"/>
                  <a:pt x="0" y="133"/>
                  <a:pt x="0" y="127"/>
                </a:cubicBezTo>
                <a:cubicBezTo>
                  <a:pt x="0" y="121"/>
                  <a:pt x="12" y="114"/>
                  <a:pt x="18" y="114"/>
                </a:cubicBezTo>
                <a:cubicBezTo>
                  <a:pt x="24" y="114"/>
                  <a:pt x="28" y="117"/>
                  <a:pt x="34" y="117"/>
                </a:cubicBezTo>
                <a:cubicBezTo>
                  <a:pt x="44" y="117"/>
                  <a:pt x="41" y="109"/>
                  <a:pt x="41" y="100"/>
                </a:cubicBezTo>
                <a:cubicBezTo>
                  <a:pt x="41" y="98"/>
                  <a:pt x="41" y="90"/>
                  <a:pt x="41" y="85"/>
                </a:cubicBezTo>
                <a:cubicBezTo>
                  <a:pt x="41" y="72"/>
                  <a:pt x="56" y="73"/>
                  <a:pt x="56" y="57"/>
                </a:cubicBezTo>
                <a:cubicBezTo>
                  <a:pt x="56" y="48"/>
                  <a:pt x="48" y="43"/>
                  <a:pt x="48" y="36"/>
                </a:cubicBezTo>
                <a:cubicBezTo>
                  <a:pt x="48" y="25"/>
                  <a:pt x="66" y="14"/>
                  <a:pt x="68" y="0"/>
                </a:cubicBezTo>
                <a:cubicBezTo>
                  <a:pt x="80" y="0"/>
                  <a:pt x="85" y="0"/>
                  <a:pt x="94" y="0"/>
                </a:cubicBezTo>
                <a:cubicBezTo>
                  <a:pt x="100" y="0"/>
                  <a:pt x="108" y="14"/>
                  <a:pt x="116" y="15"/>
                </a:cubicBezTo>
                <a:cubicBezTo>
                  <a:pt x="116" y="18"/>
                  <a:pt x="117" y="19"/>
                  <a:pt x="117" y="21"/>
                </a:cubicBezTo>
                <a:cubicBezTo>
                  <a:pt x="117" y="39"/>
                  <a:pt x="136" y="31"/>
                  <a:pt x="141" y="41"/>
                </a:cubicBezTo>
                <a:cubicBezTo>
                  <a:pt x="148" y="53"/>
                  <a:pt x="170" y="53"/>
                  <a:pt x="170" y="73"/>
                </a:cubicBezTo>
                <a:cubicBezTo>
                  <a:pt x="170" y="80"/>
                  <a:pt x="160" y="82"/>
                  <a:pt x="160" y="89"/>
                </a:cubicBezTo>
                <a:cubicBezTo>
                  <a:pt x="160" y="94"/>
                  <a:pt x="165" y="96"/>
                  <a:pt x="169" y="96"/>
                </a:cubicBezTo>
                <a:cubicBezTo>
                  <a:pt x="174" y="96"/>
                  <a:pt x="176" y="96"/>
                  <a:pt x="178" y="96"/>
                </a:cubicBezTo>
                <a:cubicBezTo>
                  <a:pt x="183" y="96"/>
                  <a:pt x="178" y="115"/>
                  <a:pt x="187" y="115"/>
                </a:cubicBezTo>
                <a:cubicBezTo>
                  <a:pt x="191" y="115"/>
                  <a:pt x="195" y="115"/>
                  <a:pt x="195" y="115"/>
                </a:cubicBezTo>
                <a:cubicBezTo>
                  <a:pt x="195" y="115"/>
                  <a:pt x="210" y="139"/>
                  <a:pt x="211" y="143"/>
                </a:cubicBezTo>
                <a:cubicBezTo>
                  <a:pt x="212" y="143"/>
                  <a:pt x="211" y="144"/>
                  <a:pt x="215" y="144"/>
                </a:cubicBezTo>
                <a:cubicBezTo>
                  <a:pt x="215" y="144"/>
                  <a:pt x="215" y="144"/>
                  <a:pt x="215" y="144"/>
                </a:cubicBezTo>
                <a:cubicBezTo>
                  <a:pt x="215" y="144"/>
                  <a:pt x="215" y="144"/>
                  <a:pt x="215" y="144"/>
                </a:cubicBezTo>
                <a:cubicBezTo>
                  <a:pt x="208" y="144"/>
                  <a:pt x="208" y="144"/>
                  <a:pt x="208" y="144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1" name="Freeform 63"/>
          <p:cNvSpPr>
            <a:spLocks/>
          </p:cNvSpPr>
          <p:nvPr/>
        </p:nvSpPr>
        <p:spPr bwMode="auto">
          <a:xfrm>
            <a:off x="5595912" y="3002409"/>
            <a:ext cx="559897" cy="453517"/>
          </a:xfrm>
          <a:custGeom>
            <a:avLst/>
            <a:gdLst>
              <a:gd name="T0" fmla="*/ 19 w 123"/>
              <a:gd name="T1" fmla="*/ 10 h 100"/>
              <a:gd name="T2" fmla="*/ 19 w 123"/>
              <a:gd name="T3" fmla="*/ 10 h 100"/>
              <a:gd name="T4" fmla="*/ 19 w 123"/>
              <a:gd name="T5" fmla="*/ 10 h 100"/>
              <a:gd name="T6" fmla="*/ 23 w 123"/>
              <a:gd name="T7" fmla="*/ 15 h 100"/>
              <a:gd name="T8" fmla="*/ 31 w 123"/>
              <a:gd name="T9" fmla="*/ 9 h 100"/>
              <a:gd name="T10" fmla="*/ 42 w 123"/>
              <a:gd name="T11" fmla="*/ 9 h 100"/>
              <a:gd name="T12" fmla="*/ 59 w 123"/>
              <a:gd name="T13" fmla="*/ 5 h 100"/>
              <a:gd name="T14" fmla="*/ 75 w 123"/>
              <a:gd name="T15" fmla="*/ 9 h 100"/>
              <a:gd name="T16" fmla="*/ 91 w 123"/>
              <a:gd name="T17" fmla="*/ 0 h 100"/>
              <a:gd name="T18" fmla="*/ 91 w 123"/>
              <a:gd name="T19" fmla="*/ 12 h 100"/>
              <a:gd name="T20" fmla="*/ 101 w 123"/>
              <a:gd name="T21" fmla="*/ 24 h 100"/>
              <a:gd name="T22" fmla="*/ 115 w 123"/>
              <a:gd name="T23" fmla="*/ 41 h 100"/>
              <a:gd name="T24" fmla="*/ 115 w 123"/>
              <a:gd name="T25" fmla="*/ 41 h 100"/>
              <a:gd name="T26" fmla="*/ 114 w 123"/>
              <a:gd name="T27" fmla="*/ 46 h 100"/>
              <a:gd name="T28" fmla="*/ 114 w 123"/>
              <a:gd name="T29" fmla="*/ 46 h 100"/>
              <a:gd name="T30" fmla="*/ 123 w 123"/>
              <a:gd name="T31" fmla="*/ 57 h 100"/>
              <a:gd name="T32" fmla="*/ 123 w 123"/>
              <a:gd name="T33" fmla="*/ 57 h 100"/>
              <a:gd name="T34" fmla="*/ 123 w 123"/>
              <a:gd name="T35" fmla="*/ 62 h 100"/>
              <a:gd name="T36" fmla="*/ 123 w 123"/>
              <a:gd name="T37" fmla="*/ 62 h 100"/>
              <a:gd name="T38" fmla="*/ 120 w 123"/>
              <a:gd name="T39" fmla="*/ 68 h 100"/>
              <a:gd name="T40" fmla="*/ 82 w 123"/>
              <a:gd name="T41" fmla="*/ 100 h 100"/>
              <a:gd name="T42" fmla="*/ 66 w 123"/>
              <a:gd name="T43" fmla="*/ 89 h 100"/>
              <a:gd name="T44" fmla="*/ 52 w 123"/>
              <a:gd name="T45" fmla="*/ 96 h 100"/>
              <a:gd name="T46" fmla="*/ 36 w 123"/>
              <a:gd name="T47" fmla="*/ 81 h 100"/>
              <a:gd name="T48" fmla="*/ 27 w 123"/>
              <a:gd name="T49" fmla="*/ 85 h 100"/>
              <a:gd name="T50" fmla="*/ 16 w 123"/>
              <a:gd name="T51" fmla="*/ 63 h 100"/>
              <a:gd name="T52" fmla="*/ 8 w 123"/>
              <a:gd name="T53" fmla="*/ 63 h 100"/>
              <a:gd name="T54" fmla="*/ 0 w 123"/>
              <a:gd name="T55" fmla="*/ 55 h 100"/>
              <a:gd name="T56" fmla="*/ 19 w 123"/>
              <a:gd name="T57" fmla="*/ 10 h 100"/>
              <a:gd name="T58" fmla="*/ 19 w 123"/>
              <a:gd name="T59" fmla="*/ 1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3" h="100">
                <a:moveTo>
                  <a:pt x="19" y="10"/>
                </a:moveTo>
                <a:cubicBezTo>
                  <a:pt x="19" y="10"/>
                  <a:pt x="19" y="10"/>
                  <a:pt x="19" y="10"/>
                </a:cubicBezTo>
                <a:cubicBezTo>
                  <a:pt x="19" y="10"/>
                  <a:pt x="19" y="10"/>
                  <a:pt x="19" y="10"/>
                </a:cubicBezTo>
                <a:cubicBezTo>
                  <a:pt x="19" y="15"/>
                  <a:pt x="20" y="15"/>
                  <a:pt x="23" y="15"/>
                </a:cubicBezTo>
                <a:cubicBezTo>
                  <a:pt x="26" y="15"/>
                  <a:pt x="27" y="9"/>
                  <a:pt x="31" y="9"/>
                </a:cubicBezTo>
                <a:cubicBezTo>
                  <a:pt x="38" y="9"/>
                  <a:pt x="40" y="9"/>
                  <a:pt x="42" y="9"/>
                </a:cubicBezTo>
                <a:cubicBezTo>
                  <a:pt x="47" y="9"/>
                  <a:pt x="52" y="5"/>
                  <a:pt x="59" y="5"/>
                </a:cubicBezTo>
                <a:cubicBezTo>
                  <a:pt x="66" y="5"/>
                  <a:pt x="68" y="9"/>
                  <a:pt x="75" y="9"/>
                </a:cubicBezTo>
                <a:cubicBezTo>
                  <a:pt x="84" y="9"/>
                  <a:pt x="89" y="5"/>
                  <a:pt x="91" y="0"/>
                </a:cubicBezTo>
                <a:cubicBezTo>
                  <a:pt x="91" y="8"/>
                  <a:pt x="91" y="9"/>
                  <a:pt x="91" y="12"/>
                </a:cubicBezTo>
                <a:cubicBezTo>
                  <a:pt x="91" y="19"/>
                  <a:pt x="98" y="22"/>
                  <a:pt x="101" y="24"/>
                </a:cubicBezTo>
                <a:cubicBezTo>
                  <a:pt x="104" y="32"/>
                  <a:pt x="110" y="38"/>
                  <a:pt x="115" y="41"/>
                </a:cubicBezTo>
                <a:cubicBezTo>
                  <a:pt x="115" y="41"/>
                  <a:pt x="115" y="41"/>
                  <a:pt x="115" y="41"/>
                </a:cubicBezTo>
                <a:cubicBezTo>
                  <a:pt x="114" y="46"/>
                  <a:pt x="114" y="46"/>
                  <a:pt x="114" y="46"/>
                </a:cubicBezTo>
                <a:cubicBezTo>
                  <a:pt x="114" y="46"/>
                  <a:pt x="114" y="46"/>
                  <a:pt x="114" y="46"/>
                </a:cubicBezTo>
                <a:cubicBezTo>
                  <a:pt x="114" y="54"/>
                  <a:pt x="117" y="55"/>
                  <a:pt x="123" y="57"/>
                </a:cubicBezTo>
                <a:cubicBezTo>
                  <a:pt x="123" y="57"/>
                  <a:pt x="123" y="57"/>
                  <a:pt x="123" y="57"/>
                </a:cubicBezTo>
                <a:cubicBezTo>
                  <a:pt x="123" y="62"/>
                  <a:pt x="123" y="62"/>
                  <a:pt x="123" y="62"/>
                </a:cubicBezTo>
                <a:cubicBezTo>
                  <a:pt x="123" y="62"/>
                  <a:pt x="123" y="62"/>
                  <a:pt x="123" y="62"/>
                </a:cubicBezTo>
                <a:cubicBezTo>
                  <a:pt x="122" y="64"/>
                  <a:pt x="120" y="65"/>
                  <a:pt x="120" y="68"/>
                </a:cubicBezTo>
                <a:cubicBezTo>
                  <a:pt x="122" y="85"/>
                  <a:pt x="94" y="94"/>
                  <a:pt x="82" y="100"/>
                </a:cubicBezTo>
                <a:cubicBezTo>
                  <a:pt x="75" y="96"/>
                  <a:pt x="74" y="89"/>
                  <a:pt x="66" y="89"/>
                </a:cubicBezTo>
                <a:cubicBezTo>
                  <a:pt x="57" y="89"/>
                  <a:pt x="62" y="96"/>
                  <a:pt x="52" y="96"/>
                </a:cubicBezTo>
                <a:cubicBezTo>
                  <a:pt x="43" y="96"/>
                  <a:pt x="42" y="81"/>
                  <a:pt x="36" y="81"/>
                </a:cubicBezTo>
                <a:cubicBezTo>
                  <a:pt x="32" y="81"/>
                  <a:pt x="31" y="85"/>
                  <a:pt x="27" y="85"/>
                </a:cubicBezTo>
                <a:cubicBezTo>
                  <a:pt x="16" y="85"/>
                  <a:pt x="25" y="63"/>
                  <a:pt x="16" y="63"/>
                </a:cubicBezTo>
                <a:cubicBezTo>
                  <a:pt x="15" y="63"/>
                  <a:pt x="13" y="63"/>
                  <a:pt x="8" y="63"/>
                </a:cubicBezTo>
                <a:cubicBezTo>
                  <a:pt x="3" y="63"/>
                  <a:pt x="0" y="60"/>
                  <a:pt x="0" y="55"/>
                </a:cubicBezTo>
                <a:cubicBezTo>
                  <a:pt x="0" y="36"/>
                  <a:pt x="19" y="10"/>
                  <a:pt x="19" y="10"/>
                </a:cubicBezTo>
                <a:cubicBezTo>
                  <a:pt x="19" y="10"/>
                  <a:pt x="19" y="10"/>
                  <a:pt x="19" y="10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2" name="Freeform 64"/>
          <p:cNvSpPr>
            <a:spLocks/>
          </p:cNvSpPr>
          <p:nvPr/>
        </p:nvSpPr>
        <p:spPr bwMode="auto">
          <a:xfrm>
            <a:off x="5153594" y="2562889"/>
            <a:ext cx="506707" cy="361132"/>
          </a:xfrm>
          <a:custGeom>
            <a:avLst/>
            <a:gdLst>
              <a:gd name="T0" fmla="*/ 106 w 112"/>
              <a:gd name="T1" fmla="*/ 63 h 80"/>
              <a:gd name="T2" fmla="*/ 95 w 112"/>
              <a:gd name="T3" fmla="*/ 69 h 80"/>
              <a:gd name="T4" fmla="*/ 87 w 112"/>
              <a:gd name="T5" fmla="*/ 65 h 80"/>
              <a:gd name="T6" fmla="*/ 77 w 112"/>
              <a:gd name="T7" fmla="*/ 74 h 80"/>
              <a:gd name="T8" fmla="*/ 60 w 112"/>
              <a:gd name="T9" fmla="*/ 64 h 80"/>
              <a:gd name="T10" fmla="*/ 32 w 112"/>
              <a:gd name="T11" fmla="*/ 80 h 80"/>
              <a:gd name="T12" fmla="*/ 4 w 112"/>
              <a:gd name="T13" fmla="*/ 57 h 80"/>
              <a:gd name="T14" fmla="*/ 10 w 112"/>
              <a:gd name="T15" fmla="*/ 41 h 80"/>
              <a:gd name="T16" fmla="*/ 0 w 112"/>
              <a:gd name="T17" fmla="*/ 27 h 80"/>
              <a:gd name="T18" fmla="*/ 0 w 112"/>
              <a:gd name="T19" fmla="*/ 12 h 80"/>
              <a:gd name="T20" fmla="*/ 25 w 112"/>
              <a:gd name="T21" fmla="*/ 0 h 80"/>
              <a:gd name="T22" fmla="*/ 34 w 112"/>
              <a:gd name="T23" fmla="*/ 16 h 80"/>
              <a:gd name="T24" fmla="*/ 39 w 112"/>
              <a:gd name="T25" fmla="*/ 12 h 80"/>
              <a:gd name="T26" fmla="*/ 49 w 112"/>
              <a:gd name="T27" fmla="*/ 20 h 80"/>
              <a:gd name="T28" fmla="*/ 58 w 112"/>
              <a:gd name="T29" fmla="*/ 13 h 80"/>
              <a:gd name="T30" fmla="*/ 74 w 112"/>
              <a:gd name="T31" fmla="*/ 9 h 80"/>
              <a:gd name="T32" fmla="*/ 93 w 112"/>
              <a:gd name="T33" fmla="*/ 25 h 80"/>
              <a:gd name="T34" fmla="*/ 112 w 112"/>
              <a:gd name="T35" fmla="*/ 48 h 80"/>
              <a:gd name="T36" fmla="*/ 107 w 112"/>
              <a:gd name="T37" fmla="*/ 63 h 80"/>
              <a:gd name="T38" fmla="*/ 107 w 112"/>
              <a:gd name="T39" fmla="*/ 63 h 80"/>
              <a:gd name="T40" fmla="*/ 106 w 112"/>
              <a:gd name="T41" fmla="*/ 63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" h="80">
                <a:moveTo>
                  <a:pt x="106" y="63"/>
                </a:moveTo>
                <a:cubicBezTo>
                  <a:pt x="105" y="64"/>
                  <a:pt x="98" y="69"/>
                  <a:pt x="95" y="69"/>
                </a:cubicBezTo>
                <a:cubicBezTo>
                  <a:pt x="91" y="69"/>
                  <a:pt x="91" y="65"/>
                  <a:pt x="87" y="65"/>
                </a:cubicBezTo>
                <a:cubicBezTo>
                  <a:pt x="82" y="65"/>
                  <a:pt x="84" y="74"/>
                  <a:pt x="77" y="74"/>
                </a:cubicBezTo>
                <a:cubicBezTo>
                  <a:pt x="70" y="74"/>
                  <a:pt x="69" y="64"/>
                  <a:pt x="60" y="64"/>
                </a:cubicBezTo>
                <a:cubicBezTo>
                  <a:pt x="47" y="64"/>
                  <a:pt x="47" y="80"/>
                  <a:pt x="32" y="80"/>
                </a:cubicBezTo>
                <a:cubicBezTo>
                  <a:pt x="15" y="80"/>
                  <a:pt x="4" y="74"/>
                  <a:pt x="4" y="57"/>
                </a:cubicBezTo>
                <a:cubicBezTo>
                  <a:pt x="4" y="50"/>
                  <a:pt x="10" y="47"/>
                  <a:pt x="10" y="41"/>
                </a:cubicBezTo>
                <a:cubicBezTo>
                  <a:pt x="10" y="34"/>
                  <a:pt x="0" y="33"/>
                  <a:pt x="0" y="27"/>
                </a:cubicBezTo>
                <a:cubicBezTo>
                  <a:pt x="0" y="23"/>
                  <a:pt x="6" y="20"/>
                  <a:pt x="0" y="12"/>
                </a:cubicBezTo>
                <a:cubicBezTo>
                  <a:pt x="10" y="7"/>
                  <a:pt x="17" y="2"/>
                  <a:pt x="25" y="0"/>
                </a:cubicBezTo>
                <a:cubicBezTo>
                  <a:pt x="28" y="6"/>
                  <a:pt x="29" y="12"/>
                  <a:pt x="34" y="16"/>
                </a:cubicBezTo>
                <a:cubicBezTo>
                  <a:pt x="37" y="15"/>
                  <a:pt x="38" y="13"/>
                  <a:pt x="39" y="12"/>
                </a:cubicBezTo>
                <a:cubicBezTo>
                  <a:pt x="44" y="15"/>
                  <a:pt x="45" y="20"/>
                  <a:pt x="49" y="20"/>
                </a:cubicBezTo>
                <a:cubicBezTo>
                  <a:pt x="55" y="20"/>
                  <a:pt x="53" y="15"/>
                  <a:pt x="58" y="13"/>
                </a:cubicBezTo>
                <a:cubicBezTo>
                  <a:pt x="65" y="12"/>
                  <a:pt x="69" y="11"/>
                  <a:pt x="74" y="9"/>
                </a:cubicBezTo>
                <a:cubicBezTo>
                  <a:pt x="87" y="11"/>
                  <a:pt x="89" y="16"/>
                  <a:pt x="93" y="25"/>
                </a:cubicBezTo>
                <a:cubicBezTo>
                  <a:pt x="97" y="32"/>
                  <a:pt x="112" y="29"/>
                  <a:pt x="112" y="48"/>
                </a:cubicBezTo>
                <a:cubicBezTo>
                  <a:pt x="112" y="53"/>
                  <a:pt x="107" y="57"/>
                  <a:pt x="107" y="63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06" y="63"/>
                  <a:pt x="106" y="63"/>
                  <a:pt x="106" y="63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3" name="Freeform 65"/>
          <p:cNvSpPr>
            <a:spLocks/>
          </p:cNvSpPr>
          <p:nvPr/>
        </p:nvSpPr>
        <p:spPr bwMode="auto">
          <a:xfrm>
            <a:off x="5534324" y="3366341"/>
            <a:ext cx="439518" cy="512305"/>
          </a:xfrm>
          <a:custGeom>
            <a:avLst/>
            <a:gdLst>
              <a:gd name="T0" fmla="*/ 97 w 97"/>
              <a:gd name="T1" fmla="*/ 20 h 113"/>
              <a:gd name="T2" fmla="*/ 87 w 97"/>
              <a:gd name="T3" fmla="*/ 33 h 113"/>
              <a:gd name="T4" fmla="*/ 87 w 97"/>
              <a:gd name="T5" fmla="*/ 73 h 113"/>
              <a:gd name="T6" fmla="*/ 70 w 97"/>
              <a:gd name="T7" fmla="*/ 94 h 113"/>
              <a:gd name="T8" fmla="*/ 57 w 97"/>
              <a:gd name="T9" fmla="*/ 97 h 113"/>
              <a:gd name="T10" fmla="*/ 57 w 97"/>
              <a:gd name="T11" fmla="*/ 97 h 113"/>
              <a:gd name="T12" fmla="*/ 34 w 97"/>
              <a:gd name="T13" fmla="*/ 113 h 113"/>
              <a:gd name="T14" fmla="*/ 34 w 97"/>
              <a:gd name="T15" fmla="*/ 113 h 113"/>
              <a:gd name="T16" fmla="*/ 21 w 97"/>
              <a:gd name="T17" fmla="*/ 101 h 113"/>
              <a:gd name="T18" fmla="*/ 0 w 97"/>
              <a:gd name="T19" fmla="*/ 58 h 113"/>
              <a:gd name="T20" fmla="*/ 11 w 97"/>
              <a:gd name="T21" fmla="*/ 42 h 113"/>
              <a:gd name="T22" fmla="*/ 11 w 97"/>
              <a:gd name="T23" fmla="*/ 25 h 113"/>
              <a:gd name="T24" fmla="*/ 35 w 97"/>
              <a:gd name="T25" fmla="*/ 0 h 113"/>
              <a:gd name="T26" fmla="*/ 41 w 97"/>
              <a:gd name="T27" fmla="*/ 5 h 113"/>
              <a:gd name="T28" fmla="*/ 50 w 97"/>
              <a:gd name="T29" fmla="*/ 1 h 113"/>
              <a:gd name="T30" fmla="*/ 66 w 97"/>
              <a:gd name="T31" fmla="*/ 16 h 113"/>
              <a:gd name="T32" fmla="*/ 80 w 97"/>
              <a:gd name="T33" fmla="*/ 9 h 113"/>
              <a:gd name="T34" fmla="*/ 96 w 97"/>
              <a:gd name="T35" fmla="*/ 20 h 113"/>
              <a:gd name="T36" fmla="*/ 96 w 97"/>
              <a:gd name="T37" fmla="*/ 20 h 113"/>
              <a:gd name="T38" fmla="*/ 97 w 97"/>
              <a:gd name="T39" fmla="*/ 2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7" h="113">
                <a:moveTo>
                  <a:pt x="97" y="20"/>
                </a:moveTo>
                <a:cubicBezTo>
                  <a:pt x="91" y="22"/>
                  <a:pt x="87" y="27"/>
                  <a:pt x="87" y="33"/>
                </a:cubicBezTo>
                <a:cubicBezTo>
                  <a:pt x="87" y="48"/>
                  <a:pt x="87" y="55"/>
                  <a:pt x="87" y="73"/>
                </a:cubicBezTo>
                <a:cubicBezTo>
                  <a:pt x="87" y="85"/>
                  <a:pt x="73" y="87"/>
                  <a:pt x="70" y="94"/>
                </a:cubicBezTo>
                <a:cubicBezTo>
                  <a:pt x="65" y="94"/>
                  <a:pt x="62" y="96"/>
                  <a:pt x="57" y="97"/>
                </a:cubicBezTo>
                <a:cubicBezTo>
                  <a:pt x="57" y="97"/>
                  <a:pt x="57" y="97"/>
                  <a:pt x="57" y="97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7" y="99"/>
                  <a:pt x="24" y="110"/>
                  <a:pt x="21" y="101"/>
                </a:cubicBezTo>
                <a:cubicBezTo>
                  <a:pt x="16" y="83"/>
                  <a:pt x="8" y="74"/>
                  <a:pt x="0" y="58"/>
                </a:cubicBezTo>
                <a:cubicBezTo>
                  <a:pt x="11" y="58"/>
                  <a:pt x="11" y="52"/>
                  <a:pt x="11" y="42"/>
                </a:cubicBezTo>
                <a:cubicBezTo>
                  <a:pt x="11" y="32"/>
                  <a:pt x="11" y="30"/>
                  <a:pt x="11" y="25"/>
                </a:cubicBezTo>
                <a:cubicBezTo>
                  <a:pt x="11" y="16"/>
                  <a:pt x="27" y="5"/>
                  <a:pt x="35" y="0"/>
                </a:cubicBezTo>
                <a:cubicBezTo>
                  <a:pt x="37" y="3"/>
                  <a:pt x="38" y="5"/>
                  <a:pt x="41" y="5"/>
                </a:cubicBezTo>
                <a:cubicBezTo>
                  <a:pt x="45" y="5"/>
                  <a:pt x="46" y="1"/>
                  <a:pt x="50" y="1"/>
                </a:cubicBezTo>
                <a:cubicBezTo>
                  <a:pt x="56" y="1"/>
                  <a:pt x="57" y="16"/>
                  <a:pt x="66" y="16"/>
                </a:cubicBezTo>
                <a:cubicBezTo>
                  <a:pt x="76" y="16"/>
                  <a:pt x="71" y="9"/>
                  <a:pt x="80" y="9"/>
                </a:cubicBezTo>
                <a:cubicBezTo>
                  <a:pt x="88" y="9"/>
                  <a:pt x="89" y="16"/>
                  <a:pt x="96" y="20"/>
                </a:cubicBezTo>
                <a:cubicBezTo>
                  <a:pt x="96" y="20"/>
                  <a:pt x="96" y="20"/>
                  <a:pt x="96" y="20"/>
                </a:cubicBezTo>
                <a:cubicBezTo>
                  <a:pt x="97" y="20"/>
                  <a:pt x="97" y="20"/>
                  <a:pt x="97" y="20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4" name="Freeform 66"/>
          <p:cNvSpPr>
            <a:spLocks/>
          </p:cNvSpPr>
          <p:nvPr/>
        </p:nvSpPr>
        <p:spPr bwMode="auto">
          <a:xfrm>
            <a:off x="5075211" y="3427930"/>
            <a:ext cx="627082" cy="643879"/>
          </a:xfrm>
          <a:custGeom>
            <a:avLst/>
            <a:gdLst>
              <a:gd name="T0" fmla="*/ 135 w 138"/>
              <a:gd name="T1" fmla="*/ 109 h 142"/>
              <a:gd name="T2" fmla="*/ 135 w 138"/>
              <a:gd name="T3" fmla="*/ 99 h 142"/>
              <a:gd name="T4" fmla="*/ 122 w 138"/>
              <a:gd name="T5" fmla="*/ 87 h 142"/>
              <a:gd name="T6" fmla="*/ 101 w 138"/>
              <a:gd name="T7" fmla="*/ 44 h 142"/>
              <a:gd name="T8" fmla="*/ 77 w 138"/>
              <a:gd name="T9" fmla="*/ 28 h 142"/>
              <a:gd name="T10" fmla="*/ 72 w 138"/>
              <a:gd name="T11" fmla="*/ 13 h 142"/>
              <a:gd name="T12" fmla="*/ 58 w 138"/>
              <a:gd name="T13" fmla="*/ 1 h 142"/>
              <a:gd name="T14" fmla="*/ 43 w 138"/>
              <a:gd name="T15" fmla="*/ 0 h 142"/>
              <a:gd name="T16" fmla="*/ 27 w 138"/>
              <a:gd name="T17" fmla="*/ 27 h 142"/>
              <a:gd name="T18" fmla="*/ 28 w 138"/>
              <a:gd name="T19" fmla="*/ 33 h 142"/>
              <a:gd name="T20" fmla="*/ 23 w 138"/>
              <a:gd name="T21" fmla="*/ 39 h 142"/>
              <a:gd name="T22" fmla="*/ 32 w 138"/>
              <a:gd name="T23" fmla="*/ 46 h 142"/>
              <a:gd name="T24" fmla="*/ 23 w 138"/>
              <a:gd name="T25" fmla="*/ 56 h 142"/>
              <a:gd name="T26" fmla="*/ 26 w 138"/>
              <a:gd name="T27" fmla="*/ 64 h 142"/>
              <a:gd name="T28" fmla="*/ 0 w 138"/>
              <a:gd name="T29" fmla="*/ 107 h 142"/>
              <a:gd name="T30" fmla="*/ 8 w 138"/>
              <a:gd name="T31" fmla="*/ 134 h 142"/>
              <a:gd name="T32" fmla="*/ 12 w 138"/>
              <a:gd name="T33" fmla="*/ 130 h 142"/>
              <a:gd name="T34" fmla="*/ 39 w 138"/>
              <a:gd name="T35" fmla="*/ 142 h 142"/>
              <a:gd name="T36" fmla="*/ 56 w 138"/>
              <a:gd name="T37" fmla="*/ 139 h 142"/>
              <a:gd name="T38" fmla="*/ 62 w 138"/>
              <a:gd name="T39" fmla="*/ 141 h 142"/>
              <a:gd name="T40" fmla="*/ 82 w 138"/>
              <a:gd name="T41" fmla="*/ 105 h 142"/>
              <a:gd name="T42" fmla="*/ 108 w 138"/>
              <a:gd name="T43" fmla="*/ 105 h 142"/>
              <a:gd name="T44" fmla="*/ 131 w 138"/>
              <a:gd name="T45" fmla="*/ 123 h 142"/>
              <a:gd name="T46" fmla="*/ 135 w 138"/>
              <a:gd name="T47" fmla="*/ 109 h 142"/>
              <a:gd name="T48" fmla="*/ 135 w 138"/>
              <a:gd name="T49" fmla="*/ 109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38" h="142">
                <a:moveTo>
                  <a:pt x="135" y="109"/>
                </a:moveTo>
                <a:cubicBezTo>
                  <a:pt x="135" y="109"/>
                  <a:pt x="135" y="104"/>
                  <a:pt x="135" y="99"/>
                </a:cubicBezTo>
                <a:cubicBezTo>
                  <a:pt x="138" y="85"/>
                  <a:pt x="125" y="96"/>
                  <a:pt x="122" y="87"/>
                </a:cubicBezTo>
                <a:cubicBezTo>
                  <a:pt x="117" y="69"/>
                  <a:pt x="109" y="60"/>
                  <a:pt x="101" y="44"/>
                </a:cubicBezTo>
                <a:cubicBezTo>
                  <a:pt x="92" y="44"/>
                  <a:pt x="80" y="35"/>
                  <a:pt x="77" y="28"/>
                </a:cubicBezTo>
                <a:cubicBezTo>
                  <a:pt x="75" y="21"/>
                  <a:pt x="81" y="17"/>
                  <a:pt x="72" y="13"/>
                </a:cubicBezTo>
                <a:cubicBezTo>
                  <a:pt x="66" y="11"/>
                  <a:pt x="64" y="2"/>
                  <a:pt x="58" y="1"/>
                </a:cubicBezTo>
                <a:cubicBezTo>
                  <a:pt x="50" y="0"/>
                  <a:pt x="49" y="2"/>
                  <a:pt x="43" y="0"/>
                </a:cubicBezTo>
                <a:cubicBezTo>
                  <a:pt x="42" y="8"/>
                  <a:pt x="27" y="24"/>
                  <a:pt x="27" y="27"/>
                </a:cubicBezTo>
                <a:cubicBezTo>
                  <a:pt x="27" y="29"/>
                  <a:pt x="28" y="30"/>
                  <a:pt x="28" y="33"/>
                </a:cubicBezTo>
                <a:cubicBezTo>
                  <a:pt x="26" y="35"/>
                  <a:pt x="23" y="35"/>
                  <a:pt x="23" y="39"/>
                </a:cubicBezTo>
                <a:cubicBezTo>
                  <a:pt x="23" y="39"/>
                  <a:pt x="30" y="46"/>
                  <a:pt x="32" y="46"/>
                </a:cubicBezTo>
                <a:cubicBezTo>
                  <a:pt x="30" y="51"/>
                  <a:pt x="23" y="54"/>
                  <a:pt x="23" y="56"/>
                </a:cubicBezTo>
                <a:cubicBezTo>
                  <a:pt x="23" y="59"/>
                  <a:pt x="26" y="60"/>
                  <a:pt x="26" y="64"/>
                </a:cubicBezTo>
                <a:cubicBezTo>
                  <a:pt x="26" y="82"/>
                  <a:pt x="0" y="86"/>
                  <a:pt x="0" y="107"/>
                </a:cubicBezTo>
                <a:cubicBezTo>
                  <a:pt x="0" y="110"/>
                  <a:pt x="6" y="130"/>
                  <a:pt x="8" y="134"/>
                </a:cubicBezTo>
                <a:cubicBezTo>
                  <a:pt x="8" y="131"/>
                  <a:pt x="8" y="130"/>
                  <a:pt x="12" y="130"/>
                </a:cubicBezTo>
                <a:cubicBezTo>
                  <a:pt x="24" y="130"/>
                  <a:pt x="26" y="142"/>
                  <a:pt x="39" y="142"/>
                </a:cubicBezTo>
                <a:cubicBezTo>
                  <a:pt x="46" y="142"/>
                  <a:pt x="50" y="139"/>
                  <a:pt x="56" y="139"/>
                </a:cubicBezTo>
                <a:cubicBezTo>
                  <a:pt x="59" y="139"/>
                  <a:pt x="62" y="141"/>
                  <a:pt x="62" y="141"/>
                </a:cubicBezTo>
                <a:cubicBezTo>
                  <a:pt x="62" y="130"/>
                  <a:pt x="80" y="119"/>
                  <a:pt x="82" y="105"/>
                </a:cubicBezTo>
                <a:cubicBezTo>
                  <a:pt x="94" y="105"/>
                  <a:pt x="99" y="105"/>
                  <a:pt x="108" y="105"/>
                </a:cubicBezTo>
                <a:cubicBezTo>
                  <a:pt x="114" y="105"/>
                  <a:pt x="122" y="120"/>
                  <a:pt x="131" y="123"/>
                </a:cubicBezTo>
                <a:cubicBezTo>
                  <a:pt x="131" y="123"/>
                  <a:pt x="135" y="114"/>
                  <a:pt x="135" y="109"/>
                </a:cubicBezTo>
                <a:cubicBezTo>
                  <a:pt x="135" y="109"/>
                  <a:pt x="135" y="109"/>
                  <a:pt x="135" y="109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5" name="Freeform 67"/>
          <p:cNvSpPr>
            <a:spLocks/>
          </p:cNvSpPr>
          <p:nvPr/>
        </p:nvSpPr>
        <p:spPr bwMode="auto">
          <a:xfrm>
            <a:off x="5010822" y="2898827"/>
            <a:ext cx="408726" cy="478711"/>
          </a:xfrm>
          <a:custGeom>
            <a:avLst/>
            <a:gdLst>
              <a:gd name="T0" fmla="*/ 69 w 90"/>
              <a:gd name="T1" fmla="*/ 6 h 106"/>
              <a:gd name="T2" fmla="*/ 74 w 90"/>
              <a:gd name="T3" fmla="*/ 33 h 106"/>
              <a:gd name="T4" fmla="*/ 89 w 90"/>
              <a:gd name="T5" fmla="*/ 54 h 106"/>
              <a:gd name="T6" fmla="*/ 89 w 90"/>
              <a:gd name="T7" fmla="*/ 59 h 106"/>
              <a:gd name="T8" fmla="*/ 90 w 90"/>
              <a:gd name="T9" fmla="*/ 66 h 106"/>
              <a:gd name="T10" fmla="*/ 74 w 90"/>
              <a:gd name="T11" fmla="*/ 91 h 106"/>
              <a:gd name="T12" fmla="*/ 53 w 90"/>
              <a:gd name="T13" fmla="*/ 106 h 106"/>
              <a:gd name="T14" fmla="*/ 53 w 90"/>
              <a:gd name="T15" fmla="*/ 106 h 106"/>
              <a:gd name="T16" fmla="*/ 51 w 90"/>
              <a:gd name="T17" fmla="*/ 104 h 106"/>
              <a:gd name="T18" fmla="*/ 51 w 90"/>
              <a:gd name="T19" fmla="*/ 104 h 106"/>
              <a:gd name="T20" fmla="*/ 35 w 90"/>
              <a:gd name="T21" fmla="*/ 60 h 106"/>
              <a:gd name="T22" fmla="*/ 20 w 90"/>
              <a:gd name="T23" fmla="*/ 53 h 106"/>
              <a:gd name="T24" fmla="*/ 0 w 90"/>
              <a:gd name="T25" fmla="*/ 29 h 106"/>
              <a:gd name="T26" fmla="*/ 20 w 90"/>
              <a:gd name="T27" fmla="*/ 8 h 106"/>
              <a:gd name="T28" fmla="*/ 31 w 90"/>
              <a:gd name="T29" fmla="*/ 11 h 106"/>
              <a:gd name="T30" fmla="*/ 41 w 90"/>
              <a:gd name="T31" fmla="*/ 0 h 106"/>
              <a:gd name="T32" fmla="*/ 63 w 90"/>
              <a:gd name="T33" fmla="*/ 6 h 106"/>
              <a:gd name="T34" fmla="*/ 69 w 90"/>
              <a:gd name="T35" fmla="*/ 5 h 106"/>
              <a:gd name="T36" fmla="*/ 69 w 90"/>
              <a:gd name="T37" fmla="*/ 5 h 106"/>
              <a:gd name="T38" fmla="*/ 69 w 90"/>
              <a:gd name="T39" fmla="*/ 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106">
                <a:moveTo>
                  <a:pt x="69" y="6"/>
                </a:moveTo>
                <a:cubicBezTo>
                  <a:pt x="73" y="15"/>
                  <a:pt x="70" y="24"/>
                  <a:pt x="74" y="33"/>
                </a:cubicBezTo>
                <a:cubicBezTo>
                  <a:pt x="78" y="40"/>
                  <a:pt x="89" y="43"/>
                  <a:pt x="89" y="54"/>
                </a:cubicBezTo>
                <a:cubicBezTo>
                  <a:pt x="89" y="59"/>
                  <a:pt x="89" y="54"/>
                  <a:pt x="89" y="59"/>
                </a:cubicBezTo>
                <a:cubicBezTo>
                  <a:pt x="89" y="61"/>
                  <a:pt x="89" y="64"/>
                  <a:pt x="90" y="66"/>
                </a:cubicBezTo>
                <a:cubicBezTo>
                  <a:pt x="81" y="72"/>
                  <a:pt x="76" y="78"/>
                  <a:pt x="74" y="91"/>
                </a:cubicBezTo>
                <a:cubicBezTo>
                  <a:pt x="73" y="104"/>
                  <a:pt x="53" y="93"/>
                  <a:pt x="53" y="106"/>
                </a:cubicBezTo>
                <a:cubicBezTo>
                  <a:pt x="53" y="106"/>
                  <a:pt x="53" y="106"/>
                  <a:pt x="53" y="106"/>
                </a:cubicBezTo>
                <a:cubicBezTo>
                  <a:pt x="51" y="104"/>
                  <a:pt x="51" y="104"/>
                  <a:pt x="51" y="104"/>
                </a:cubicBezTo>
                <a:cubicBezTo>
                  <a:pt x="51" y="104"/>
                  <a:pt x="51" y="104"/>
                  <a:pt x="51" y="104"/>
                </a:cubicBezTo>
                <a:cubicBezTo>
                  <a:pt x="36" y="92"/>
                  <a:pt x="42" y="76"/>
                  <a:pt x="35" y="60"/>
                </a:cubicBezTo>
                <a:cubicBezTo>
                  <a:pt x="32" y="55"/>
                  <a:pt x="20" y="55"/>
                  <a:pt x="20" y="53"/>
                </a:cubicBezTo>
                <a:cubicBezTo>
                  <a:pt x="17" y="40"/>
                  <a:pt x="15" y="29"/>
                  <a:pt x="0" y="29"/>
                </a:cubicBezTo>
                <a:cubicBezTo>
                  <a:pt x="10" y="24"/>
                  <a:pt x="19" y="22"/>
                  <a:pt x="20" y="8"/>
                </a:cubicBezTo>
                <a:cubicBezTo>
                  <a:pt x="24" y="8"/>
                  <a:pt x="26" y="11"/>
                  <a:pt x="31" y="11"/>
                </a:cubicBezTo>
                <a:cubicBezTo>
                  <a:pt x="36" y="11"/>
                  <a:pt x="36" y="2"/>
                  <a:pt x="41" y="0"/>
                </a:cubicBezTo>
                <a:cubicBezTo>
                  <a:pt x="46" y="5"/>
                  <a:pt x="53" y="6"/>
                  <a:pt x="63" y="6"/>
                </a:cubicBezTo>
                <a:cubicBezTo>
                  <a:pt x="65" y="6"/>
                  <a:pt x="67" y="6"/>
                  <a:pt x="69" y="5"/>
                </a:cubicBezTo>
                <a:cubicBezTo>
                  <a:pt x="69" y="5"/>
                  <a:pt x="69" y="5"/>
                  <a:pt x="69" y="5"/>
                </a:cubicBezTo>
                <a:cubicBezTo>
                  <a:pt x="69" y="6"/>
                  <a:pt x="69" y="6"/>
                  <a:pt x="69" y="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6" name="Freeform 68"/>
          <p:cNvSpPr>
            <a:spLocks/>
          </p:cNvSpPr>
          <p:nvPr/>
        </p:nvSpPr>
        <p:spPr bwMode="auto">
          <a:xfrm>
            <a:off x="4666485" y="2562889"/>
            <a:ext cx="531901" cy="506707"/>
          </a:xfrm>
          <a:custGeom>
            <a:avLst/>
            <a:gdLst>
              <a:gd name="T0" fmla="*/ 66 w 117"/>
              <a:gd name="T1" fmla="*/ 16 h 112"/>
              <a:gd name="T2" fmla="*/ 60 w 117"/>
              <a:gd name="T3" fmla="*/ 22 h 112"/>
              <a:gd name="T4" fmla="*/ 28 w 117"/>
              <a:gd name="T5" fmla="*/ 0 h 112"/>
              <a:gd name="T6" fmla="*/ 25 w 117"/>
              <a:gd name="T7" fmla="*/ 12 h 112"/>
              <a:gd name="T8" fmla="*/ 0 w 117"/>
              <a:gd name="T9" fmla="*/ 43 h 112"/>
              <a:gd name="T10" fmla="*/ 10 w 117"/>
              <a:gd name="T11" fmla="*/ 54 h 112"/>
              <a:gd name="T12" fmla="*/ 18 w 117"/>
              <a:gd name="T13" fmla="*/ 49 h 112"/>
              <a:gd name="T14" fmla="*/ 31 w 117"/>
              <a:gd name="T15" fmla="*/ 69 h 112"/>
              <a:gd name="T16" fmla="*/ 54 w 117"/>
              <a:gd name="T17" fmla="*/ 85 h 112"/>
              <a:gd name="T18" fmla="*/ 48 w 117"/>
              <a:gd name="T19" fmla="*/ 101 h 112"/>
              <a:gd name="T20" fmla="*/ 48 w 117"/>
              <a:gd name="T21" fmla="*/ 101 h 112"/>
              <a:gd name="T22" fmla="*/ 49 w 117"/>
              <a:gd name="T23" fmla="*/ 112 h 112"/>
              <a:gd name="T24" fmla="*/ 49 w 117"/>
              <a:gd name="T25" fmla="*/ 112 h 112"/>
              <a:gd name="T26" fmla="*/ 57 w 117"/>
              <a:gd name="T27" fmla="*/ 105 h 112"/>
              <a:gd name="T28" fmla="*/ 61 w 117"/>
              <a:gd name="T29" fmla="*/ 107 h 112"/>
              <a:gd name="T30" fmla="*/ 77 w 117"/>
              <a:gd name="T31" fmla="*/ 105 h 112"/>
              <a:gd name="T32" fmla="*/ 96 w 117"/>
              <a:gd name="T33" fmla="*/ 82 h 112"/>
              <a:gd name="T34" fmla="*/ 107 w 117"/>
              <a:gd name="T35" fmla="*/ 85 h 112"/>
              <a:gd name="T36" fmla="*/ 117 w 117"/>
              <a:gd name="T37" fmla="*/ 74 h 112"/>
              <a:gd name="T38" fmla="*/ 111 w 117"/>
              <a:gd name="T39" fmla="*/ 57 h 112"/>
              <a:gd name="T40" fmla="*/ 117 w 117"/>
              <a:gd name="T41" fmla="*/ 41 h 112"/>
              <a:gd name="T42" fmla="*/ 107 w 117"/>
              <a:gd name="T43" fmla="*/ 27 h 112"/>
              <a:gd name="T44" fmla="*/ 108 w 117"/>
              <a:gd name="T45" fmla="*/ 11 h 112"/>
              <a:gd name="T46" fmla="*/ 80 w 117"/>
              <a:gd name="T47" fmla="*/ 18 h 112"/>
              <a:gd name="T48" fmla="*/ 68 w 117"/>
              <a:gd name="T49" fmla="*/ 12 h 112"/>
              <a:gd name="T50" fmla="*/ 68 w 117"/>
              <a:gd name="T51" fmla="*/ 12 h 112"/>
              <a:gd name="T52" fmla="*/ 68 w 117"/>
              <a:gd name="T53" fmla="*/ 12 h 112"/>
              <a:gd name="T54" fmla="*/ 66 w 117"/>
              <a:gd name="T55" fmla="*/ 16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7" h="112">
                <a:moveTo>
                  <a:pt x="66" y="16"/>
                </a:moveTo>
                <a:cubicBezTo>
                  <a:pt x="63" y="17"/>
                  <a:pt x="64" y="22"/>
                  <a:pt x="60" y="22"/>
                </a:cubicBezTo>
                <a:cubicBezTo>
                  <a:pt x="44" y="22"/>
                  <a:pt x="41" y="0"/>
                  <a:pt x="28" y="0"/>
                </a:cubicBezTo>
                <a:cubicBezTo>
                  <a:pt x="22" y="0"/>
                  <a:pt x="25" y="10"/>
                  <a:pt x="25" y="12"/>
                </a:cubicBezTo>
                <a:cubicBezTo>
                  <a:pt x="25" y="25"/>
                  <a:pt x="0" y="26"/>
                  <a:pt x="0" y="43"/>
                </a:cubicBezTo>
                <a:cubicBezTo>
                  <a:pt x="0" y="52"/>
                  <a:pt x="4" y="54"/>
                  <a:pt x="10" y="54"/>
                </a:cubicBezTo>
                <a:cubicBezTo>
                  <a:pt x="15" y="54"/>
                  <a:pt x="17" y="52"/>
                  <a:pt x="18" y="49"/>
                </a:cubicBezTo>
                <a:cubicBezTo>
                  <a:pt x="23" y="55"/>
                  <a:pt x="27" y="64"/>
                  <a:pt x="31" y="69"/>
                </a:cubicBezTo>
                <a:cubicBezTo>
                  <a:pt x="38" y="75"/>
                  <a:pt x="54" y="71"/>
                  <a:pt x="54" y="85"/>
                </a:cubicBezTo>
                <a:cubicBezTo>
                  <a:pt x="54" y="91"/>
                  <a:pt x="49" y="97"/>
                  <a:pt x="48" y="101"/>
                </a:cubicBezTo>
                <a:cubicBezTo>
                  <a:pt x="48" y="101"/>
                  <a:pt x="48" y="101"/>
                  <a:pt x="48" y="101"/>
                </a:cubicBezTo>
                <a:cubicBezTo>
                  <a:pt x="49" y="112"/>
                  <a:pt x="49" y="112"/>
                  <a:pt x="49" y="112"/>
                </a:cubicBezTo>
                <a:cubicBezTo>
                  <a:pt x="49" y="112"/>
                  <a:pt x="49" y="112"/>
                  <a:pt x="49" y="112"/>
                </a:cubicBezTo>
                <a:cubicBezTo>
                  <a:pt x="50" y="109"/>
                  <a:pt x="53" y="107"/>
                  <a:pt x="57" y="105"/>
                </a:cubicBezTo>
                <a:cubicBezTo>
                  <a:pt x="57" y="106"/>
                  <a:pt x="58" y="107"/>
                  <a:pt x="61" y="107"/>
                </a:cubicBezTo>
                <a:cubicBezTo>
                  <a:pt x="66" y="107"/>
                  <a:pt x="71" y="105"/>
                  <a:pt x="77" y="105"/>
                </a:cubicBezTo>
                <a:cubicBezTo>
                  <a:pt x="85" y="98"/>
                  <a:pt x="95" y="96"/>
                  <a:pt x="96" y="82"/>
                </a:cubicBezTo>
                <a:cubicBezTo>
                  <a:pt x="100" y="82"/>
                  <a:pt x="102" y="85"/>
                  <a:pt x="107" y="85"/>
                </a:cubicBezTo>
                <a:cubicBezTo>
                  <a:pt x="112" y="85"/>
                  <a:pt x="112" y="76"/>
                  <a:pt x="117" y="74"/>
                </a:cubicBezTo>
                <a:cubicBezTo>
                  <a:pt x="113" y="70"/>
                  <a:pt x="111" y="64"/>
                  <a:pt x="111" y="57"/>
                </a:cubicBezTo>
                <a:cubicBezTo>
                  <a:pt x="111" y="50"/>
                  <a:pt x="117" y="47"/>
                  <a:pt x="117" y="41"/>
                </a:cubicBezTo>
                <a:cubicBezTo>
                  <a:pt x="117" y="34"/>
                  <a:pt x="107" y="33"/>
                  <a:pt x="107" y="27"/>
                </a:cubicBezTo>
                <a:cubicBezTo>
                  <a:pt x="107" y="23"/>
                  <a:pt x="114" y="18"/>
                  <a:pt x="108" y="11"/>
                </a:cubicBezTo>
                <a:cubicBezTo>
                  <a:pt x="100" y="15"/>
                  <a:pt x="91" y="18"/>
                  <a:pt x="80" y="18"/>
                </a:cubicBezTo>
                <a:cubicBezTo>
                  <a:pt x="74" y="18"/>
                  <a:pt x="68" y="20"/>
                  <a:pt x="68" y="12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12"/>
                  <a:pt x="68" y="12"/>
                  <a:pt x="68" y="12"/>
                </a:cubicBezTo>
                <a:cubicBezTo>
                  <a:pt x="66" y="16"/>
                  <a:pt x="66" y="16"/>
                  <a:pt x="66" y="1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Freeform 69"/>
          <p:cNvSpPr>
            <a:spLocks/>
          </p:cNvSpPr>
          <p:nvPr/>
        </p:nvSpPr>
        <p:spPr bwMode="auto">
          <a:xfrm>
            <a:off x="5251575" y="3198373"/>
            <a:ext cx="450717" cy="431119"/>
          </a:xfrm>
          <a:custGeom>
            <a:avLst/>
            <a:gdLst>
              <a:gd name="T0" fmla="*/ 38 w 99"/>
              <a:gd name="T1" fmla="*/ 1 h 95"/>
              <a:gd name="T2" fmla="*/ 49 w 99"/>
              <a:gd name="T3" fmla="*/ 15 h 95"/>
              <a:gd name="T4" fmla="*/ 49 w 99"/>
              <a:gd name="T5" fmla="*/ 15 h 95"/>
              <a:gd name="T6" fmla="*/ 58 w 99"/>
              <a:gd name="T7" fmla="*/ 15 h 95"/>
              <a:gd name="T8" fmla="*/ 58 w 99"/>
              <a:gd name="T9" fmla="*/ 15 h 95"/>
              <a:gd name="T10" fmla="*/ 79 w 99"/>
              <a:gd name="T11" fmla="*/ 3 h 95"/>
              <a:gd name="T12" fmla="*/ 76 w 99"/>
              <a:gd name="T13" fmla="*/ 12 h 95"/>
              <a:gd name="T14" fmla="*/ 84 w 99"/>
              <a:gd name="T15" fmla="*/ 20 h 95"/>
              <a:gd name="T16" fmla="*/ 92 w 99"/>
              <a:gd name="T17" fmla="*/ 20 h 95"/>
              <a:gd name="T18" fmla="*/ 97 w 99"/>
              <a:gd name="T19" fmla="*/ 37 h 95"/>
              <a:gd name="T20" fmla="*/ 73 w 99"/>
              <a:gd name="T21" fmla="*/ 62 h 95"/>
              <a:gd name="T22" fmla="*/ 73 w 99"/>
              <a:gd name="T23" fmla="*/ 79 h 95"/>
              <a:gd name="T24" fmla="*/ 62 w 99"/>
              <a:gd name="T25" fmla="*/ 95 h 95"/>
              <a:gd name="T26" fmla="*/ 38 w 99"/>
              <a:gd name="T27" fmla="*/ 79 h 95"/>
              <a:gd name="T28" fmla="*/ 33 w 99"/>
              <a:gd name="T29" fmla="*/ 64 h 95"/>
              <a:gd name="T30" fmla="*/ 19 w 99"/>
              <a:gd name="T31" fmla="*/ 52 h 95"/>
              <a:gd name="T32" fmla="*/ 3 w 99"/>
              <a:gd name="T33" fmla="*/ 48 h 95"/>
              <a:gd name="T34" fmla="*/ 0 w 99"/>
              <a:gd name="T35" fmla="*/ 40 h 95"/>
              <a:gd name="T36" fmla="*/ 21 w 99"/>
              <a:gd name="T37" fmla="*/ 25 h 95"/>
              <a:gd name="T38" fmla="*/ 36 w 99"/>
              <a:gd name="T39" fmla="*/ 0 h 95"/>
              <a:gd name="T40" fmla="*/ 36 w 99"/>
              <a:gd name="T41" fmla="*/ 0 h 95"/>
              <a:gd name="T42" fmla="*/ 38 w 99"/>
              <a:gd name="T43" fmla="*/ 1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9" h="95">
                <a:moveTo>
                  <a:pt x="38" y="1"/>
                </a:moveTo>
                <a:cubicBezTo>
                  <a:pt x="39" y="6"/>
                  <a:pt x="44" y="14"/>
                  <a:pt x="49" y="15"/>
                </a:cubicBezTo>
                <a:cubicBezTo>
                  <a:pt x="49" y="15"/>
                  <a:pt x="49" y="15"/>
                  <a:pt x="49" y="15"/>
                </a:cubicBezTo>
                <a:cubicBezTo>
                  <a:pt x="58" y="15"/>
                  <a:pt x="58" y="15"/>
                  <a:pt x="58" y="15"/>
                </a:cubicBezTo>
                <a:cubicBezTo>
                  <a:pt x="58" y="15"/>
                  <a:pt x="58" y="15"/>
                  <a:pt x="58" y="15"/>
                </a:cubicBezTo>
                <a:cubicBezTo>
                  <a:pt x="58" y="1"/>
                  <a:pt x="69" y="3"/>
                  <a:pt x="79" y="3"/>
                </a:cubicBezTo>
                <a:cubicBezTo>
                  <a:pt x="78" y="6"/>
                  <a:pt x="76" y="9"/>
                  <a:pt x="76" y="12"/>
                </a:cubicBezTo>
                <a:cubicBezTo>
                  <a:pt x="76" y="17"/>
                  <a:pt x="79" y="20"/>
                  <a:pt x="84" y="20"/>
                </a:cubicBezTo>
                <a:cubicBezTo>
                  <a:pt x="89" y="20"/>
                  <a:pt x="91" y="20"/>
                  <a:pt x="92" y="20"/>
                </a:cubicBezTo>
                <a:cubicBezTo>
                  <a:pt x="99" y="20"/>
                  <a:pt x="96" y="30"/>
                  <a:pt x="97" y="37"/>
                </a:cubicBezTo>
                <a:cubicBezTo>
                  <a:pt x="89" y="42"/>
                  <a:pt x="73" y="53"/>
                  <a:pt x="73" y="62"/>
                </a:cubicBezTo>
                <a:cubicBezTo>
                  <a:pt x="73" y="67"/>
                  <a:pt x="73" y="69"/>
                  <a:pt x="73" y="79"/>
                </a:cubicBezTo>
                <a:cubicBezTo>
                  <a:pt x="73" y="89"/>
                  <a:pt x="73" y="95"/>
                  <a:pt x="62" y="95"/>
                </a:cubicBezTo>
                <a:cubicBezTo>
                  <a:pt x="53" y="95"/>
                  <a:pt x="41" y="86"/>
                  <a:pt x="38" y="79"/>
                </a:cubicBezTo>
                <a:cubicBezTo>
                  <a:pt x="36" y="72"/>
                  <a:pt x="42" y="68"/>
                  <a:pt x="33" y="64"/>
                </a:cubicBezTo>
                <a:cubicBezTo>
                  <a:pt x="27" y="62"/>
                  <a:pt x="25" y="53"/>
                  <a:pt x="19" y="52"/>
                </a:cubicBezTo>
                <a:cubicBezTo>
                  <a:pt x="11" y="51"/>
                  <a:pt x="6" y="53"/>
                  <a:pt x="3" y="48"/>
                </a:cubicBezTo>
                <a:cubicBezTo>
                  <a:pt x="0" y="44"/>
                  <a:pt x="0" y="44"/>
                  <a:pt x="0" y="40"/>
                </a:cubicBezTo>
                <a:cubicBezTo>
                  <a:pt x="0" y="27"/>
                  <a:pt x="20" y="38"/>
                  <a:pt x="21" y="25"/>
                </a:cubicBezTo>
                <a:cubicBezTo>
                  <a:pt x="23" y="12"/>
                  <a:pt x="28" y="6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1"/>
                  <a:pt x="38" y="1"/>
                  <a:pt x="38" y="1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Freeform 70"/>
          <p:cNvSpPr>
            <a:spLocks/>
          </p:cNvSpPr>
          <p:nvPr/>
        </p:nvSpPr>
        <p:spPr bwMode="auto">
          <a:xfrm>
            <a:off x="6491745" y="3973829"/>
            <a:ext cx="646679" cy="562695"/>
          </a:xfrm>
          <a:custGeom>
            <a:avLst/>
            <a:gdLst>
              <a:gd name="T0" fmla="*/ 38 w 143"/>
              <a:gd name="T1" fmla="*/ 124 h 124"/>
              <a:gd name="T2" fmla="*/ 67 w 143"/>
              <a:gd name="T3" fmla="*/ 116 h 124"/>
              <a:gd name="T4" fmla="*/ 94 w 143"/>
              <a:gd name="T5" fmla="*/ 94 h 124"/>
              <a:gd name="T6" fmla="*/ 118 w 143"/>
              <a:gd name="T7" fmla="*/ 70 h 124"/>
              <a:gd name="T8" fmla="*/ 134 w 143"/>
              <a:gd name="T9" fmla="*/ 58 h 124"/>
              <a:gd name="T10" fmla="*/ 143 w 143"/>
              <a:gd name="T11" fmla="*/ 40 h 124"/>
              <a:gd name="T12" fmla="*/ 124 w 143"/>
              <a:gd name="T13" fmla="*/ 5 h 124"/>
              <a:gd name="T14" fmla="*/ 118 w 143"/>
              <a:gd name="T15" fmla="*/ 14 h 124"/>
              <a:gd name="T16" fmla="*/ 110 w 143"/>
              <a:gd name="T17" fmla="*/ 14 h 124"/>
              <a:gd name="T18" fmla="*/ 91 w 143"/>
              <a:gd name="T19" fmla="*/ 0 h 124"/>
              <a:gd name="T20" fmla="*/ 72 w 143"/>
              <a:gd name="T21" fmla="*/ 21 h 124"/>
              <a:gd name="T22" fmla="*/ 28 w 143"/>
              <a:gd name="T23" fmla="*/ 3 h 124"/>
              <a:gd name="T24" fmla="*/ 22 w 143"/>
              <a:gd name="T25" fmla="*/ 11 h 124"/>
              <a:gd name="T26" fmla="*/ 11 w 143"/>
              <a:gd name="T27" fmla="*/ 9 h 124"/>
              <a:gd name="T28" fmla="*/ 6 w 143"/>
              <a:gd name="T29" fmla="*/ 21 h 124"/>
              <a:gd name="T30" fmla="*/ 9 w 143"/>
              <a:gd name="T31" fmla="*/ 35 h 124"/>
              <a:gd name="T32" fmla="*/ 0 w 143"/>
              <a:gd name="T33" fmla="*/ 49 h 124"/>
              <a:gd name="T34" fmla="*/ 20 w 143"/>
              <a:gd name="T35" fmla="*/ 75 h 124"/>
              <a:gd name="T36" fmla="*/ 40 w 143"/>
              <a:gd name="T37" fmla="*/ 122 h 124"/>
              <a:gd name="T38" fmla="*/ 40 w 143"/>
              <a:gd name="T39" fmla="*/ 122 h 124"/>
              <a:gd name="T40" fmla="*/ 38 w 143"/>
              <a:gd name="T4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3" h="124">
                <a:moveTo>
                  <a:pt x="38" y="124"/>
                </a:moveTo>
                <a:cubicBezTo>
                  <a:pt x="46" y="120"/>
                  <a:pt x="59" y="121"/>
                  <a:pt x="67" y="116"/>
                </a:cubicBezTo>
                <a:cubicBezTo>
                  <a:pt x="73" y="111"/>
                  <a:pt x="81" y="94"/>
                  <a:pt x="94" y="94"/>
                </a:cubicBezTo>
                <a:cubicBezTo>
                  <a:pt x="108" y="94"/>
                  <a:pt x="111" y="78"/>
                  <a:pt x="118" y="70"/>
                </a:cubicBezTo>
                <a:cubicBezTo>
                  <a:pt x="122" y="64"/>
                  <a:pt x="129" y="65"/>
                  <a:pt x="134" y="58"/>
                </a:cubicBezTo>
                <a:cubicBezTo>
                  <a:pt x="138" y="53"/>
                  <a:pt x="133" y="40"/>
                  <a:pt x="143" y="40"/>
                </a:cubicBezTo>
                <a:cubicBezTo>
                  <a:pt x="137" y="31"/>
                  <a:pt x="131" y="17"/>
                  <a:pt x="124" y="5"/>
                </a:cubicBezTo>
                <a:cubicBezTo>
                  <a:pt x="120" y="6"/>
                  <a:pt x="118" y="9"/>
                  <a:pt x="118" y="14"/>
                </a:cubicBezTo>
                <a:cubicBezTo>
                  <a:pt x="116" y="14"/>
                  <a:pt x="113" y="14"/>
                  <a:pt x="110" y="14"/>
                </a:cubicBezTo>
                <a:cubicBezTo>
                  <a:pt x="104" y="14"/>
                  <a:pt x="96" y="9"/>
                  <a:pt x="91" y="0"/>
                </a:cubicBezTo>
                <a:cubicBezTo>
                  <a:pt x="90" y="11"/>
                  <a:pt x="83" y="21"/>
                  <a:pt x="72" y="21"/>
                </a:cubicBezTo>
                <a:cubicBezTo>
                  <a:pt x="63" y="21"/>
                  <a:pt x="42" y="3"/>
                  <a:pt x="28" y="3"/>
                </a:cubicBezTo>
                <a:cubicBezTo>
                  <a:pt x="25" y="3"/>
                  <a:pt x="22" y="8"/>
                  <a:pt x="22" y="11"/>
                </a:cubicBezTo>
                <a:cubicBezTo>
                  <a:pt x="17" y="11"/>
                  <a:pt x="14" y="10"/>
                  <a:pt x="11" y="9"/>
                </a:cubicBezTo>
                <a:cubicBezTo>
                  <a:pt x="9" y="11"/>
                  <a:pt x="6" y="15"/>
                  <a:pt x="6" y="21"/>
                </a:cubicBezTo>
                <a:cubicBezTo>
                  <a:pt x="6" y="27"/>
                  <a:pt x="9" y="30"/>
                  <a:pt x="9" y="35"/>
                </a:cubicBezTo>
                <a:cubicBezTo>
                  <a:pt x="9" y="44"/>
                  <a:pt x="0" y="42"/>
                  <a:pt x="0" y="49"/>
                </a:cubicBezTo>
                <a:cubicBezTo>
                  <a:pt x="0" y="62"/>
                  <a:pt x="15" y="69"/>
                  <a:pt x="20" y="75"/>
                </a:cubicBezTo>
                <a:cubicBezTo>
                  <a:pt x="28" y="88"/>
                  <a:pt x="31" y="110"/>
                  <a:pt x="40" y="122"/>
                </a:cubicBezTo>
                <a:cubicBezTo>
                  <a:pt x="40" y="122"/>
                  <a:pt x="40" y="122"/>
                  <a:pt x="40" y="122"/>
                </a:cubicBezTo>
                <a:cubicBezTo>
                  <a:pt x="38" y="124"/>
                  <a:pt x="38" y="124"/>
                  <a:pt x="38" y="124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9" name="Freeform 71"/>
          <p:cNvSpPr>
            <a:spLocks/>
          </p:cNvSpPr>
          <p:nvPr/>
        </p:nvSpPr>
        <p:spPr bwMode="auto">
          <a:xfrm>
            <a:off x="6309778" y="3646290"/>
            <a:ext cx="593489" cy="509505"/>
          </a:xfrm>
          <a:custGeom>
            <a:avLst/>
            <a:gdLst>
              <a:gd name="T0" fmla="*/ 49 w 131"/>
              <a:gd name="T1" fmla="*/ 112 h 112"/>
              <a:gd name="T2" fmla="*/ 0 w 131"/>
              <a:gd name="T3" fmla="*/ 94 h 112"/>
              <a:gd name="T4" fmla="*/ 22 w 131"/>
              <a:gd name="T5" fmla="*/ 65 h 112"/>
              <a:gd name="T6" fmla="*/ 16 w 131"/>
              <a:gd name="T7" fmla="*/ 54 h 112"/>
              <a:gd name="T8" fmla="*/ 22 w 131"/>
              <a:gd name="T9" fmla="*/ 35 h 112"/>
              <a:gd name="T10" fmla="*/ 16 w 131"/>
              <a:gd name="T11" fmla="*/ 22 h 112"/>
              <a:gd name="T12" fmla="*/ 16 w 131"/>
              <a:gd name="T13" fmla="*/ 22 h 112"/>
              <a:gd name="T14" fmla="*/ 16 w 131"/>
              <a:gd name="T15" fmla="*/ 14 h 112"/>
              <a:gd name="T16" fmla="*/ 16 w 131"/>
              <a:gd name="T17" fmla="*/ 14 h 112"/>
              <a:gd name="T18" fmla="*/ 22 w 131"/>
              <a:gd name="T19" fmla="*/ 14 h 112"/>
              <a:gd name="T20" fmla="*/ 40 w 131"/>
              <a:gd name="T21" fmla="*/ 21 h 112"/>
              <a:gd name="T22" fmla="*/ 49 w 131"/>
              <a:gd name="T23" fmla="*/ 0 h 112"/>
              <a:gd name="T24" fmla="*/ 62 w 131"/>
              <a:gd name="T25" fmla="*/ 17 h 112"/>
              <a:gd name="T26" fmla="*/ 70 w 131"/>
              <a:gd name="T27" fmla="*/ 23 h 112"/>
              <a:gd name="T28" fmla="*/ 91 w 131"/>
              <a:gd name="T29" fmla="*/ 25 h 112"/>
              <a:gd name="T30" fmla="*/ 103 w 131"/>
              <a:gd name="T31" fmla="*/ 41 h 112"/>
              <a:gd name="T32" fmla="*/ 118 w 131"/>
              <a:gd name="T33" fmla="*/ 40 h 112"/>
              <a:gd name="T34" fmla="*/ 123 w 131"/>
              <a:gd name="T35" fmla="*/ 53 h 112"/>
              <a:gd name="T36" fmla="*/ 131 w 131"/>
              <a:gd name="T37" fmla="*/ 72 h 112"/>
              <a:gd name="T38" fmla="*/ 112 w 131"/>
              <a:gd name="T39" fmla="*/ 93 h 112"/>
              <a:gd name="T40" fmla="*/ 68 w 131"/>
              <a:gd name="T41" fmla="*/ 75 h 112"/>
              <a:gd name="T42" fmla="*/ 62 w 131"/>
              <a:gd name="T43" fmla="*/ 83 h 112"/>
              <a:gd name="T44" fmla="*/ 51 w 131"/>
              <a:gd name="T45" fmla="*/ 81 h 112"/>
              <a:gd name="T46" fmla="*/ 46 w 131"/>
              <a:gd name="T47" fmla="*/ 93 h 112"/>
              <a:gd name="T48" fmla="*/ 49 w 131"/>
              <a:gd name="T49" fmla="*/ 107 h 112"/>
              <a:gd name="T50" fmla="*/ 49 w 131"/>
              <a:gd name="T51" fmla="*/ 112 h 112"/>
              <a:gd name="T52" fmla="*/ 49 w 131"/>
              <a:gd name="T53" fmla="*/ 112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1" h="112">
                <a:moveTo>
                  <a:pt x="49" y="112"/>
                </a:moveTo>
                <a:cubicBezTo>
                  <a:pt x="39" y="112"/>
                  <a:pt x="0" y="103"/>
                  <a:pt x="0" y="94"/>
                </a:cubicBezTo>
                <a:cubicBezTo>
                  <a:pt x="0" y="83"/>
                  <a:pt x="22" y="78"/>
                  <a:pt x="22" y="65"/>
                </a:cubicBezTo>
                <a:cubicBezTo>
                  <a:pt x="22" y="59"/>
                  <a:pt x="16" y="60"/>
                  <a:pt x="16" y="54"/>
                </a:cubicBezTo>
                <a:cubicBezTo>
                  <a:pt x="16" y="46"/>
                  <a:pt x="22" y="45"/>
                  <a:pt x="22" y="35"/>
                </a:cubicBezTo>
                <a:cubicBezTo>
                  <a:pt x="22" y="28"/>
                  <a:pt x="20" y="23"/>
                  <a:pt x="16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14"/>
                  <a:pt x="16" y="14"/>
                  <a:pt x="16" y="14"/>
                </a:cubicBezTo>
                <a:cubicBezTo>
                  <a:pt x="16" y="14"/>
                  <a:pt x="16" y="14"/>
                  <a:pt x="16" y="14"/>
                </a:cubicBezTo>
                <a:cubicBezTo>
                  <a:pt x="18" y="14"/>
                  <a:pt x="18" y="14"/>
                  <a:pt x="22" y="14"/>
                </a:cubicBezTo>
                <a:cubicBezTo>
                  <a:pt x="29" y="14"/>
                  <a:pt x="32" y="21"/>
                  <a:pt x="40" y="21"/>
                </a:cubicBezTo>
                <a:cubicBezTo>
                  <a:pt x="49" y="21"/>
                  <a:pt x="49" y="8"/>
                  <a:pt x="49" y="0"/>
                </a:cubicBezTo>
                <a:cubicBezTo>
                  <a:pt x="49" y="2"/>
                  <a:pt x="56" y="11"/>
                  <a:pt x="62" y="17"/>
                </a:cubicBezTo>
                <a:cubicBezTo>
                  <a:pt x="66" y="21"/>
                  <a:pt x="68" y="23"/>
                  <a:pt x="70" y="23"/>
                </a:cubicBezTo>
                <a:cubicBezTo>
                  <a:pt x="78" y="27"/>
                  <a:pt x="84" y="23"/>
                  <a:pt x="91" y="25"/>
                </a:cubicBezTo>
                <a:cubicBezTo>
                  <a:pt x="96" y="29"/>
                  <a:pt x="93" y="40"/>
                  <a:pt x="103" y="41"/>
                </a:cubicBezTo>
                <a:cubicBezTo>
                  <a:pt x="108" y="41"/>
                  <a:pt x="115" y="40"/>
                  <a:pt x="118" y="40"/>
                </a:cubicBezTo>
                <a:cubicBezTo>
                  <a:pt x="125" y="40"/>
                  <a:pt x="121" y="46"/>
                  <a:pt x="123" y="53"/>
                </a:cubicBezTo>
                <a:cubicBezTo>
                  <a:pt x="123" y="57"/>
                  <a:pt x="126" y="66"/>
                  <a:pt x="131" y="72"/>
                </a:cubicBezTo>
                <a:cubicBezTo>
                  <a:pt x="130" y="83"/>
                  <a:pt x="123" y="93"/>
                  <a:pt x="112" y="93"/>
                </a:cubicBezTo>
                <a:cubicBezTo>
                  <a:pt x="103" y="93"/>
                  <a:pt x="82" y="75"/>
                  <a:pt x="68" y="75"/>
                </a:cubicBezTo>
                <a:cubicBezTo>
                  <a:pt x="65" y="75"/>
                  <a:pt x="62" y="80"/>
                  <a:pt x="62" y="83"/>
                </a:cubicBezTo>
                <a:cubicBezTo>
                  <a:pt x="57" y="83"/>
                  <a:pt x="54" y="82"/>
                  <a:pt x="51" y="81"/>
                </a:cubicBezTo>
                <a:cubicBezTo>
                  <a:pt x="49" y="83"/>
                  <a:pt x="46" y="87"/>
                  <a:pt x="46" y="93"/>
                </a:cubicBezTo>
                <a:cubicBezTo>
                  <a:pt x="46" y="99"/>
                  <a:pt x="49" y="102"/>
                  <a:pt x="49" y="107"/>
                </a:cubicBezTo>
                <a:cubicBezTo>
                  <a:pt x="49" y="110"/>
                  <a:pt x="51" y="110"/>
                  <a:pt x="49" y="112"/>
                </a:cubicBezTo>
                <a:cubicBezTo>
                  <a:pt x="49" y="112"/>
                  <a:pt x="49" y="112"/>
                  <a:pt x="49" y="112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0" name="Freeform 72"/>
          <p:cNvSpPr>
            <a:spLocks/>
          </p:cNvSpPr>
          <p:nvPr/>
        </p:nvSpPr>
        <p:spPr bwMode="auto">
          <a:xfrm>
            <a:off x="5324363" y="2848438"/>
            <a:ext cx="386328" cy="417122"/>
          </a:xfrm>
          <a:custGeom>
            <a:avLst/>
            <a:gdLst>
              <a:gd name="T0" fmla="*/ 0 w 85"/>
              <a:gd name="T1" fmla="*/ 17 h 92"/>
              <a:gd name="T2" fmla="*/ 5 w 85"/>
              <a:gd name="T3" fmla="*/ 44 h 92"/>
              <a:gd name="T4" fmla="*/ 20 w 85"/>
              <a:gd name="T5" fmla="*/ 65 h 92"/>
              <a:gd name="T6" fmla="*/ 20 w 85"/>
              <a:gd name="T7" fmla="*/ 70 h 92"/>
              <a:gd name="T8" fmla="*/ 33 w 85"/>
              <a:gd name="T9" fmla="*/ 92 h 92"/>
              <a:gd name="T10" fmla="*/ 33 w 85"/>
              <a:gd name="T11" fmla="*/ 92 h 92"/>
              <a:gd name="T12" fmla="*/ 42 w 85"/>
              <a:gd name="T13" fmla="*/ 92 h 92"/>
              <a:gd name="T14" fmla="*/ 42 w 85"/>
              <a:gd name="T15" fmla="*/ 92 h 92"/>
              <a:gd name="T16" fmla="*/ 63 w 85"/>
              <a:gd name="T17" fmla="*/ 80 h 92"/>
              <a:gd name="T18" fmla="*/ 71 w 85"/>
              <a:gd name="T19" fmla="*/ 56 h 92"/>
              <a:gd name="T20" fmla="*/ 71 w 85"/>
              <a:gd name="T21" fmla="*/ 56 h 92"/>
              <a:gd name="T22" fmla="*/ 79 w 85"/>
              <a:gd name="T23" fmla="*/ 44 h 92"/>
              <a:gd name="T24" fmla="*/ 79 w 85"/>
              <a:gd name="T25" fmla="*/ 44 h 92"/>
              <a:gd name="T26" fmla="*/ 79 w 85"/>
              <a:gd name="T27" fmla="*/ 44 h 92"/>
              <a:gd name="T28" fmla="*/ 85 w 85"/>
              <a:gd name="T29" fmla="*/ 32 h 92"/>
              <a:gd name="T30" fmla="*/ 69 w 85"/>
              <a:gd name="T31" fmla="*/ 0 h 92"/>
              <a:gd name="T32" fmla="*/ 69 w 85"/>
              <a:gd name="T33" fmla="*/ 0 h 92"/>
              <a:gd name="T34" fmla="*/ 68 w 85"/>
              <a:gd name="T35" fmla="*/ 0 h 92"/>
              <a:gd name="T36" fmla="*/ 68 w 85"/>
              <a:gd name="T37" fmla="*/ 0 h 92"/>
              <a:gd name="T38" fmla="*/ 57 w 85"/>
              <a:gd name="T39" fmla="*/ 6 h 92"/>
              <a:gd name="T40" fmla="*/ 49 w 85"/>
              <a:gd name="T41" fmla="*/ 2 h 92"/>
              <a:gd name="T42" fmla="*/ 39 w 85"/>
              <a:gd name="T43" fmla="*/ 11 h 92"/>
              <a:gd name="T44" fmla="*/ 22 w 85"/>
              <a:gd name="T45" fmla="*/ 1 h 92"/>
              <a:gd name="T46" fmla="*/ 0 w 85"/>
              <a:gd name="T47" fmla="*/ 16 h 92"/>
              <a:gd name="T48" fmla="*/ 0 w 85"/>
              <a:gd name="T49" fmla="*/ 16 h 92"/>
              <a:gd name="T50" fmla="*/ 0 w 85"/>
              <a:gd name="T51" fmla="*/ 17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5" h="92">
                <a:moveTo>
                  <a:pt x="0" y="17"/>
                </a:moveTo>
                <a:cubicBezTo>
                  <a:pt x="4" y="26"/>
                  <a:pt x="1" y="35"/>
                  <a:pt x="5" y="44"/>
                </a:cubicBezTo>
                <a:cubicBezTo>
                  <a:pt x="9" y="51"/>
                  <a:pt x="20" y="54"/>
                  <a:pt x="20" y="65"/>
                </a:cubicBezTo>
                <a:cubicBezTo>
                  <a:pt x="20" y="70"/>
                  <a:pt x="20" y="65"/>
                  <a:pt x="20" y="70"/>
                </a:cubicBezTo>
                <a:cubicBezTo>
                  <a:pt x="20" y="77"/>
                  <a:pt x="26" y="88"/>
                  <a:pt x="33" y="92"/>
                </a:cubicBezTo>
                <a:cubicBezTo>
                  <a:pt x="33" y="92"/>
                  <a:pt x="33" y="92"/>
                  <a:pt x="33" y="92"/>
                </a:cubicBezTo>
                <a:cubicBezTo>
                  <a:pt x="42" y="92"/>
                  <a:pt x="42" y="92"/>
                  <a:pt x="42" y="92"/>
                </a:cubicBezTo>
                <a:cubicBezTo>
                  <a:pt x="42" y="92"/>
                  <a:pt x="42" y="92"/>
                  <a:pt x="42" y="92"/>
                </a:cubicBezTo>
                <a:cubicBezTo>
                  <a:pt x="42" y="78"/>
                  <a:pt x="53" y="80"/>
                  <a:pt x="63" y="80"/>
                </a:cubicBezTo>
                <a:cubicBezTo>
                  <a:pt x="67" y="64"/>
                  <a:pt x="71" y="56"/>
                  <a:pt x="71" y="56"/>
                </a:cubicBezTo>
                <a:cubicBezTo>
                  <a:pt x="71" y="56"/>
                  <a:pt x="71" y="56"/>
                  <a:pt x="71" y="56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9"/>
                  <a:pt x="79" y="49"/>
                  <a:pt x="79" y="44"/>
                </a:cubicBezTo>
                <a:cubicBezTo>
                  <a:pt x="79" y="39"/>
                  <a:pt x="85" y="37"/>
                  <a:pt x="85" y="32"/>
                </a:cubicBezTo>
                <a:cubicBezTo>
                  <a:pt x="85" y="14"/>
                  <a:pt x="69" y="17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7" y="1"/>
                  <a:pt x="60" y="6"/>
                  <a:pt x="57" y="6"/>
                </a:cubicBezTo>
                <a:cubicBezTo>
                  <a:pt x="53" y="6"/>
                  <a:pt x="53" y="2"/>
                  <a:pt x="49" y="2"/>
                </a:cubicBezTo>
                <a:cubicBezTo>
                  <a:pt x="44" y="2"/>
                  <a:pt x="46" y="11"/>
                  <a:pt x="39" y="11"/>
                </a:cubicBezTo>
                <a:cubicBezTo>
                  <a:pt x="32" y="11"/>
                  <a:pt x="31" y="1"/>
                  <a:pt x="22" y="1"/>
                </a:cubicBezTo>
                <a:cubicBezTo>
                  <a:pt x="11" y="1"/>
                  <a:pt x="9" y="12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7"/>
                  <a:pt x="0" y="17"/>
                  <a:pt x="0" y="17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2" name="Freeform 74"/>
          <p:cNvSpPr>
            <a:spLocks/>
          </p:cNvSpPr>
          <p:nvPr/>
        </p:nvSpPr>
        <p:spPr bwMode="auto">
          <a:xfrm>
            <a:off x="4546106" y="4018621"/>
            <a:ext cx="848244" cy="963020"/>
          </a:xfrm>
          <a:custGeom>
            <a:avLst/>
            <a:gdLst>
              <a:gd name="T0" fmla="*/ 173 w 187"/>
              <a:gd name="T1" fmla="*/ 9 h 212"/>
              <a:gd name="T2" fmla="*/ 156 w 187"/>
              <a:gd name="T3" fmla="*/ 12 h 212"/>
              <a:gd name="T4" fmla="*/ 129 w 187"/>
              <a:gd name="T5" fmla="*/ 0 h 212"/>
              <a:gd name="T6" fmla="*/ 125 w 187"/>
              <a:gd name="T7" fmla="*/ 11 h 212"/>
              <a:gd name="T8" fmla="*/ 101 w 187"/>
              <a:gd name="T9" fmla="*/ 17 h 212"/>
              <a:gd name="T10" fmla="*/ 104 w 187"/>
              <a:gd name="T11" fmla="*/ 30 h 212"/>
              <a:gd name="T12" fmla="*/ 87 w 187"/>
              <a:gd name="T13" fmla="*/ 30 h 212"/>
              <a:gd name="T14" fmla="*/ 87 w 187"/>
              <a:gd name="T15" fmla="*/ 37 h 212"/>
              <a:gd name="T16" fmla="*/ 66 w 187"/>
              <a:gd name="T17" fmla="*/ 60 h 212"/>
              <a:gd name="T18" fmla="*/ 39 w 187"/>
              <a:gd name="T19" fmla="*/ 41 h 212"/>
              <a:gd name="T20" fmla="*/ 34 w 187"/>
              <a:gd name="T21" fmla="*/ 44 h 212"/>
              <a:gd name="T22" fmla="*/ 20 w 187"/>
              <a:gd name="T23" fmla="*/ 37 h 212"/>
              <a:gd name="T24" fmla="*/ 0 w 187"/>
              <a:gd name="T25" fmla="*/ 52 h 212"/>
              <a:gd name="T26" fmla="*/ 24 w 187"/>
              <a:gd name="T27" fmla="*/ 63 h 212"/>
              <a:gd name="T28" fmla="*/ 8 w 187"/>
              <a:gd name="T29" fmla="*/ 74 h 212"/>
              <a:gd name="T30" fmla="*/ 8 w 187"/>
              <a:gd name="T31" fmla="*/ 91 h 212"/>
              <a:gd name="T32" fmla="*/ 40 w 187"/>
              <a:gd name="T33" fmla="*/ 107 h 212"/>
              <a:gd name="T34" fmla="*/ 32 w 187"/>
              <a:gd name="T35" fmla="*/ 128 h 212"/>
              <a:gd name="T36" fmla="*/ 45 w 187"/>
              <a:gd name="T37" fmla="*/ 150 h 212"/>
              <a:gd name="T38" fmla="*/ 43 w 187"/>
              <a:gd name="T39" fmla="*/ 167 h 212"/>
              <a:gd name="T40" fmla="*/ 47 w 187"/>
              <a:gd name="T41" fmla="*/ 167 h 212"/>
              <a:gd name="T42" fmla="*/ 58 w 187"/>
              <a:gd name="T43" fmla="*/ 175 h 212"/>
              <a:gd name="T44" fmla="*/ 66 w 187"/>
              <a:gd name="T45" fmla="*/ 167 h 212"/>
              <a:gd name="T46" fmla="*/ 79 w 187"/>
              <a:gd name="T47" fmla="*/ 172 h 212"/>
              <a:gd name="T48" fmla="*/ 86 w 187"/>
              <a:gd name="T49" fmla="*/ 162 h 212"/>
              <a:gd name="T50" fmla="*/ 86 w 187"/>
              <a:gd name="T51" fmla="*/ 162 h 212"/>
              <a:gd name="T52" fmla="*/ 91 w 187"/>
              <a:gd name="T53" fmla="*/ 162 h 212"/>
              <a:gd name="T54" fmla="*/ 91 w 187"/>
              <a:gd name="T55" fmla="*/ 162 h 212"/>
              <a:gd name="T56" fmla="*/ 109 w 187"/>
              <a:gd name="T57" fmla="*/ 193 h 212"/>
              <a:gd name="T58" fmla="*/ 118 w 187"/>
              <a:gd name="T59" fmla="*/ 208 h 212"/>
              <a:gd name="T60" fmla="*/ 129 w 187"/>
              <a:gd name="T61" fmla="*/ 212 h 212"/>
              <a:gd name="T62" fmla="*/ 135 w 187"/>
              <a:gd name="T63" fmla="*/ 204 h 212"/>
              <a:gd name="T64" fmla="*/ 140 w 187"/>
              <a:gd name="T65" fmla="*/ 196 h 212"/>
              <a:gd name="T66" fmla="*/ 173 w 187"/>
              <a:gd name="T67" fmla="*/ 170 h 212"/>
              <a:gd name="T68" fmla="*/ 173 w 187"/>
              <a:gd name="T69" fmla="*/ 165 h 212"/>
              <a:gd name="T70" fmla="*/ 173 w 187"/>
              <a:gd name="T71" fmla="*/ 165 h 212"/>
              <a:gd name="T72" fmla="*/ 167 w 187"/>
              <a:gd name="T73" fmla="*/ 165 h 212"/>
              <a:gd name="T74" fmla="*/ 167 w 187"/>
              <a:gd name="T75" fmla="*/ 165 h 212"/>
              <a:gd name="T76" fmla="*/ 161 w 187"/>
              <a:gd name="T77" fmla="*/ 169 h 212"/>
              <a:gd name="T78" fmla="*/ 157 w 187"/>
              <a:gd name="T79" fmla="*/ 164 h 212"/>
              <a:gd name="T80" fmla="*/ 156 w 187"/>
              <a:gd name="T81" fmla="*/ 161 h 212"/>
              <a:gd name="T82" fmla="*/ 156 w 187"/>
              <a:gd name="T83" fmla="*/ 161 h 212"/>
              <a:gd name="T84" fmla="*/ 155 w 187"/>
              <a:gd name="T85" fmla="*/ 156 h 212"/>
              <a:gd name="T86" fmla="*/ 155 w 187"/>
              <a:gd name="T87" fmla="*/ 156 h 212"/>
              <a:gd name="T88" fmla="*/ 138 w 187"/>
              <a:gd name="T89" fmla="*/ 137 h 212"/>
              <a:gd name="T90" fmla="*/ 141 w 187"/>
              <a:gd name="T91" fmla="*/ 118 h 212"/>
              <a:gd name="T92" fmla="*/ 131 w 187"/>
              <a:gd name="T93" fmla="*/ 102 h 212"/>
              <a:gd name="T94" fmla="*/ 149 w 187"/>
              <a:gd name="T95" fmla="*/ 89 h 212"/>
              <a:gd name="T96" fmla="*/ 165 w 187"/>
              <a:gd name="T97" fmla="*/ 92 h 212"/>
              <a:gd name="T98" fmla="*/ 172 w 187"/>
              <a:gd name="T99" fmla="*/ 75 h 212"/>
              <a:gd name="T100" fmla="*/ 172 w 187"/>
              <a:gd name="T101" fmla="*/ 60 h 212"/>
              <a:gd name="T102" fmla="*/ 187 w 187"/>
              <a:gd name="T103" fmla="*/ 32 h 212"/>
              <a:gd name="T104" fmla="*/ 179 w 187"/>
              <a:gd name="T105" fmla="*/ 11 h 212"/>
              <a:gd name="T106" fmla="*/ 173 w 187"/>
              <a:gd name="T107" fmla="*/ 9 h 212"/>
              <a:gd name="T108" fmla="*/ 173 w 187"/>
              <a:gd name="T109" fmla="*/ 9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7" h="212">
                <a:moveTo>
                  <a:pt x="173" y="9"/>
                </a:moveTo>
                <a:cubicBezTo>
                  <a:pt x="167" y="9"/>
                  <a:pt x="163" y="12"/>
                  <a:pt x="156" y="12"/>
                </a:cubicBezTo>
                <a:cubicBezTo>
                  <a:pt x="143" y="12"/>
                  <a:pt x="141" y="0"/>
                  <a:pt x="129" y="0"/>
                </a:cubicBezTo>
                <a:cubicBezTo>
                  <a:pt x="122" y="0"/>
                  <a:pt x="127" y="5"/>
                  <a:pt x="125" y="11"/>
                </a:cubicBezTo>
                <a:cubicBezTo>
                  <a:pt x="120" y="18"/>
                  <a:pt x="111" y="17"/>
                  <a:pt x="101" y="17"/>
                </a:cubicBezTo>
                <a:cubicBezTo>
                  <a:pt x="101" y="23"/>
                  <a:pt x="104" y="25"/>
                  <a:pt x="104" y="30"/>
                </a:cubicBezTo>
                <a:cubicBezTo>
                  <a:pt x="95" y="31"/>
                  <a:pt x="93" y="26"/>
                  <a:pt x="87" y="30"/>
                </a:cubicBezTo>
                <a:cubicBezTo>
                  <a:pt x="87" y="34"/>
                  <a:pt x="87" y="34"/>
                  <a:pt x="87" y="37"/>
                </a:cubicBezTo>
                <a:cubicBezTo>
                  <a:pt x="87" y="46"/>
                  <a:pt x="79" y="60"/>
                  <a:pt x="66" y="60"/>
                </a:cubicBezTo>
                <a:cubicBezTo>
                  <a:pt x="56" y="60"/>
                  <a:pt x="52" y="41"/>
                  <a:pt x="39" y="41"/>
                </a:cubicBezTo>
                <a:cubicBezTo>
                  <a:pt x="38" y="41"/>
                  <a:pt x="37" y="44"/>
                  <a:pt x="34" y="44"/>
                </a:cubicBezTo>
                <a:cubicBezTo>
                  <a:pt x="28" y="44"/>
                  <a:pt x="26" y="37"/>
                  <a:pt x="20" y="37"/>
                </a:cubicBezTo>
                <a:cubicBezTo>
                  <a:pt x="12" y="37"/>
                  <a:pt x="4" y="47"/>
                  <a:pt x="0" y="52"/>
                </a:cubicBezTo>
                <a:cubicBezTo>
                  <a:pt x="10" y="60"/>
                  <a:pt x="21" y="60"/>
                  <a:pt x="24" y="63"/>
                </a:cubicBezTo>
                <a:cubicBezTo>
                  <a:pt x="37" y="73"/>
                  <a:pt x="31" y="78"/>
                  <a:pt x="8" y="74"/>
                </a:cubicBezTo>
                <a:cubicBezTo>
                  <a:pt x="8" y="78"/>
                  <a:pt x="7" y="85"/>
                  <a:pt x="8" y="91"/>
                </a:cubicBezTo>
                <a:cubicBezTo>
                  <a:pt x="20" y="90"/>
                  <a:pt x="40" y="97"/>
                  <a:pt x="40" y="107"/>
                </a:cubicBezTo>
                <a:cubicBezTo>
                  <a:pt x="40" y="114"/>
                  <a:pt x="32" y="117"/>
                  <a:pt x="32" y="128"/>
                </a:cubicBezTo>
                <a:cubicBezTo>
                  <a:pt x="32" y="139"/>
                  <a:pt x="45" y="141"/>
                  <a:pt x="45" y="150"/>
                </a:cubicBezTo>
                <a:cubicBezTo>
                  <a:pt x="45" y="156"/>
                  <a:pt x="43" y="161"/>
                  <a:pt x="43" y="167"/>
                </a:cubicBezTo>
                <a:cubicBezTo>
                  <a:pt x="43" y="166"/>
                  <a:pt x="44" y="167"/>
                  <a:pt x="47" y="167"/>
                </a:cubicBezTo>
                <a:cubicBezTo>
                  <a:pt x="52" y="167"/>
                  <a:pt x="54" y="170"/>
                  <a:pt x="58" y="175"/>
                </a:cubicBezTo>
                <a:cubicBezTo>
                  <a:pt x="58" y="170"/>
                  <a:pt x="63" y="167"/>
                  <a:pt x="66" y="167"/>
                </a:cubicBezTo>
                <a:cubicBezTo>
                  <a:pt x="71" y="167"/>
                  <a:pt x="74" y="172"/>
                  <a:pt x="79" y="172"/>
                </a:cubicBezTo>
                <a:cubicBezTo>
                  <a:pt x="84" y="172"/>
                  <a:pt x="84" y="166"/>
                  <a:pt x="86" y="162"/>
                </a:cubicBezTo>
                <a:cubicBezTo>
                  <a:pt x="86" y="162"/>
                  <a:pt x="86" y="162"/>
                  <a:pt x="86" y="162"/>
                </a:cubicBezTo>
                <a:cubicBezTo>
                  <a:pt x="91" y="162"/>
                  <a:pt x="91" y="162"/>
                  <a:pt x="91" y="162"/>
                </a:cubicBezTo>
                <a:cubicBezTo>
                  <a:pt x="91" y="162"/>
                  <a:pt x="91" y="162"/>
                  <a:pt x="91" y="162"/>
                </a:cubicBezTo>
                <a:cubicBezTo>
                  <a:pt x="91" y="177"/>
                  <a:pt x="106" y="183"/>
                  <a:pt x="109" y="193"/>
                </a:cubicBezTo>
                <a:cubicBezTo>
                  <a:pt x="112" y="201"/>
                  <a:pt x="109" y="208"/>
                  <a:pt x="118" y="208"/>
                </a:cubicBezTo>
                <a:cubicBezTo>
                  <a:pt x="123" y="208"/>
                  <a:pt x="125" y="212"/>
                  <a:pt x="129" y="212"/>
                </a:cubicBezTo>
                <a:cubicBezTo>
                  <a:pt x="134" y="212"/>
                  <a:pt x="135" y="209"/>
                  <a:pt x="135" y="204"/>
                </a:cubicBezTo>
                <a:cubicBezTo>
                  <a:pt x="138" y="202"/>
                  <a:pt x="135" y="197"/>
                  <a:pt x="140" y="196"/>
                </a:cubicBezTo>
                <a:cubicBezTo>
                  <a:pt x="156" y="189"/>
                  <a:pt x="173" y="189"/>
                  <a:pt x="173" y="170"/>
                </a:cubicBezTo>
                <a:cubicBezTo>
                  <a:pt x="173" y="169"/>
                  <a:pt x="173" y="167"/>
                  <a:pt x="173" y="165"/>
                </a:cubicBezTo>
                <a:cubicBezTo>
                  <a:pt x="173" y="165"/>
                  <a:pt x="173" y="165"/>
                  <a:pt x="173" y="165"/>
                </a:cubicBezTo>
                <a:cubicBezTo>
                  <a:pt x="167" y="165"/>
                  <a:pt x="167" y="165"/>
                  <a:pt x="167" y="165"/>
                </a:cubicBezTo>
                <a:cubicBezTo>
                  <a:pt x="167" y="165"/>
                  <a:pt x="167" y="165"/>
                  <a:pt x="167" y="165"/>
                </a:cubicBezTo>
                <a:cubicBezTo>
                  <a:pt x="165" y="167"/>
                  <a:pt x="166" y="169"/>
                  <a:pt x="161" y="169"/>
                </a:cubicBezTo>
                <a:cubicBezTo>
                  <a:pt x="157" y="169"/>
                  <a:pt x="157" y="165"/>
                  <a:pt x="157" y="164"/>
                </a:cubicBezTo>
                <a:cubicBezTo>
                  <a:pt x="157" y="164"/>
                  <a:pt x="156" y="165"/>
                  <a:pt x="156" y="161"/>
                </a:cubicBezTo>
                <a:cubicBezTo>
                  <a:pt x="156" y="161"/>
                  <a:pt x="156" y="161"/>
                  <a:pt x="156" y="161"/>
                </a:cubicBezTo>
                <a:cubicBezTo>
                  <a:pt x="155" y="156"/>
                  <a:pt x="155" y="156"/>
                  <a:pt x="155" y="156"/>
                </a:cubicBezTo>
                <a:cubicBezTo>
                  <a:pt x="155" y="156"/>
                  <a:pt x="155" y="156"/>
                  <a:pt x="155" y="156"/>
                </a:cubicBezTo>
                <a:cubicBezTo>
                  <a:pt x="149" y="156"/>
                  <a:pt x="138" y="144"/>
                  <a:pt x="138" y="137"/>
                </a:cubicBezTo>
                <a:cubicBezTo>
                  <a:pt x="138" y="129"/>
                  <a:pt x="141" y="125"/>
                  <a:pt x="141" y="118"/>
                </a:cubicBezTo>
                <a:cubicBezTo>
                  <a:pt x="141" y="110"/>
                  <a:pt x="131" y="108"/>
                  <a:pt x="131" y="102"/>
                </a:cubicBezTo>
                <a:cubicBezTo>
                  <a:pt x="131" y="96"/>
                  <a:pt x="143" y="89"/>
                  <a:pt x="149" y="89"/>
                </a:cubicBezTo>
                <a:cubicBezTo>
                  <a:pt x="155" y="89"/>
                  <a:pt x="159" y="92"/>
                  <a:pt x="165" y="92"/>
                </a:cubicBezTo>
                <a:cubicBezTo>
                  <a:pt x="175" y="92"/>
                  <a:pt x="172" y="84"/>
                  <a:pt x="172" y="75"/>
                </a:cubicBezTo>
                <a:cubicBezTo>
                  <a:pt x="172" y="73"/>
                  <a:pt x="172" y="65"/>
                  <a:pt x="172" y="60"/>
                </a:cubicBezTo>
                <a:cubicBezTo>
                  <a:pt x="172" y="47"/>
                  <a:pt x="187" y="48"/>
                  <a:pt x="187" y="32"/>
                </a:cubicBezTo>
                <a:cubicBezTo>
                  <a:pt x="187" y="23"/>
                  <a:pt x="179" y="18"/>
                  <a:pt x="179" y="11"/>
                </a:cubicBezTo>
                <a:cubicBezTo>
                  <a:pt x="179" y="11"/>
                  <a:pt x="176" y="9"/>
                  <a:pt x="173" y="9"/>
                </a:cubicBezTo>
                <a:cubicBezTo>
                  <a:pt x="173" y="9"/>
                  <a:pt x="173" y="9"/>
                  <a:pt x="173" y="9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3" name="Freeform 75"/>
          <p:cNvSpPr>
            <a:spLocks/>
          </p:cNvSpPr>
          <p:nvPr/>
        </p:nvSpPr>
        <p:spPr bwMode="auto">
          <a:xfrm>
            <a:off x="4767266" y="3296354"/>
            <a:ext cx="461916" cy="618685"/>
          </a:xfrm>
          <a:custGeom>
            <a:avLst/>
            <a:gdLst>
              <a:gd name="T0" fmla="*/ 68 w 102"/>
              <a:gd name="T1" fmla="*/ 136 h 136"/>
              <a:gd name="T2" fmla="*/ 94 w 102"/>
              <a:gd name="T3" fmla="*/ 93 h 136"/>
              <a:gd name="T4" fmla="*/ 91 w 102"/>
              <a:gd name="T5" fmla="*/ 85 h 136"/>
              <a:gd name="T6" fmla="*/ 100 w 102"/>
              <a:gd name="T7" fmla="*/ 75 h 136"/>
              <a:gd name="T8" fmla="*/ 91 w 102"/>
              <a:gd name="T9" fmla="*/ 68 h 136"/>
              <a:gd name="T10" fmla="*/ 96 w 102"/>
              <a:gd name="T11" fmla="*/ 62 h 136"/>
              <a:gd name="T12" fmla="*/ 95 w 102"/>
              <a:gd name="T13" fmla="*/ 56 h 136"/>
              <a:gd name="T14" fmla="*/ 102 w 102"/>
              <a:gd name="T15" fmla="*/ 42 h 136"/>
              <a:gd name="T16" fmla="*/ 55 w 102"/>
              <a:gd name="T17" fmla="*/ 27 h 136"/>
              <a:gd name="T18" fmla="*/ 37 w 102"/>
              <a:gd name="T19" fmla="*/ 9 h 136"/>
              <a:gd name="T20" fmla="*/ 28 w 102"/>
              <a:gd name="T21" fmla="*/ 9 h 136"/>
              <a:gd name="T22" fmla="*/ 19 w 102"/>
              <a:gd name="T23" fmla="*/ 0 h 136"/>
              <a:gd name="T24" fmla="*/ 11 w 102"/>
              <a:gd name="T25" fmla="*/ 14 h 136"/>
              <a:gd name="T26" fmla="*/ 0 w 102"/>
              <a:gd name="T27" fmla="*/ 26 h 136"/>
              <a:gd name="T28" fmla="*/ 14 w 102"/>
              <a:gd name="T29" fmla="*/ 40 h 136"/>
              <a:gd name="T30" fmla="*/ 20 w 102"/>
              <a:gd name="T31" fmla="*/ 61 h 136"/>
              <a:gd name="T32" fmla="*/ 41 w 102"/>
              <a:gd name="T33" fmla="*/ 70 h 136"/>
              <a:gd name="T34" fmla="*/ 41 w 102"/>
              <a:gd name="T35" fmla="*/ 84 h 136"/>
              <a:gd name="T36" fmla="*/ 42 w 102"/>
              <a:gd name="T37" fmla="*/ 100 h 136"/>
              <a:gd name="T38" fmla="*/ 54 w 102"/>
              <a:gd name="T39" fmla="*/ 109 h 136"/>
              <a:gd name="T40" fmla="*/ 68 w 102"/>
              <a:gd name="T41" fmla="*/ 136 h 136"/>
              <a:gd name="T42" fmla="*/ 68 w 102"/>
              <a:gd name="T43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2" h="136">
                <a:moveTo>
                  <a:pt x="68" y="136"/>
                </a:moveTo>
                <a:cubicBezTo>
                  <a:pt x="68" y="115"/>
                  <a:pt x="94" y="111"/>
                  <a:pt x="94" y="93"/>
                </a:cubicBezTo>
                <a:cubicBezTo>
                  <a:pt x="94" y="89"/>
                  <a:pt x="91" y="88"/>
                  <a:pt x="91" y="85"/>
                </a:cubicBezTo>
                <a:cubicBezTo>
                  <a:pt x="91" y="83"/>
                  <a:pt x="98" y="80"/>
                  <a:pt x="100" y="75"/>
                </a:cubicBezTo>
                <a:cubicBezTo>
                  <a:pt x="98" y="75"/>
                  <a:pt x="91" y="68"/>
                  <a:pt x="91" y="68"/>
                </a:cubicBezTo>
                <a:cubicBezTo>
                  <a:pt x="91" y="64"/>
                  <a:pt x="94" y="64"/>
                  <a:pt x="96" y="62"/>
                </a:cubicBezTo>
                <a:cubicBezTo>
                  <a:pt x="96" y="59"/>
                  <a:pt x="95" y="58"/>
                  <a:pt x="95" y="56"/>
                </a:cubicBezTo>
                <a:cubicBezTo>
                  <a:pt x="95" y="54"/>
                  <a:pt x="98" y="50"/>
                  <a:pt x="102" y="42"/>
                </a:cubicBezTo>
                <a:cubicBezTo>
                  <a:pt x="87" y="35"/>
                  <a:pt x="73" y="35"/>
                  <a:pt x="55" y="27"/>
                </a:cubicBezTo>
                <a:cubicBezTo>
                  <a:pt x="47" y="25"/>
                  <a:pt x="47" y="9"/>
                  <a:pt x="37" y="9"/>
                </a:cubicBezTo>
                <a:cubicBezTo>
                  <a:pt x="32" y="9"/>
                  <a:pt x="30" y="9"/>
                  <a:pt x="28" y="9"/>
                </a:cubicBezTo>
                <a:cubicBezTo>
                  <a:pt x="22" y="9"/>
                  <a:pt x="22" y="4"/>
                  <a:pt x="19" y="0"/>
                </a:cubicBezTo>
                <a:cubicBezTo>
                  <a:pt x="14" y="4"/>
                  <a:pt x="14" y="10"/>
                  <a:pt x="11" y="14"/>
                </a:cubicBezTo>
                <a:cubicBezTo>
                  <a:pt x="9" y="19"/>
                  <a:pt x="0" y="20"/>
                  <a:pt x="0" y="26"/>
                </a:cubicBezTo>
                <a:cubicBezTo>
                  <a:pt x="0" y="38"/>
                  <a:pt x="10" y="35"/>
                  <a:pt x="14" y="40"/>
                </a:cubicBezTo>
                <a:cubicBezTo>
                  <a:pt x="19" y="48"/>
                  <a:pt x="14" y="56"/>
                  <a:pt x="20" y="61"/>
                </a:cubicBezTo>
                <a:cubicBezTo>
                  <a:pt x="25" y="64"/>
                  <a:pt x="41" y="64"/>
                  <a:pt x="41" y="70"/>
                </a:cubicBezTo>
                <a:cubicBezTo>
                  <a:pt x="41" y="74"/>
                  <a:pt x="41" y="82"/>
                  <a:pt x="41" y="84"/>
                </a:cubicBezTo>
                <a:cubicBezTo>
                  <a:pt x="41" y="90"/>
                  <a:pt x="38" y="94"/>
                  <a:pt x="42" y="100"/>
                </a:cubicBezTo>
                <a:cubicBezTo>
                  <a:pt x="44" y="106"/>
                  <a:pt x="52" y="102"/>
                  <a:pt x="54" y="109"/>
                </a:cubicBezTo>
                <a:cubicBezTo>
                  <a:pt x="59" y="118"/>
                  <a:pt x="68" y="136"/>
                  <a:pt x="68" y="136"/>
                </a:cubicBezTo>
                <a:cubicBezTo>
                  <a:pt x="68" y="136"/>
                  <a:pt x="68" y="136"/>
                  <a:pt x="68" y="136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4" name="Freeform 77"/>
          <p:cNvSpPr>
            <a:spLocks/>
          </p:cNvSpPr>
          <p:nvPr/>
        </p:nvSpPr>
        <p:spPr bwMode="auto">
          <a:xfrm>
            <a:off x="6852878" y="2492904"/>
            <a:ext cx="1061003" cy="1256965"/>
          </a:xfrm>
          <a:custGeom>
            <a:avLst/>
            <a:gdLst>
              <a:gd name="T0" fmla="*/ 209 w 234"/>
              <a:gd name="T1" fmla="*/ 102 h 277"/>
              <a:gd name="T2" fmla="*/ 234 w 234"/>
              <a:gd name="T3" fmla="*/ 132 h 277"/>
              <a:gd name="T4" fmla="*/ 208 w 234"/>
              <a:gd name="T5" fmla="*/ 165 h 277"/>
              <a:gd name="T6" fmla="*/ 208 w 234"/>
              <a:gd name="T7" fmla="*/ 190 h 277"/>
              <a:gd name="T8" fmla="*/ 208 w 234"/>
              <a:gd name="T9" fmla="*/ 190 h 277"/>
              <a:gd name="T10" fmla="*/ 207 w 234"/>
              <a:gd name="T11" fmla="*/ 192 h 277"/>
              <a:gd name="T12" fmla="*/ 207 w 234"/>
              <a:gd name="T13" fmla="*/ 192 h 277"/>
              <a:gd name="T14" fmla="*/ 195 w 234"/>
              <a:gd name="T15" fmla="*/ 206 h 277"/>
              <a:gd name="T16" fmla="*/ 154 w 234"/>
              <a:gd name="T17" fmla="*/ 181 h 277"/>
              <a:gd name="T18" fmla="*/ 124 w 234"/>
              <a:gd name="T19" fmla="*/ 217 h 277"/>
              <a:gd name="T20" fmla="*/ 116 w 234"/>
              <a:gd name="T21" fmla="*/ 212 h 277"/>
              <a:gd name="T22" fmla="*/ 106 w 234"/>
              <a:gd name="T23" fmla="*/ 217 h 277"/>
              <a:gd name="T24" fmla="*/ 102 w 234"/>
              <a:gd name="T25" fmla="*/ 239 h 277"/>
              <a:gd name="T26" fmla="*/ 86 w 234"/>
              <a:gd name="T27" fmla="*/ 262 h 277"/>
              <a:gd name="T28" fmla="*/ 86 w 234"/>
              <a:gd name="T29" fmla="*/ 277 h 277"/>
              <a:gd name="T30" fmla="*/ 65 w 234"/>
              <a:gd name="T31" fmla="*/ 238 h 277"/>
              <a:gd name="T32" fmla="*/ 71 w 234"/>
              <a:gd name="T33" fmla="*/ 225 h 277"/>
              <a:gd name="T34" fmla="*/ 67 w 234"/>
              <a:gd name="T35" fmla="*/ 214 h 277"/>
              <a:gd name="T36" fmla="*/ 67 w 234"/>
              <a:gd name="T37" fmla="*/ 206 h 277"/>
              <a:gd name="T38" fmla="*/ 59 w 234"/>
              <a:gd name="T39" fmla="*/ 193 h 277"/>
              <a:gd name="T40" fmla="*/ 54 w 234"/>
              <a:gd name="T41" fmla="*/ 193 h 277"/>
              <a:gd name="T42" fmla="*/ 47 w 234"/>
              <a:gd name="T43" fmla="*/ 186 h 277"/>
              <a:gd name="T44" fmla="*/ 25 w 234"/>
              <a:gd name="T45" fmla="*/ 181 h 277"/>
              <a:gd name="T46" fmla="*/ 9 w 234"/>
              <a:gd name="T47" fmla="*/ 172 h 277"/>
              <a:gd name="T48" fmla="*/ 0 w 234"/>
              <a:gd name="T49" fmla="*/ 164 h 277"/>
              <a:gd name="T50" fmla="*/ 20 w 234"/>
              <a:gd name="T51" fmla="*/ 145 h 277"/>
              <a:gd name="T52" fmla="*/ 31 w 234"/>
              <a:gd name="T53" fmla="*/ 150 h 277"/>
              <a:gd name="T54" fmla="*/ 46 w 234"/>
              <a:gd name="T55" fmla="*/ 144 h 277"/>
              <a:gd name="T56" fmla="*/ 46 w 234"/>
              <a:gd name="T57" fmla="*/ 144 h 277"/>
              <a:gd name="T58" fmla="*/ 46 w 234"/>
              <a:gd name="T59" fmla="*/ 138 h 277"/>
              <a:gd name="T60" fmla="*/ 46 w 234"/>
              <a:gd name="T61" fmla="*/ 138 h 277"/>
              <a:gd name="T62" fmla="*/ 25 w 234"/>
              <a:gd name="T63" fmla="*/ 111 h 277"/>
              <a:gd name="T64" fmla="*/ 31 w 234"/>
              <a:gd name="T65" fmla="*/ 106 h 277"/>
              <a:gd name="T66" fmla="*/ 40 w 234"/>
              <a:gd name="T67" fmla="*/ 96 h 277"/>
              <a:gd name="T68" fmla="*/ 78 w 234"/>
              <a:gd name="T69" fmla="*/ 89 h 277"/>
              <a:gd name="T70" fmla="*/ 89 w 234"/>
              <a:gd name="T71" fmla="*/ 35 h 277"/>
              <a:gd name="T72" fmla="*/ 117 w 234"/>
              <a:gd name="T73" fmla="*/ 3 h 277"/>
              <a:gd name="T74" fmla="*/ 135 w 234"/>
              <a:gd name="T75" fmla="*/ 6 h 277"/>
              <a:gd name="T76" fmla="*/ 140 w 234"/>
              <a:gd name="T77" fmla="*/ 27 h 277"/>
              <a:gd name="T78" fmla="*/ 126 w 234"/>
              <a:gd name="T79" fmla="*/ 63 h 277"/>
              <a:gd name="T80" fmla="*/ 117 w 234"/>
              <a:gd name="T81" fmla="*/ 75 h 277"/>
              <a:gd name="T82" fmla="*/ 126 w 234"/>
              <a:gd name="T83" fmla="*/ 83 h 277"/>
              <a:gd name="T84" fmla="*/ 126 w 234"/>
              <a:gd name="T85" fmla="*/ 83 h 277"/>
              <a:gd name="T86" fmla="*/ 119 w 234"/>
              <a:gd name="T87" fmla="*/ 97 h 277"/>
              <a:gd name="T88" fmla="*/ 119 w 234"/>
              <a:gd name="T89" fmla="*/ 97 h 277"/>
              <a:gd name="T90" fmla="*/ 132 w 234"/>
              <a:gd name="T91" fmla="*/ 115 h 277"/>
              <a:gd name="T92" fmla="*/ 154 w 234"/>
              <a:gd name="T93" fmla="*/ 100 h 277"/>
              <a:gd name="T94" fmla="*/ 169 w 234"/>
              <a:gd name="T95" fmla="*/ 102 h 277"/>
              <a:gd name="T96" fmla="*/ 181 w 234"/>
              <a:gd name="T97" fmla="*/ 99 h 277"/>
              <a:gd name="T98" fmla="*/ 187 w 234"/>
              <a:gd name="T99" fmla="*/ 110 h 277"/>
              <a:gd name="T100" fmla="*/ 203 w 234"/>
              <a:gd name="T101" fmla="*/ 102 h 277"/>
              <a:gd name="T102" fmla="*/ 203 w 234"/>
              <a:gd name="T103" fmla="*/ 102 h 277"/>
              <a:gd name="T104" fmla="*/ 209 w 234"/>
              <a:gd name="T105" fmla="*/ 102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4" h="277">
                <a:moveTo>
                  <a:pt x="209" y="102"/>
                </a:moveTo>
                <a:cubicBezTo>
                  <a:pt x="211" y="120"/>
                  <a:pt x="234" y="116"/>
                  <a:pt x="234" y="132"/>
                </a:cubicBezTo>
                <a:cubicBezTo>
                  <a:pt x="234" y="149"/>
                  <a:pt x="208" y="148"/>
                  <a:pt x="208" y="165"/>
                </a:cubicBezTo>
                <a:cubicBezTo>
                  <a:pt x="208" y="174"/>
                  <a:pt x="208" y="180"/>
                  <a:pt x="208" y="190"/>
                </a:cubicBezTo>
                <a:cubicBezTo>
                  <a:pt x="208" y="190"/>
                  <a:pt x="208" y="190"/>
                  <a:pt x="208" y="190"/>
                </a:cubicBezTo>
                <a:cubicBezTo>
                  <a:pt x="207" y="192"/>
                  <a:pt x="207" y="192"/>
                  <a:pt x="207" y="192"/>
                </a:cubicBezTo>
                <a:cubicBezTo>
                  <a:pt x="207" y="192"/>
                  <a:pt x="207" y="192"/>
                  <a:pt x="207" y="192"/>
                </a:cubicBezTo>
                <a:cubicBezTo>
                  <a:pt x="202" y="193"/>
                  <a:pt x="197" y="198"/>
                  <a:pt x="195" y="206"/>
                </a:cubicBezTo>
                <a:cubicBezTo>
                  <a:pt x="185" y="201"/>
                  <a:pt x="164" y="181"/>
                  <a:pt x="154" y="181"/>
                </a:cubicBezTo>
                <a:cubicBezTo>
                  <a:pt x="138" y="181"/>
                  <a:pt x="142" y="217"/>
                  <a:pt x="124" y="217"/>
                </a:cubicBezTo>
                <a:cubicBezTo>
                  <a:pt x="119" y="217"/>
                  <a:pt x="121" y="212"/>
                  <a:pt x="116" y="212"/>
                </a:cubicBezTo>
                <a:cubicBezTo>
                  <a:pt x="115" y="212"/>
                  <a:pt x="106" y="215"/>
                  <a:pt x="106" y="217"/>
                </a:cubicBezTo>
                <a:cubicBezTo>
                  <a:pt x="103" y="222"/>
                  <a:pt x="105" y="231"/>
                  <a:pt x="102" y="239"/>
                </a:cubicBezTo>
                <a:cubicBezTo>
                  <a:pt x="100" y="249"/>
                  <a:pt x="86" y="247"/>
                  <a:pt x="86" y="262"/>
                </a:cubicBezTo>
                <a:cubicBezTo>
                  <a:pt x="86" y="267"/>
                  <a:pt x="87" y="271"/>
                  <a:pt x="86" y="277"/>
                </a:cubicBezTo>
                <a:cubicBezTo>
                  <a:pt x="78" y="275"/>
                  <a:pt x="65" y="245"/>
                  <a:pt x="65" y="238"/>
                </a:cubicBezTo>
                <a:cubicBezTo>
                  <a:pt x="65" y="231"/>
                  <a:pt x="71" y="229"/>
                  <a:pt x="71" y="225"/>
                </a:cubicBezTo>
                <a:cubicBezTo>
                  <a:pt x="71" y="222"/>
                  <a:pt x="67" y="217"/>
                  <a:pt x="67" y="214"/>
                </a:cubicBezTo>
                <a:cubicBezTo>
                  <a:pt x="67" y="212"/>
                  <a:pt x="67" y="211"/>
                  <a:pt x="67" y="206"/>
                </a:cubicBezTo>
                <a:cubicBezTo>
                  <a:pt x="58" y="206"/>
                  <a:pt x="63" y="196"/>
                  <a:pt x="59" y="193"/>
                </a:cubicBezTo>
                <a:cubicBezTo>
                  <a:pt x="58" y="193"/>
                  <a:pt x="56" y="193"/>
                  <a:pt x="54" y="193"/>
                </a:cubicBezTo>
                <a:cubicBezTo>
                  <a:pt x="51" y="193"/>
                  <a:pt x="51" y="188"/>
                  <a:pt x="47" y="186"/>
                </a:cubicBezTo>
                <a:cubicBezTo>
                  <a:pt x="42" y="181"/>
                  <a:pt x="33" y="185"/>
                  <a:pt x="25" y="181"/>
                </a:cubicBezTo>
                <a:cubicBezTo>
                  <a:pt x="17" y="180"/>
                  <a:pt x="17" y="176"/>
                  <a:pt x="9" y="172"/>
                </a:cubicBezTo>
                <a:cubicBezTo>
                  <a:pt x="6" y="172"/>
                  <a:pt x="0" y="166"/>
                  <a:pt x="0" y="164"/>
                </a:cubicBezTo>
                <a:cubicBezTo>
                  <a:pt x="0" y="158"/>
                  <a:pt x="11" y="145"/>
                  <a:pt x="20" y="145"/>
                </a:cubicBezTo>
                <a:cubicBezTo>
                  <a:pt x="25" y="145"/>
                  <a:pt x="26" y="150"/>
                  <a:pt x="31" y="150"/>
                </a:cubicBezTo>
                <a:cubicBezTo>
                  <a:pt x="36" y="150"/>
                  <a:pt x="38" y="144"/>
                  <a:pt x="46" y="144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46" y="138"/>
                  <a:pt x="46" y="138"/>
                  <a:pt x="46" y="138"/>
                </a:cubicBezTo>
                <a:cubicBezTo>
                  <a:pt x="46" y="138"/>
                  <a:pt x="46" y="138"/>
                  <a:pt x="46" y="138"/>
                </a:cubicBezTo>
                <a:cubicBezTo>
                  <a:pt x="42" y="134"/>
                  <a:pt x="25" y="113"/>
                  <a:pt x="25" y="111"/>
                </a:cubicBezTo>
                <a:cubicBezTo>
                  <a:pt x="25" y="110"/>
                  <a:pt x="28" y="107"/>
                  <a:pt x="31" y="106"/>
                </a:cubicBezTo>
                <a:cubicBezTo>
                  <a:pt x="35" y="104"/>
                  <a:pt x="35" y="97"/>
                  <a:pt x="40" y="96"/>
                </a:cubicBezTo>
                <a:cubicBezTo>
                  <a:pt x="47" y="95"/>
                  <a:pt x="78" y="104"/>
                  <a:pt x="78" y="89"/>
                </a:cubicBezTo>
                <a:cubicBezTo>
                  <a:pt x="78" y="67"/>
                  <a:pt x="86" y="57"/>
                  <a:pt x="89" y="35"/>
                </a:cubicBezTo>
                <a:cubicBezTo>
                  <a:pt x="99" y="22"/>
                  <a:pt x="107" y="10"/>
                  <a:pt x="117" y="3"/>
                </a:cubicBezTo>
                <a:cubicBezTo>
                  <a:pt x="119" y="10"/>
                  <a:pt x="132" y="0"/>
                  <a:pt x="135" y="6"/>
                </a:cubicBezTo>
                <a:cubicBezTo>
                  <a:pt x="142" y="14"/>
                  <a:pt x="137" y="22"/>
                  <a:pt x="140" y="27"/>
                </a:cubicBezTo>
                <a:cubicBezTo>
                  <a:pt x="132" y="37"/>
                  <a:pt x="131" y="54"/>
                  <a:pt x="126" y="63"/>
                </a:cubicBezTo>
                <a:cubicBezTo>
                  <a:pt x="123" y="68"/>
                  <a:pt x="117" y="68"/>
                  <a:pt x="117" y="75"/>
                </a:cubicBezTo>
                <a:cubicBezTo>
                  <a:pt x="117" y="80"/>
                  <a:pt x="123" y="81"/>
                  <a:pt x="126" y="83"/>
                </a:cubicBezTo>
                <a:cubicBezTo>
                  <a:pt x="126" y="83"/>
                  <a:pt x="126" y="83"/>
                  <a:pt x="126" y="83"/>
                </a:cubicBezTo>
                <a:cubicBezTo>
                  <a:pt x="119" y="97"/>
                  <a:pt x="119" y="97"/>
                  <a:pt x="119" y="97"/>
                </a:cubicBezTo>
                <a:cubicBezTo>
                  <a:pt x="119" y="97"/>
                  <a:pt x="119" y="97"/>
                  <a:pt x="119" y="97"/>
                </a:cubicBezTo>
                <a:cubicBezTo>
                  <a:pt x="126" y="101"/>
                  <a:pt x="123" y="115"/>
                  <a:pt x="132" y="115"/>
                </a:cubicBezTo>
                <a:cubicBezTo>
                  <a:pt x="139" y="115"/>
                  <a:pt x="142" y="100"/>
                  <a:pt x="154" y="100"/>
                </a:cubicBezTo>
                <a:cubicBezTo>
                  <a:pt x="159" y="100"/>
                  <a:pt x="163" y="102"/>
                  <a:pt x="169" y="102"/>
                </a:cubicBezTo>
                <a:cubicBezTo>
                  <a:pt x="175" y="102"/>
                  <a:pt x="176" y="100"/>
                  <a:pt x="181" y="99"/>
                </a:cubicBezTo>
                <a:cubicBezTo>
                  <a:pt x="181" y="104"/>
                  <a:pt x="182" y="110"/>
                  <a:pt x="187" y="110"/>
                </a:cubicBezTo>
                <a:cubicBezTo>
                  <a:pt x="193" y="110"/>
                  <a:pt x="196" y="102"/>
                  <a:pt x="203" y="102"/>
                </a:cubicBezTo>
                <a:cubicBezTo>
                  <a:pt x="203" y="102"/>
                  <a:pt x="203" y="102"/>
                  <a:pt x="203" y="102"/>
                </a:cubicBezTo>
                <a:cubicBezTo>
                  <a:pt x="209" y="102"/>
                  <a:pt x="209" y="102"/>
                  <a:pt x="209" y="102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5" name="Freeform 78"/>
          <p:cNvSpPr>
            <a:spLocks/>
          </p:cNvSpPr>
          <p:nvPr/>
        </p:nvSpPr>
        <p:spPr bwMode="auto">
          <a:xfrm>
            <a:off x="4781263" y="3038804"/>
            <a:ext cx="489910" cy="453517"/>
          </a:xfrm>
          <a:custGeom>
            <a:avLst/>
            <a:gdLst>
              <a:gd name="T0" fmla="*/ 104 w 108"/>
              <a:gd name="T1" fmla="*/ 75 h 100"/>
              <a:gd name="T2" fmla="*/ 107 w 108"/>
              <a:gd name="T3" fmla="*/ 83 h 100"/>
              <a:gd name="T4" fmla="*/ 108 w 108"/>
              <a:gd name="T5" fmla="*/ 86 h 100"/>
              <a:gd name="T6" fmla="*/ 100 w 108"/>
              <a:gd name="T7" fmla="*/ 100 h 100"/>
              <a:gd name="T8" fmla="*/ 52 w 108"/>
              <a:gd name="T9" fmla="*/ 84 h 100"/>
              <a:gd name="T10" fmla="*/ 34 w 108"/>
              <a:gd name="T11" fmla="*/ 66 h 100"/>
              <a:gd name="T12" fmla="*/ 25 w 108"/>
              <a:gd name="T13" fmla="*/ 66 h 100"/>
              <a:gd name="T14" fmla="*/ 14 w 108"/>
              <a:gd name="T15" fmla="*/ 59 h 100"/>
              <a:gd name="T16" fmla="*/ 12 w 108"/>
              <a:gd name="T17" fmla="*/ 43 h 100"/>
              <a:gd name="T18" fmla="*/ 0 w 108"/>
              <a:gd name="T19" fmla="*/ 25 h 100"/>
              <a:gd name="T20" fmla="*/ 16 w 108"/>
              <a:gd name="T21" fmla="*/ 8 h 100"/>
              <a:gd name="T22" fmla="*/ 19 w 108"/>
              <a:gd name="T23" fmla="*/ 12 h 100"/>
              <a:gd name="T24" fmla="*/ 32 w 108"/>
              <a:gd name="T25" fmla="*/ 0 h 100"/>
              <a:gd name="T26" fmla="*/ 36 w 108"/>
              <a:gd name="T27" fmla="*/ 2 h 100"/>
              <a:gd name="T28" fmla="*/ 51 w 108"/>
              <a:gd name="T29" fmla="*/ 0 h 100"/>
              <a:gd name="T30" fmla="*/ 71 w 108"/>
              <a:gd name="T31" fmla="*/ 22 h 100"/>
              <a:gd name="T32" fmla="*/ 86 w 108"/>
              <a:gd name="T33" fmla="*/ 29 h 100"/>
              <a:gd name="T34" fmla="*/ 102 w 108"/>
              <a:gd name="T35" fmla="*/ 73 h 100"/>
              <a:gd name="T36" fmla="*/ 102 w 108"/>
              <a:gd name="T37" fmla="*/ 73 h 100"/>
              <a:gd name="T38" fmla="*/ 104 w 108"/>
              <a:gd name="T39" fmla="*/ 75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8" h="100">
                <a:moveTo>
                  <a:pt x="104" y="75"/>
                </a:moveTo>
                <a:cubicBezTo>
                  <a:pt x="104" y="79"/>
                  <a:pt x="104" y="79"/>
                  <a:pt x="107" y="83"/>
                </a:cubicBezTo>
                <a:cubicBezTo>
                  <a:pt x="107" y="84"/>
                  <a:pt x="108" y="84"/>
                  <a:pt x="108" y="86"/>
                </a:cubicBezTo>
                <a:cubicBezTo>
                  <a:pt x="108" y="89"/>
                  <a:pt x="104" y="95"/>
                  <a:pt x="100" y="100"/>
                </a:cubicBezTo>
                <a:cubicBezTo>
                  <a:pt x="84" y="93"/>
                  <a:pt x="70" y="92"/>
                  <a:pt x="52" y="84"/>
                </a:cubicBezTo>
                <a:cubicBezTo>
                  <a:pt x="44" y="82"/>
                  <a:pt x="44" y="66"/>
                  <a:pt x="34" y="66"/>
                </a:cubicBezTo>
                <a:cubicBezTo>
                  <a:pt x="29" y="66"/>
                  <a:pt x="27" y="66"/>
                  <a:pt x="25" y="66"/>
                </a:cubicBezTo>
                <a:cubicBezTo>
                  <a:pt x="19" y="66"/>
                  <a:pt x="18" y="62"/>
                  <a:pt x="14" y="59"/>
                </a:cubicBezTo>
                <a:cubicBezTo>
                  <a:pt x="13" y="55"/>
                  <a:pt x="17" y="47"/>
                  <a:pt x="12" y="43"/>
                </a:cubicBezTo>
                <a:cubicBezTo>
                  <a:pt x="8" y="38"/>
                  <a:pt x="0" y="35"/>
                  <a:pt x="0" y="25"/>
                </a:cubicBezTo>
                <a:cubicBezTo>
                  <a:pt x="0" y="19"/>
                  <a:pt x="9" y="11"/>
                  <a:pt x="16" y="8"/>
                </a:cubicBezTo>
                <a:cubicBezTo>
                  <a:pt x="16" y="8"/>
                  <a:pt x="18" y="12"/>
                  <a:pt x="19" y="12"/>
                </a:cubicBezTo>
                <a:cubicBezTo>
                  <a:pt x="23" y="12"/>
                  <a:pt x="27" y="3"/>
                  <a:pt x="32" y="0"/>
                </a:cubicBezTo>
                <a:cubicBezTo>
                  <a:pt x="32" y="1"/>
                  <a:pt x="33" y="2"/>
                  <a:pt x="36" y="2"/>
                </a:cubicBezTo>
                <a:cubicBezTo>
                  <a:pt x="41" y="2"/>
                  <a:pt x="46" y="0"/>
                  <a:pt x="51" y="0"/>
                </a:cubicBezTo>
                <a:cubicBezTo>
                  <a:pt x="67" y="0"/>
                  <a:pt x="68" y="8"/>
                  <a:pt x="71" y="22"/>
                </a:cubicBezTo>
                <a:cubicBezTo>
                  <a:pt x="71" y="24"/>
                  <a:pt x="83" y="24"/>
                  <a:pt x="86" y="29"/>
                </a:cubicBezTo>
                <a:cubicBezTo>
                  <a:pt x="93" y="45"/>
                  <a:pt x="87" y="61"/>
                  <a:pt x="102" y="73"/>
                </a:cubicBezTo>
                <a:cubicBezTo>
                  <a:pt x="102" y="73"/>
                  <a:pt x="102" y="73"/>
                  <a:pt x="102" y="73"/>
                </a:cubicBezTo>
                <a:cubicBezTo>
                  <a:pt x="104" y="75"/>
                  <a:pt x="104" y="75"/>
                  <a:pt x="104" y="75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6" name="Freeform 87"/>
          <p:cNvSpPr>
            <a:spLocks/>
          </p:cNvSpPr>
          <p:nvPr/>
        </p:nvSpPr>
        <p:spPr bwMode="auto">
          <a:xfrm>
            <a:off x="7216808" y="3856251"/>
            <a:ext cx="893035" cy="1206575"/>
          </a:xfrm>
          <a:custGeom>
            <a:avLst/>
            <a:gdLst>
              <a:gd name="T0" fmla="*/ 107 w 197"/>
              <a:gd name="T1" fmla="*/ 240 h 266"/>
              <a:gd name="T2" fmla="*/ 122 w 197"/>
              <a:gd name="T3" fmla="*/ 217 h 266"/>
              <a:gd name="T4" fmla="*/ 133 w 197"/>
              <a:gd name="T5" fmla="*/ 187 h 266"/>
              <a:gd name="T6" fmla="*/ 156 w 197"/>
              <a:gd name="T7" fmla="*/ 173 h 266"/>
              <a:gd name="T8" fmla="*/ 166 w 197"/>
              <a:gd name="T9" fmla="*/ 176 h 266"/>
              <a:gd name="T10" fmla="*/ 183 w 197"/>
              <a:gd name="T11" fmla="*/ 142 h 266"/>
              <a:gd name="T12" fmla="*/ 183 w 197"/>
              <a:gd name="T13" fmla="*/ 142 h 266"/>
              <a:gd name="T14" fmla="*/ 177 w 197"/>
              <a:gd name="T15" fmla="*/ 142 h 266"/>
              <a:gd name="T16" fmla="*/ 177 w 197"/>
              <a:gd name="T17" fmla="*/ 142 h 266"/>
              <a:gd name="T18" fmla="*/ 155 w 197"/>
              <a:gd name="T19" fmla="*/ 147 h 266"/>
              <a:gd name="T20" fmla="*/ 137 w 197"/>
              <a:gd name="T21" fmla="*/ 142 h 266"/>
              <a:gd name="T22" fmla="*/ 117 w 197"/>
              <a:gd name="T23" fmla="*/ 112 h 266"/>
              <a:gd name="T24" fmla="*/ 133 w 197"/>
              <a:gd name="T25" fmla="*/ 96 h 266"/>
              <a:gd name="T26" fmla="*/ 145 w 197"/>
              <a:gd name="T27" fmla="*/ 102 h 266"/>
              <a:gd name="T28" fmla="*/ 138 w 197"/>
              <a:gd name="T29" fmla="*/ 115 h 266"/>
              <a:gd name="T30" fmla="*/ 149 w 197"/>
              <a:gd name="T31" fmla="*/ 115 h 266"/>
              <a:gd name="T32" fmla="*/ 158 w 197"/>
              <a:gd name="T33" fmla="*/ 125 h 266"/>
              <a:gd name="T34" fmla="*/ 165 w 197"/>
              <a:gd name="T35" fmla="*/ 115 h 266"/>
              <a:gd name="T36" fmla="*/ 192 w 197"/>
              <a:gd name="T37" fmla="*/ 111 h 266"/>
              <a:gd name="T38" fmla="*/ 188 w 197"/>
              <a:gd name="T39" fmla="*/ 98 h 266"/>
              <a:gd name="T40" fmla="*/ 194 w 197"/>
              <a:gd name="T41" fmla="*/ 73 h 266"/>
              <a:gd name="T42" fmla="*/ 197 w 197"/>
              <a:gd name="T43" fmla="*/ 72 h 266"/>
              <a:gd name="T44" fmla="*/ 187 w 197"/>
              <a:gd name="T45" fmla="*/ 75 h 266"/>
              <a:gd name="T46" fmla="*/ 151 w 197"/>
              <a:gd name="T47" fmla="*/ 48 h 266"/>
              <a:gd name="T48" fmla="*/ 142 w 197"/>
              <a:gd name="T49" fmla="*/ 48 h 266"/>
              <a:gd name="T50" fmla="*/ 133 w 197"/>
              <a:gd name="T51" fmla="*/ 32 h 266"/>
              <a:gd name="T52" fmla="*/ 121 w 197"/>
              <a:gd name="T53" fmla="*/ 24 h 266"/>
              <a:gd name="T54" fmla="*/ 106 w 197"/>
              <a:gd name="T55" fmla="*/ 20 h 266"/>
              <a:gd name="T56" fmla="*/ 92 w 197"/>
              <a:gd name="T57" fmla="*/ 0 h 266"/>
              <a:gd name="T58" fmla="*/ 89 w 197"/>
              <a:gd name="T59" fmla="*/ 0 h 266"/>
              <a:gd name="T60" fmla="*/ 55 w 197"/>
              <a:gd name="T61" fmla="*/ 13 h 266"/>
              <a:gd name="T62" fmla="*/ 62 w 197"/>
              <a:gd name="T63" fmla="*/ 31 h 266"/>
              <a:gd name="T64" fmla="*/ 22 w 197"/>
              <a:gd name="T65" fmla="*/ 43 h 266"/>
              <a:gd name="T66" fmla="*/ 27 w 197"/>
              <a:gd name="T67" fmla="*/ 57 h 266"/>
              <a:gd name="T68" fmla="*/ 5 w 197"/>
              <a:gd name="T69" fmla="*/ 84 h 266"/>
              <a:gd name="T70" fmla="*/ 3 w 197"/>
              <a:gd name="T71" fmla="*/ 109 h 266"/>
              <a:gd name="T72" fmla="*/ 22 w 197"/>
              <a:gd name="T73" fmla="*/ 179 h 266"/>
              <a:gd name="T74" fmla="*/ 22 w 197"/>
              <a:gd name="T75" fmla="*/ 190 h 266"/>
              <a:gd name="T76" fmla="*/ 26 w 197"/>
              <a:gd name="T77" fmla="*/ 200 h 266"/>
              <a:gd name="T78" fmla="*/ 36 w 197"/>
              <a:gd name="T79" fmla="*/ 195 h 266"/>
              <a:gd name="T80" fmla="*/ 46 w 197"/>
              <a:gd name="T81" fmla="*/ 207 h 266"/>
              <a:gd name="T82" fmla="*/ 32 w 197"/>
              <a:gd name="T83" fmla="*/ 219 h 266"/>
              <a:gd name="T84" fmla="*/ 39 w 197"/>
              <a:gd name="T85" fmla="*/ 233 h 266"/>
              <a:gd name="T86" fmla="*/ 33 w 197"/>
              <a:gd name="T87" fmla="*/ 248 h 266"/>
              <a:gd name="T88" fmla="*/ 51 w 197"/>
              <a:gd name="T89" fmla="*/ 257 h 266"/>
              <a:gd name="T90" fmla="*/ 62 w 197"/>
              <a:gd name="T91" fmla="*/ 254 h 266"/>
              <a:gd name="T92" fmla="*/ 83 w 197"/>
              <a:gd name="T93" fmla="*/ 266 h 266"/>
              <a:gd name="T94" fmla="*/ 108 w 197"/>
              <a:gd name="T95" fmla="*/ 245 h 266"/>
              <a:gd name="T96" fmla="*/ 108 w 197"/>
              <a:gd name="T97" fmla="*/ 245 h 266"/>
              <a:gd name="T98" fmla="*/ 107 w 197"/>
              <a:gd name="T99" fmla="*/ 240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7" h="266">
                <a:moveTo>
                  <a:pt x="107" y="240"/>
                </a:moveTo>
                <a:cubicBezTo>
                  <a:pt x="107" y="229"/>
                  <a:pt x="116" y="225"/>
                  <a:pt x="122" y="217"/>
                </a:cubicBezTo>
                <a:cubicBezTo>
                  <a:pt x="132" y="203"/>
                  <a:pt x="124" y="200"/>
                  <a:pt x="133" y="187"/>
                </a:cubicBezTo>
                <a:cubicBezTo>
                  <a:pt x="135" y="185"/>
                  <a:pt x="151" y="173"/>
                  <a:pt x="156" y="173"/>
                </a:cubicBezTo>
                <a:cubicBezTo>
                  <a:pt x="160" y="173"/>
                  <a:pt x="162" y="176"/>
                  <a:pt x="166" y="176"/>
                </a:cubicBezTo>
                <a:cubicBezTo>
                  <a:pt x="170" y="176"/>
                  <a:pt x="183" y="146"/>
                  <a:pt x="183" y="142"/>
                </a:cubicBezTo>
                <a:cubicBezTo>
                  <a:pt x="183" y="142"/>
                  <a:pt x="183" y="142"/>
                  <a:pt x="183" y="142"/>
                </a:cubicBezTo>
                <a:cubicBezTo>
                  <a:pt x="177" y="142"/>
                  <a:pt x="177" y="142"/>
                  <a:pt x="177" y="142"/>
                </a:cubicBezTo>
                <a:cubicBezTo>
                  <a:pt x="177" y="142"/>
                  <a:pt x="177" y="142"/>
                  <a:pt x="177" y="142"/>
                </a:cubicBezTo>
                <a:cubicBezTo>
                  <a:pt x="174" y="144"/>
                  <a:pt x="165" y="147"/>
                  <a:pt x="155" y="147"/>
                </a:cubicBezTo>
                <a:cubicBezTo>
                  <a:pt x="146" y="147"/>
                  <a:pt x="144" y="142"/>
                  <a:pt x="137" y="142"/>
                </a:cubicBezTo>
                <a:cubicBezTo>
                  <a:pt x="122" y="142"/>
                  <a:pt x="117" y="132"/>
                  <a:pt x="117" y="112"/>
                </a:cubicBezTo>
                <a:cubicBezTo>
                  <a:pt x="117" y="101"/>
                  <a:pt x="122" y="96"/>
                  <a:pt x="133" y="96"/>
                </a:cubicBezTo>
                <a:cubicBezTo>
                  <a:pt x="138" y="96"/>
                  <a:pt x="145" y="96"/>
                  <a:pt x="145" y="102"/>
                </a:cubicBezTo>
                <a:cubicBezTo>
                  <a:pt x="145" y="109"/>
                  <a:pt x="140" y="109"/>
                  <a:pt x="138" y="115"/>
                </a:cubicBezTo>
                <a:cubicBezTo>
                  <a:pt x="143" y="117"/>
                  <a:pt x="144" y="115"/>
                  <a:pt x="149" y="115"/>
                </a:cubicBezTo>
                <a:cubicBezTo>
                  <a:pt x="150" y="117"/>
                  <a:pt x="151" y="125"/>
                  <a:pt x="158" y="125"/>
                </a:cubicBezTo>
                <a:cubicBezTo>
                  <a:pt x="162" y="125"/>
                  <a:pt x="164" y="121"/>
                  <a:pt x="165" y="115"/>
                </a:cubicBezTo>
                <a:cubicBezTo>
                  <a:pt x="171" y="115"/>
                  <a:pt x="187" y="117"/>
                  <a:pt x="192" y="111"/>
                </a:cubicBezTo>
                <a:cubicBezTo>
                  <a:pt x="190" y="107"/>
                  <a:pt x="188" y="105"/>
                  <a:pt x="188" y="98"/>
                </a:cubicBezTo>
                <a:cubicBezTo>
                  <a:pt x="188" y="86"/>
                  <a:pt x="194" y="84"/>
                  <a:pt x="194" y="73"/>
                </a:cubicBezTo>
                <a:cubicBezTo>
                  <a:pt x="196" y="72"/>
                  <a:pt x="196" y="72"/>
                  <a:pt x="197" y="72"/>
                </a:cubicBezTo>
                <a:cubicBezTo>
                  <a:pt x="192" y="72"/>
                  <a:pt x="190" y="75"/>
                  <a:pt x="187" y="75"/>
                </a:cubicBezTo>
                <a:cubicBezTo>
                  <a:pt x="176" y="75"/>
                  <a:pt x="151" y="58"/>
                  <a:pt x="151" y="48"/>
                </a:cubicBezTo>
                <a:cubicBezTo>
                  <a:pt x="149" y="52"/>
                  <a:pt x="146" y="48"/>
                  <a:pt x="142" y="48"/>
                </a:cubicBezTo>
                <a:cubicBezTo>
                  <a:pt x="128" y="48"/>
                  <a:pt x="139" y="36"/>
                  <a:pt x="133" y="32"/>
                </a:cubicBezTo>
                <a:cubicBezTo>
                  <a:pt x="123" y="26"/>
                  <a:pt x="124" y="34"/>
                  <a:pt x="121" y="24"/>
                </a:cubicBezTo>
                <a:cubicBezTo>
                  <a:pt x="119" y="20"/>
                  <a:pt x="111" y="21"/>
                  <a:pt x="106" y="20"/>
                </a:cubicBezTo>
                <a:cubicBezTo>
                  <a:pt x="97" y="19"/>
                  <a:pt x="94" y="10"/>
                  <a:pt x="92" y="0"/>
                </a:cubicBezTo>
                <a:cubicBezTo>
                  <a:pt x="91" y="0"/>
                  <a:pt x="91" y="0"/>
                  <a:pt x="89" y="0"/>
                </a:cubicBezTo>
                <a:cubicBezTo>
                  <a:pt x="80" y="7"/>
                  <a:pt x="69" y="16"/>
                  <a:pt x="55" y="13"/>
                </a:cubicBezTo>
                <a:cubicBezTo>
                  <a:pt x="54" y="23"/>
                  <a:pt x="62" y="24"/>
                  <a:pt x="62" y="31"/>
                </a:cubicBezTo>
                <a:cubicBezTo>
                  <a:pt x="62" y="41"/>
                  <a:pt x="33" y="43"/>
                  <a:pt x="22" y="43"/>
                </a:cubicBezTo>
                <a:cubicBezTo>
                  <a:pt x="22" y="48"/>
                  <a:pt x="27" y="51"/>
                  <a:pt x="27" y="57"/>
                </a:cubicBezTo>
                <a:cubicBezTo>
                  <a:pt x="27" y="70"/>
                  <a:pt x="9" y="75"/>
                  <a:pt x="5" y="84"/>
                </a:cubicBezTo>
                <a:cubicBezTo>
                  <a:pt x="0" y="91"/>
                  <a:pt x="3" y="99"/>
                  <a:pt x="3" y="109"/>
                </a:cubicBezTo>
                <a:cubicBezTo>
                  <a:pt x="3" y="142"/>
                  <a:pt x="22" y="148"/>
                  <a:pt x="22" y="179"/>
                </a:cubicBezTo>
                <a:cubicBezTo>
                  <a:pt x="22" y="182"/>
                  <a:pt x="22" y="189"/>
                  <a:pt x="22" y="190"/>
                </a:cubicBezTo>
                <a:cubicBezTo>
                  <a:pt x="22" y="195"/>
                  <a:pt x="22" y="200"/>
                  <a:pt x="26" y="200"/>
                </a:cubicBezTo>
                <a:cubicBezTo>
                  <a:pt x="31" y="200"/>
                  <a:pt x="32" y="195"/>
                  <a:pt x="36" y="195"/>
                </a:cubicBezTo>
                <a:cubicBezTo>
                  <a:pt x="38" y="195"/>
                  <a:pt x="46" y="202"/>
                  <a:pt x="46" y="207"/>
                </a:cubicBezTo>
                <a:cubicBezTo>
                  <a:pt x="46" y="214"/>
                  <a:pt x="32" y="213"/>
                  <a:pt x="32" y="219"/>
                </a:cubicBezTo>
                <a:cubicBezTo>
                  <a:pt x="32" y="224"/>
                  <a:pt x="39" y="225"/>
                  <a:pt x="39" y="233"/>
                </a:cubicBezTo>
                <a:cubicBezTo>
                  <a:pt x="39" y="241"/>
                  <a:pt x="33" y="239"/>
                  <a:pt x="33" y="248"/>
                </a:cubicBezTo>
                <a:cubicBezTo>
                  <a:pt x="33" y="249"/>
                  <a:pt x="47" y="257"/>
                  <a:pt x="51" y="257"/>
                </a:cubicBezTo>
                <a:cubicBezTo>
                  <a:pt x="55" y="257"/>
                  <a:pt x="57" y="254"/>
                  <a:pt x="62" y="254"/>
                </a:cubicBezTo>
                <a:cubicBezTo>
                  <a:pt x="71" y="254"/>
                  <a:pt x="71" y="266"/>
                  <a:pt x="83" y="266"/>
                </a:cubicBezTo>
                <a:cubicBezTo>
                  <a:pt x="91" y="266"/>
                  <a:pt x="101" y="250"/>
                  <a:pt x="108" y="245"/>
                </a:cubicBezTo>
                <a:cubicBezTo>
                  <a:pt x="108" y="245"/>
                  <a:pt x="108" y="245"/>
                  <a:pt x="108" y="245"/>
                </a:cubicBezTo>
                <a:cubicBezTo>
                  <a:pt x="107" y="240"/>
                  <a:pt x="107" y="240"/>
                  <a:pt x="107" y="240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7" name="Freeform 88"/>
          <p:cNvSpPr>
            <a:spLocks/>
          </p:cNvSpPr>
          <p:nvPr/>
        </p:nvSpPr>
        <p:spPr bwMode="auto">
          <a:xfrm>
            <a:off x="5973842" y="3310351"/>
            <a:ext cx="590689" cy="431119"/>
          </a:xfrm>
          <a:custGeom>
            <a:avLst/>
            <a:gdLst>
              <a:gd name="T0" fmla="*/ 37 w 130"/>
              <a:gd name="T1" fmla="*/ 1 h 95"/>
              <a:gd name="T2" fmla="*/ 0 w 130"/>
              <a:gd name="T3" fmla="*/ 32 h 95"/>
              <a:gd name="T4" fmla="*/ 18 w 130"/>
              <a:gd name="T5" fmla="*/ 49 h 95"/>
              <a:gd name="T6" fmla="*/ 29 w 130"/>
              <a:gd name="T7" fmla="*/ 45 h 95"/>
              <a:gd name="T8" fmla="*/ 50 w 130"/>
              <a:gd name="T9" fmla="*/ 82 h 95"/>
              <a:gd name="T10" fmla="*/ 63 w 130"/>
              <a:gd name="T11" fmla="*/ 74 h 95"/>
              <a:gd name="T12" fmla="*/ 88 w 130"/>
              <a:gd name="T13" fmla="*/ 90 h 95"/>
              <a:gd name="T14" fmla="*/ 88 w 130"/>
              <a:gd name="T15" fmla="*/ 90 h 95"/>
              <a:gd name="T16" fmla="*/ 93 w 130"/>
              <a:gd name="T17" fmla="*/ 90 h 95"/>
              <a:gd name="T18" fmla="*/ 93 w 130"/>
              <a:gd name="T19" fmla="*/ 90 h 95"/>
              <a:gd name="T20" fmla="*/ 96 w 130"/>
              <a:gd name="T21" fmla="*/ 88 h 95"/>
              <a:gd name="T22" fmla="*/ 114 w 130"/>
              <a:gd name="T23" fmla="*/ 95 h 95"/>
              <a:gd name="T24" fmla="*/ 123 w 130"/>
              <a:gd name="T25" fmla="*/ 74 h 95"/>
              <a:gd name="T26" fmla="*/ 130 w 130"/>
              <a:gd name="T27" fmla="*/ 65 h 95"/>
              <a:gd name="T28" fmla="*/ 125 w 130"/>
              <a:gd name="T29" fmla="*/ 58 h 95"/>
              <a:gd name="T30" fmla="*/ 113 w 130"/>
              <a:gd name="T31" fmla="*/ 44 h 95"/>
              <a:gd name="T32" fmla="*/ 81 w 130"/>
              <a:gd name="T33" fmla="*/ 58 h 95"/>
              <a:gd name="T34" fmla="*/ 67 w 130"/>
              <a:gd name="T35" fmla="*/ 40 h 95"/>
              <a:gd name="T36" fmla="*/ 56 w 130"/>
              <a:gd name="T37" fmla="*/ 11 h 95"/>
              <a:gd name="T38" fmla="*/ 37 w 130"/>
              <a:gd name="T39" fmla="*/ 0 h 95"/>
              <a:gd name="T40" fmla="*/ 37 w 130"/>
              <a:gd name="T41" fmla="*/ 0 h 95"/>
              <a:gd name="T42" fmla="*/ 37 w 130"/>
              <a:gd name="T43" fmla="*/ 0 h 95"/>
              <a:gd name="T44" fmla="*/ 37 w 130"/>
              <a:gd name="T45" fmla="*/ 1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30" h="95">
                <a:moveTo>
                  <a:pt x="37" y="1"/>
                </a:moveTo>
                <a:cubicBezTo>
                  <a:pt x="33" y="17"/>
                  <a:pt x="12" y="27"/>
                  <a:pt x="0" y="32"/>
                </a:cubicBezTo>
                <a:cubicBezTo>
                  <a:pt x="1" y="39"/>
                  <a:pt x="12" y="49"/>
                  <a:pt x="18" y="49"/>
                </a:cubicBezTo>
                <a:cubicBezTo>
                  <a:pt x="23" y="49"/>
                  <a:pt x="26" y="45"/>
                  <a:pt x="29" y="45"/>
                </a:cubicBezTo>
                <a:cubicBezTo>
                  <a:pt x="48" y="45"/>
                  <a:pt x="34" y="82"/>
                  <a:pt x="50" y="82"/>
                </a:cubicBezTo>
                <a:cubicBezTo>
                  <a:pt x="55" y="82"/>
                  <a:pt x="56" y="74"/>
                  <a:pt x="63" y="74"/>
                </a:cubicBezTo>
                <a:cubicBezTo>
                  <a:pt x="74" y="74"/>
                  <a:pt x="77" y="88"/>
                  <a:pt x="88" y="90"/>
                </a:cubicBezTo>
                <a:cubicBezTo>
                  <a:pt x="88" y="90"/>
                  <a:pt x="88" y="90"/>
                  <a:pt x="88" y="90"/>
                </a:cubicBezTo>
                <a:cubicBezTo>
                  <a:pt x="93" y="90"/>
                  <a:pt x="93" y="90"/>
                  <a:pt x="93" y="90"/>
                </a:cubicBezTo>
                <a:cubicBezTo>
                  <a:pt x="93" y="90"/>
                  <a:pt x="93" y="90"/>
                  <a:pt x="93" y="90"/>
                </a:cubicBezTo>
                <a:cubicBezTo>
                  <a:pt x="96" y="90"/>
                  <a:pt x="92" y="88"/>
                  <a:pt x="96" y="88"/>
                </a:cubicBezTo>
                <a:cubicBezTo>
                  <a:pt x="103" y="88"/>
                  <a:pt x="106" y="95"/>
                  <a:pt x="114" y="95"/>
                </a:cubicBezTo>
                <a:cubicBezTo>
                  <a:pt x="123" y="95"/>
                  <a:pt x="123" y="82"/>
                  <a:pt x="123" y="74"/>
                </a:cubicBezTo>
                <a:cubicBezTo>
                  <a:pt x="123" y="70"/>
                  <a:pt x="130" y="69"/>
                  <a:pt x="130" y="65"/>
                </a:cubicBezTo>
                <a:cubicBezTo>
                  <a:pt x="130" y="60"/>
                  <a:pt x="125" y="61"/>
                  <a:pt x="125" y="58"/>
                </a:cubicBezTo>
                <a:cubicBezTo>
                  <a:pt x="125" y="58"/>
                  <a:pt x="113" y="47"/>
                  <a:pt x="113" y="44"/>
                </a:cubicBezTo>
                <a:cubicBezTo>
                  <a:pt x="102" y="44"/>
                  <a:pt x="90" y="58"/>
                  <a:pt x="81" y="58"/>
                </a:cubicBezTo>
                <a:cubicBezTo>
                  <a:pt x="74" y="58"/>
                  <a:pt x="67" y="49"/>
                  <a:pt x="67" y="40"/>
                </a:cubicBezTo>
                <a:cubicBezTo>
                  <a:pt x="67" y="33"/>
                  <a:pt x="67" y="11"/>
                  <a:pt x="56" y="11"/>
                </a:cubicBezTo>
                <a:cubicBezTo>
                  <a:pt x="51" y="11"/>
                  <a:pt x="37" y="8"/>
                  <a:pt x="3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1"/>
                  <a:pt x="37" y="1"/>
                  <a:pt x="37" y="1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8" name="Freeform 93"/>
          <p:cNvSpPr>
            <a:spLocks/>
          </p:cNvSpPr>
          <p:nvPr/>
        </p:nvSpPr>
        <p:spPr bwMode="auto">
          <a:xfrm>
            <a:off x="6676509" y="3209572"/>
            <a:ext cx="498308" cy="363932"/>
          </a:xfrm>
          <a:custGeom>
            <a:avLst/>
            <a:gdLst>
              <a:gd name="T0" fmla="*/ 39 w 110"/>
              <a:gd name="T1" fmla="*/ 7 h 80"/>
              <a:gd name="T2" fmla="*/ 24 w 110"/>
              <a:gd name="T3" fmla="*/ 0 h 80"/>
              <a:gd name="T4" fmla="*/ 0 w 110"/>
              <a:gd name="T5" fmla="*/ 21 h 80"/>
              <a:gd name="T6" fmla="*/ 5 w 110"/>
              <a:gd name="T7" fmla="*/ 37 h 80"/>
              <a:gd name="T8" fmla="*/ 33 w 110"/>
              <a:gd name="T9" fmla="*/ 43 h 80"/>
              <a:gd name="T10" fmla="*/ 42 w 110"/>
              <a:gd name="T11" fmla="*/ 59 h 80"/>
              <a:gd name="T12" fmla="*/ 45 w 110"/>
              <a:gd name="T13" fmla="*/ 75 h 80"/>
              <a:gd name="T14" fmla="*/ 56 w 110"/>
              <a:gd name="T15" fmla="*/ 77 h 80"/>
              <a:gd name="T16" fmla="*/ 72 w 110"/>
              <a:gd name="T17" fmla="*/ 70 h 80"/>
              <a:gd name="T18" fmla="*/ 85 w 110"/>
              <a:gd name="T19" fmla="*/ 75 h 80"/>
              <a:gd name="T20" fmla="*/ 92 w 110"/>
              <a:gd name="T21" fmla="*/ 71 h 80"/>
              <a:gd name="T22" fmla="*/ 99 w 110"/>
              <a:gd name="T23" fmla="*/ 77 h 80"/>
              <a:gd name="T24" fmla="*/ 99 w 110"/>
              <a:gd name="T25" fmla="*/ 77 h 80"/>
              <a:gd name="T26" fmla="*/ 104 w 110"/>
              <a:gd name="T27" fmla="*/ 77 h 80"/>
              <a:gd name="T28" fmla="*/ 104 w 110"/>
              <a:gd name="T29" fmla="*/ 80 h 80"/>
              <a:gd name="T30" fmla="*/ 104 w 110"/>
              <a:gd name="T31" fmla="*/ 80 h 80"/>
              <a:gd name="T32" fmla="*/ 104 w 110"/>
              <a:gd name="T33" fmla="*/ 80 h 80"/>
              <a:gd name="T34" fmla="*/ 110 w 110"/>
              <a:gd name="T35" fmla="*/ 67 h 80"/>
              <a:gd name="T36" fmla="*/ 106 w 110"/>
              <a:gd name="T37" fmla="*/ 56 h 80"/>
              <a:gd name="T38" fmla="*/ 106 w 110"/>
              <a:gd name="T39" fmla="*/ 48 h 80"/>
              <a:gd name="T40" fmla="*/ 98 w 110"/>
              <a:gd name="T41" fmla="*/ 35 h 80"/>
              <a:gd name="T42" fmla="*/ 93 w 110"/>
              <a:gd name="T43" fmla="*/ 35 h 80"/>
              <a:gd name="T44" fmla="*/ 86 w 110"/>
              <a:gd name="T45" fmla="*/ 28 h 80"/>
              <a:gd name="T46" fmla="*/ 64 w 110"/>
              <a:gd name="T47" fmla="*/ 23 h 80"/>
              <a:gd name="T48" fmla="*/ 48 w 110"/>
              <a:gd name="T49" fmla="*/ 14 h 80"/>
              <a:gd name="T50" fmla="*/ 39 w 110"/>
              <a:gd name="T51" fmla="*/ 6 h 80"/>
              <a:gd name="T52" fmla="*/ 39 w 110"/>
              <a:gd name="T53" fmla="*/ 6 h 80"/>
              <a:gd name="T54" fmla="*/ 39 w 110"/>
              <a:gd name="T55" fmla="*/ 7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0" h="80">
                <a:moveTo>
                  <a:pt x="39" y="7"/>
                </a:moveTo>
                <a:cubicBezTo>
                  <a:pt x="34" y="5"/>
                  <a:pt x="31" y="0"/>
                  <a:pt x="24" y="0"/>
                </a:cubicBezTo>
                <a:cubicBezTo>
                  <a:pt x="12" y="0"/>
                  <a:pt x="0" y="7"/>
                  <a:pt x="0" y="21"/>
                </a:cubicBezTo>
                <a:cubicBezTo>
                  <a:pt x="0" y="22"/>
                  <a:pt x="5" y="35"/>
                  <a:pt x="5" y="37"/>
                </a:cubicBezTo>
                <a:cubicBezTo>
                  <a:pt x="12" y="37"/>
                  <a:pt x="31" y="37"/>
                  <a:pt x="33" y="43"/>
                </a:cubicBezTo>
                <a:cubicBezTo>
                  <a:pt x="38" y="50"/>
                  <a:pt x="32" y="57"/>
                  <a:pt x="42" y="59"/>
                </a:cubicBezTo>
                <a:cubicBezTo>
                  <a:pt x="42" y="66"/>
                  <a:pt x="42" y="71"/>
                  <a:pt x="45" y="75"/>
                </a:cubicBezTo>
                <a:cubicBezTo>
                  <a:pt x="48" y="76"/>
                  <a:pt x="50" y="77"/>
                  <a:pt x="56" y="77"/>
                </a:cubicBezTo>
                <a:cubicBezTo>
                  <a:pt x="63" y="77"/>
                  <a:pt x="66" y="70"/>
                  <a:pt x="72" y="70"/>
                </a:cubicBezTo>
                <a:cubicBezTo>
                  <a:pt x="77" y="70"/>
                  <a:pt x="81" y="75"/>
                  <a:pt x="85" y="75"/>
                </a:cubicBezTo>
                <a:cubicBezTo>
                  <a:pt x="88" y="75"/>
                  <a:pt x="88" y="71"/>
                  <a:pt x="92" y="71"/>
                </a:cubicBezTo>
                <a:cubicBezTo>
                  <a:pt x="95" y="71"/>
                  <a:pt x="97" y="76"/>
                  <a:pt x="99" y="77"/>
                </a:cubicBezTo>
                <a:cubicBezTo>
                  <a:pt x="99" y="77"/>
                  <a:pt x="99" y="77"/>
                  <a:pt x="99" y="77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73"/>
                  <a:pt x="110" y="71"/>
                  <a:pt x="110" y="67"/>
                </a:cubicBezTo>
                <a:cubicBezTo>
                  <a:pt x="110" y="64"/>
                  <a:pt x="106" y="59"/>
                  <a:pt x="106" y="56"/>
                </a:cubicBezTo>
                <a:cubicBezTo>
                  <a:pt x="106" y="54"/>
                  <a:pt x="106" y="53"/>
                  <a:pt x="106" y="48"/>
                </a:cubicBezTo>
                <a:cubicBezTo>
                  <a:pt x="97" y="48"/>
                  <a:pt x="102" y="38"/>
                  <a:pt x="98" y="35"/>
                </a:cubicBezTo>
                <a:cubicBezTo>
                  <a:pt x="97" y="35"/>
                  <a:pt x="95" y="35"/>
                  <a:pt x="93" y="35"/>
                </a:cubicBezTo>
                <a:cubicBezTo>
                  <a:pt x="90" y="35"/>
                  <a:pt x="90" y="30"/>
                  <a:pt x="86" y="28"/>
                </a:cubicBezTo>
                <a:cubicBezTo>
                  <a:pt x="81" y="23"/>
                  <a:pt x="72" y="27"/>
                  <a:pt x="64" y="23"/>
                </a:cubicBezTo>
                <a:cubicBezTo>
                  <a:pt x="56" y="22"/>
                  <a:pt x="56" y="18"/>
                  <a:pt x="48" y="14"/>
                </a:cubicBezTo>
                <a:cubicBezTo>
                  <a:pt x="45" y="14"/>
                  <a:pt x="39" y="8"/>
                  <a:pt x="39" y="6"/>
                </a:cubicBezTo>
                <a:cubicBezTo>
                  <a:pt x="39" y="6"/>
                  <a:pt x="39" y="6"/>
                  <a:pt x="39" y="6"/>
                </a:cubicBezTo>
                <a:cubicBezTo>
                  <a:pt x="39" y="7"/>
                  <a:pt x="39" y="7"/>
                  <a:pt x="39" y="7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9" name="Freeform 94"/>
          <p:cNvSpPr>
            <a:spLocks/>
          </p:cNvSpPr>
          <p:nvPr/>
        </p:nvSpPr>
        <p:spPr bwMode="auto">
          <a:xfrm>
            <a:off x="6589727" y="3528711"/>
            <a:ext cx="907030" cy="769856"/>
          </a:xfrm>
          <a:custGeom>
            <a:avLst/>
            <a:gdLst>
              <a:gd name="T0" fmla="*/ 123 w 200"/>
              <a:gd name="T1" fmla="*/ 7 h 170"/>
              <a:gd name="T2" fmla="*/ 118 w 200"/>
              <a:gd name="T3" fmla="*/ 7 h 170"/>
              <a:gd name="T4" fmla="*/ 118 w 200"/>
              <a:gd name="T5" fmla="*/ 7 h 170"/>
              <a:gd name="T6" fmla="*/ 111 w 200"/>
              <a:gd name="T7" fmla="*/ 1 h 170"/>
              <a:gd name="T8" fmla="*/ 104 w 200"/>
              <a:gd name="T9" fmla="*/ 5 h 170"/>
              <a:gd name="T10" fmla="*/ 91 w 200"/>
              <a:gd name="T11" fmla="*/ 0 h 170"/>
              <a:gd name="T12" fmla="*/ 75 w 200"/>
              <a:gd name="T13" fmla="*/ 7 h 170"/>
              <a:gd name="T14" fmla="*/ 64 w 200"/>
              <a:gd name="T15" fmla="*/ 5 h 170"/>
              <a:gd name="T16" fmla="*/ 36 w 200"/>
              <a:gd name="T17" fmla="*/ 26 h 170"/>
              <a:gd name="T18" fmla="*/ 36 w 200"/>
              <a:gd name="T19" fmla="*/ 34 h 170"/>
              <a:gd name="T20" fmla="*/ 25 w 200"/>
              <a:gd name="T21" fmla="*/ 42 h 170"/>
              <a:gd name="T22" fmla="*/ 14 w 200"/>
              <a:gd name="T23" fmla="*/ 34 h 170"/>
              <a:gd name="T24" fmla="*/ 0 w 200"/>
              <a:gd name="T25" fmla="*/ 43 h 170"/>
              <a:gd name="T26" fmla="*/ 8 w 200"/>
              <a:gd name="T27" fmla="*/ 49 h 170"/>
              <a:gd name="T28" fmla="*/ 29 w 200"/>
              <a:gd name="T29" fmla="*/ 51 h 170"/>
              <a:gd name="T30" fmla="*/ 41 w 200"/>
              <a:gd name="T31" fmla="*/ 67 h 170"/>
              <a:gd name="T32" fmla="*/ 56 w 200"/>
              <a:gd name="T33" fmla="*/ 66 h 170"/>
              <a:gd name="T34" fmla="*/ 61 w 200"/>
              <a:gd name="T35" fmla="*/ 79 h 170"/>
              <a:gd name="T36" fmla="*/ 86 w 200"/>
              <a:gd name="T37" fmla="*/ 110 h 170"/>
              <a:gd name="T38" fmla="*/ 96 w 200"/>
              <a:gd name="T39" fmla="*/ 112 h 170"/>
              <a:gd name="T40" fmla="*/ 102 w 200"/>
              <a:gd name="T41" fmla="*/ 103 h 170"/>
              <a:gd name="T42" fmla="*/ 121 w 200"/>
              <a:gd name="T43" fmla="*/ 138 h 170"/>
              <a:gd name="T44" fmla="*/ 136 w 200"/>
              <a:gd name="T45" fmla="*/ 145 h 170"/>
              <a:gd name="T46" fmla="*/ 129 w 200"/>
              <a:gd name="T47" fmla="*/ 156 h 170"/>
              <a:gd name="T48" fmla="*/ 141 w 200"/>
              <a:gd name="T49" fmla="*/ 170 h 170"/>
              <a:gd name="T50" fmla="*/ 143 w 200"/>
              <a:gd name="T51" fmla="*/ 156 h 170"/>
              <a:gd name="T52" fmla="*/ 165 w 200"/>
              <a:gd name="T53" fmla="*/ 129 h 170"/>
              <a:gd name="T54" fmla="*/ 160 w 200"/>
              <a:gd name="T55" fmla="*/ 115 h 170"/>
              <a:gd name="T56" fmla="*/ 200 w 200"/>
              <a:gd name="T57" fmla="*/ 103 h 170"/>
              <a:gd name="T58" fmla="*/ 192 w 200"/>
              <a:gd name="T59" fmla="*/ 85 h 170"/>
              <a:gd name="T60" fmla="*/ 184 w 200"/>
              <a:gd name="T61" fmla="*/ 85 h 170"/>
              <a:gd name="T62" fmla="*/ 184 w 200"/>
              <a:gd name="T63" fmla="*/ 85 h 170"/>
              <a:gd name="T64" fmla="*/ 184 w 200"/>
              <a:gd name="T65" fmla="*/ 80 h 170"/>
              <a:gd name="T66" fmla="*/ 184 w 200"/>
              <a:gd name="T67" fmla="*/ 80 h 170"/>
              <a:gd name="T68" fmla="*/ 195 w 200"/>
              <a:gd name="T69" fmla="*/ 70 h 170"/>
              <a:gd name="T70" fmla="*/ 195 w 200"/>
              <a:gd name="T71" fmla="*/ 70 h 170"/>
              <a:gd name="T72" fmla="*/ 184 w 200"/>
              <a:gd name="T73" fmla="*/ 70 h 170"/>
              <a:gd name="T74" fmla="*/ 184 w 200"/>
              <a:gd name="T75" fmla="*/ 70 h 170"/>
              <a:gd name="T76" fmla="*/ 190 w 200"/>
              <a:gd name="T77" fmla="*/ 59 h 170"/>
              <a:gd name="T78" fmla="*/ 190 w 200"/>
              <a:gd name="T79" fmla="*/ 59 h 170"/>
              <a:gd name="T80" fmla="*/ 190 w 200"/>
              <a:gd name="T81" fmla="*/ 51 h 170"/>
              <a:gd name="T82" fmla="*/ 182 w 200"/>
              <a:gd name="T83" fmla="*/ 51 h 170"/>
              <a:gd name="T84" fmla="*/ 182 w 200"/>
              <a:gd name="T85" fmla="*/ 51 h 170"/>
              <a:gd name="T86" fmla="*/ 175 w 200"/>
              <a:gd name="T87" fmla="*/ 56 h 170"/>
              <a:gd name="T88" fmla="*/ 177 w 200"/>
              <a:gd name="T89" fmla="*/ 64 h 170"/>
              <a:gd name="T90" fmla="*/ 158 w 200"/>
              <a:gd name="T91" fmla="*/ 64 h 170"/>
              <a:gd name="T92" fmla="*/ 142 w 200"/>
              <a:gd name="T93" fmla="*/ 53 h 170"/>
              <a:gd name="T94" fmla="*/ 144 w 200"/>
              <a:gd name="T95" fmla="*/ 49 h 170"/>
              <a:gd name="T96" fmla="*/ 123 w 200"/>
              <a:gd name="T97" fmla="*/ 10 h 170"/>
              <a:gd name="T98" fmla="*/ 123 w 200"/>
              <a:gd name="T99" fmla="*/ 10 h 170"/>
              <a:gd name="T100" fmla="*/ 123 w 200"/>
              <a:gd name="T101" fmla="*/ 7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0" h="170">
                <a:moveTo>
                  <a:pt x="123" y="7"/>
                </a:moveTo>
                <a:cubicBezTo>
                  <a:pt x="118" y="7"/>
                  <a:pt x="118" y="7"/>
                  <a:pt x="118" y="7"/>
                </a:cubicBezTo>
                <a:cubicBezTo>
                  <a:pt x="118" y="7"/>
                  <a:pt x="118" y="7"/>
                  <a:pt x="118" y="7"/>
                </a:cubicBezTo>
                <a:cubicBezTo>
                  <a:pt x="116" y="6"/>
                  <a:pt x="114" y="1"/>
                  <a:pt x="111" y="1"/>
                </a:cubicBezTo>
                <a:cubicBezTo>
                  <a:pt x="107" y="1"/>
                  <a:pt x="107" y="5"/>
                  <a:pt x="104" y="5"/>
                </a:cubicBezTo>
                <a:cubicBezTo>
                  <a:pt x="100" y="5"/>
                  <a:pt x="96" y="0"/>
                  <a:pt x="91" y="0"/>
                </a:cubicBezTo>
                <a:cubicBezTo>
                  <a:pt x="85" y="0"/>
                  <a:pt x="82" y="7"/>
                  <a:pt x="75" y="7"/>
                </a:cubicBezTo>
                <a:cubicBezTo>
                  <a:pt x="69" y="7"/>
                  <a:pt x="67" y="6"/>
                  <a:pt x="64" y="5"/>
                </a:cubicBezTo>
                <a:cubicBezTo>
                  <a:pt x="57" y="10"/>
                  <a:pt x="36" y="16"/>
                  <a:pt x="36" y="26"/>
                </a:cubicBezTo>
                <a:cubicBezTo>
                  <a:pt x="36" y="32"/>
                  <a:pt x="36" y="32"/>
                  <a:pt x="36" y="34"/>
                </a:cubicBezTo>
                <a:cubicBezTo>
                  <a:pt x="36" y="37"/>
                  <a:pt x="32" y="42"/>
                  <a:pt x="25" y="42"/>
                </a:cubicBezTo>
                <a:cubicBezTo>
                  <a:pt x="20" y="42"/>
                  <a:pt x="16" y="35"/>
                  <a:pt x="14" y="34"/>
                </a:cubicBezTo>
                <a:cubicBezTo>
                  <a:pt x="9" y="38"/>
                  <a:pt x="4" y="38"/>
                  <a:pt x="0" y="43"/>
                </a:cubicBezTo>
                <a:cubicBezTo>
                  <a:pt x="4" y="47"/>
                  <a:pt x="6" y="49"/>
                  <a:pt x="8" y="49"/>
                </a:cubicBezTo>
                <a:cubicBezTo>
                  <a:pt x="16" y="53"/>
                  <a:pt x="22" y="49"/>
                  <a:pt x="29" y="51"/>
                </a:cubicBezTo>
                <a:cubicBezTo>
                  <a:pt x="34" y="55"/>
                  <a:pt x="31" y="66"/>
                  <a:pt x="41" y="67"/>
                </a:cubicBezTo>
                <a:cubicBezTo>
                  <a:pt x="46" y="67"/>
                  <a:pt x="53" y="66"/>
                  <a:pt x="56" y="66"/>
                </a:cubicBezTo>
                <a:cubicBezTo>
                  <a:pt x="63" y="66"/>
                  <a:pt x="59" y="72"/>
                  <a:pt x="61" y="79"/>
                </a:cubicBezTo>
                <a:cubicBezTo>
                  <a:pt x="63" y="91"/>
                  <a:pt x="74" y="110"/>
                  <a:pt x="86" y="110"/>
                </a:cubicBezTo>
                <a:cubicBezTo>
                  <a:pt x="89" y="110"/>
                  <a:pt x="94" y="112"/>
                  <a:pt x="96" y="112"/>
                </a:cubicBezTo>
                <a:cubicBezTo>
                  <a:pt x="96" y="107"/>
                  <a:pt x="98" y="104"/>
                  <a:pt x="102" y="103"/>
                </a:cubicBezTo>
                <a:cubicBezTo>
                  <a:pt x="109" y="115"/>
                  <a:pt x="115" y="129"/>
                  <a:pt x="121" y="138"/>
                </a:cubicBezTo>
                <a:cubicBezTo>
                  <a:pt x="127" y="138"/>
                  <a:pt x="129" y="144"/>
                  <a:pt x="136" y="145"/>
                </a:cubicBezTo>
                <a:cubicBezTo>
                  <a:pt x="134" y="150"/>
                  <a:pt x="129" y="151"/>
                  <a:pt x="129" y="156"/>
                </a:cubicBezTo>
                <a:cubicBezTo>
                  <a:pt x="129" y="162"/>
                  <a:pt x="136" y="167"/>
                  <a:pt x="141" y="170"/>
                </a:cubicBezTo>
                <a:cubicBezTo>
                  <a:pt x="141" y="165"/>
                  <a:pt x="141" y="160"/>
                  <a:pt x="143" y="156"/>
                </a:cubicBezTo>
                <a:cubicBezTo>
                  <a:pt x="147" y="147"/>
                  <a:pt x="165" y="142"/>
                  <a:pt x="165" y="129"/>
                </a:cubicBezTo>
                <a:cubicBezTo>
                  <a:pt x="165" y="123"/>
                  <a:pt x="160" y="120"/>
                  <a:pt x="160" y="115"/>
                </a:cubicBezTo>
                <a:cubicBezTo>
                  <a:pt x="171" y="115"/>
                  <a:pt x="200" y="113"/>
                  <a:pt x="200" y="103"/>
                </a:cubicBezTo>
                <a:cubicBezTo>
                  <a:pt x="200" y="96"/>
                  <a:pt x="191" y="95"/>
                  <a:pt x="192" y="85"/>
                </a:cubicBezTo>
                <a:cubicBezTo>
                  <a:pt x="189" y="86"/>
                  <a:pt x="189" y="87"/>
                  <a:pt x="184" y="85"/>
                </a:cubicBezTo>
                <a:cubicBezTo>
                  <a:pt x="184" y="85"/>
                  <a:pt x="184" y="85"/>
                  <a:pt x="184" y="85"/>
                </a:cubicBezTo>
                <a:cubicBezTo>
                  <a:pt x="184" y="80"/>
                  <a:pt x="184" y="80"/>
                  <a:pt x="184" y="80"/>
                </a:cubicBezTo>
                <a:cubicBezTo>
                  <a:pt x="184" y="80"/>
                  <a:pt x="184" y="80"/>
                  <a:pt x="184" y="80"/>
                </a:cubicBezTo>
                <a:cubicBezTo>
                  <a:pt x="189" y="79"/>
                  <a:pt x="195" y="76"/>
                  <a:pt x="195" y="70"/>
                </a:cubicBezTo>
                <a:cubicBezTo>
                  <a:pt x="195" y="70"/>
                  <a:pt x="195" y="70"/>
                  <a:pt x="195" y="70"/>
                </a:cubicBezTo>
                <a:cubicBezTo>
                  <a:pt x="184" y="70"/>
                  <a:pt x="184" y="70"/>
                  <a:pt x="184" y="70"/>
                </a:cubicBezTo>
                <a:cubicBezTo>
                  <a:pt x="184" y="70"/>
                  <a:pt x="184" y="70"/>
                  <a:pt x="184" y="70"/>
                </a:cubicBezTo>
                <a:cubicBezTo>
                  <a:pt x="184" y="65"/>
                  <a:pt x="186" y="63"/>
                  <a:pt x="190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51"/>
                  <a:pt x="190" y="51"/>
                  <a:pt x="190" y="51"/>
                </a:cubicBezTo>
                <a:cubicBezTo>
                  <a:pt x="182" y="51"/>
                  <a:pt x="182" y="51"/>
                  <a:pt x="182" y="51"/>
                </a:cubicBezTo>
                <a:cubicBezTo>
                  <a:pt x="182" y="51"/>
                  <a:pt x="182" y="51"/>
                  <a:pt x="182" y="51"/>
                </a:cubicBezTo>
                <a:cubicBezTo>
                  <a:pt x="180" y="53"/>
                  <a:pt x="175" y="54"/>
                  <a:pt x="175" y="56"/>
                </a:cubicBezTo>
                <a:cubicBezTo>
                  <a:pt x="175" y="60"/>
                  <a:pt x="176" y="60"/>
                  <a:pt x="177" y="64"/>
                </a:cubicBezTo>
                <a:cubicBezTo>
                  <a:pt x="171" y="67"/>
                  <a:pt x="164" y="64"/>
                  <a:pt x="158" y="64"/>
                </a:cubicBezTo>
                <a:cubicBezTo>
                  <a:pt x="152" y="64"/>
                  <a:pt x="142" y="61"/>
                  <a:pt x="142" y="53"/>
                </a:cubicBezTo>
                <a:cubicBezTo>
                  <a:pt x="142" y="51"/>
                  <a:pt x="144" y="50"/>
                  <a:pt x="144" y="49"/>
                </a:cubicBezTo>
                <a:cubicBezTo>
                  <a:pt x="136" y="47"/>
                  <a:pt x="123" y="17"/>
                  <a:pt x="123" y="10"/>
                </a:cubicBezTo>
                <a:cubicBezTo>
                  <a:pt x="123" y="10"/>
                  <a:pt x="123" y="10"/>
                  <a:pt x="123" y="10"/>
                </a:cubicBezTo>
                <a:cubicBezTo>
                  <a:pt x="123" y="7"/>
                  <a:pt x="123" y="7"/>
                  <a:pt x="123" y="7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0" name="Freeform 95"/>
          <p:cNvSpPr>
            <a:spLocks/>
          </p:cNvSpPr>
          <p:nvPr/>
        </p:nvSpPr>
        <p:spPr bwMode="auto">
          <a:xfrm>
            <a:off x="6530938" y="3377540"/>
            <a:ext cx="358332" cy="347135"/>
          </a:xfrm>
          <a:custGeom>
            <a:avLst/>
            <a:gdLst>
              <a:gd name="T0" fmla="*/ 79 w 79"/>
              <a:gd name="T1" fmla="*/ 38 h 76"/>
              <a:gd name="T2" fmla="*/ 49 w 79"/>
              <a:gd name="T3" fmla="*/ 59 h 76"/>
              <a:gd name="T4" fmla="*/ 49 w 79"/>
              <a:gd name="T5" fmla="*/ 67 h 76"/>
              <a:gd name="T6" fmla="*/ 38 w 79"/>
              <a:gd name="T7" fmla="*/ 75 h 76"/>
              <a:gd name="T8" fmla="*/ 27 w 79"/>
              <a:gd name="T9" fmla="*/ 67 h 76"/>
              <a:gd name="T10" fmla="*/ 13 w 79"/>
              <a:gd name="T11" fmla="*/ 76 h 76"/>
              <a:gd name="T12" fmla="*/ 0 w 79"/>
              <a:gd name="T13" fmla="*/ 59 h 76"/>
              <a:gd name="T14" fmla="*/ 7 w 79"/>
              <a:gd name="T15" fmla="*/ 50 h 76"/>
              <a:gd name="T16" fmla="*/ 0 w 79"/>
              <a:gd name="T17" fmla="*/ 39 h 76"/>
              <a:gd name="T18" fmla="*/ 19 w 79"/>
              <a:gd name="T19" fmla="*/ 23 h 76"/>
              <a:gd name="T20" fmla="*/ 37 w 79"/>
              <a:gd name="T21" fmla="*/ 0 h 76"/>
              <a:gd name="T22" fmla="*/ 65 w 79"/>
              <a:gd name="T23" fmla="*/ 6 h 76"/>
              <a:gd name="T24" fmla="*/ 74 w 79"/>
              <a:gd name="T25" fmla="*/ 22 h 76"/>
              <a:gd name="T26" fmla="*/ 77 w 79"/>
              <a:gd name="T27" fmla="*/ 38 h 76"/>
              <a:gd name="T28" fmla="*/ 77 w 79"/>
              <a:gd name="T29" fmla="*/ 38 h 76"/>
              <a:gd name="T30" fmla="*/ 79 w 79"/>
              <a:gd name="T31" fmla="*/ 38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9" h="76">
                <a:moveTo>
                  <a:pt x="79" y="38"/>
                </a:moveTo>
                <a:cubicBezTo>
                  <a:pt x="71" y="43"/>
                  <a:pt x="49" y="49"/>
                  <a:pt x="49" y="59"/>
                </a:cubicBezTo>
                <a:cubicBezTo>
                  <a:pt x="49" y="65"/>
                  <a:pt x="49" y="65"/>
                  <a:pt x="49" y="67"/>
                </a:cubicBezTo>
                <a:cubicBezTo>
                  <a:pt x="49" y="70"/>
                  <a:pt x="45" y="75"/>
                  <a:pt x="38" y="75"/>
                </a:cubicBezTo>
                <a:cubicBezTo>
                  <a:pt x="33" y="75"/>
                  <a:pt x="29" y="68"/>
                  <a:pt x="27" y="67"/>
                </a:cubicBezTo>
                <a:cubicBezTo>
                  <a:pt x="22" y="71"/>
                  <a:pt x="17" y="71"/>
                  <a:pt x="13" y="76"/>
                </a:cubicBezTo>
                <a:cubicBezTo>
                  <a:pt x="7" y="70"/>
                  <a:pt x="0" y="61"/>
                  <a:pt x="0" y="59"/>
                </a:cubicBezTo>
                <a:cubicBezTo>
                  <a:pt x="0" y="55"/>
                  <a:pt x="7" y="54"/>
                  <a:pt x="7" y="50"/>
                </a:cubicBezTo>
                <a:cubicBezTo>
                  <a:pt x="7" y="45"/>
                  <a:pt x="0" y="44"/>
                  <a:pt x="0" y="39"/>
                </a:cubicBezTo>
                <a:cubicBezTo>
                  <a:pt x="0" y="32"/>
                  <a:pt x="17" y="29"/>
                  <a:pt x="19" y="23"/>
                </a:cubicBezTo>
                <a:cubicBezTo>
                  <a:pt x="26" y="11"/>
                  <a:pt x="17" y="0"/>
                  <a:pt x="37" y="0"/>
                </a:cubicBezTo>
                <a:cubicBezTo>
                  <a:pt x="44" y="0"/>
                  <a:pt x="63" y="0"/>
                  <a:pt x="65" y="6"/>
                </a:cubicBezTo>
                <a:cubicBezTo>
                  <a:pt x="70" y="13"/>
                  <a:pt x="64" y="20"/>
                  <a:pt x="74" y="22"/>
                </a:cubicBezTo>
                <a:cubicBezTo>
                  <a:pt x="74" y="29"/>
                  <a:pt x="74" y="34"/>
                  <a:pt x="77" y="38"/>
                </a:cubicBezTo>
                <a:cubicBezTo>
                  <a:pt x="77" y="38"/>
                  <a:pt x="77" y="38"/>
                  <a:pt x="77" y="38"/>
                </a:cubicBezTo>
                <a:cubicBezTo>
                  <a:pt x="79" y="38"/>
                  <a:pt x="79" y="38"/>
                  <a:pt x="79" y="38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7" name="Freeform 102"/>
          <p:cNvSpPr>
            <a:spLocks/>
          </p:cNvSpPr>
          <p:nvPr/>
        </p:nvSpPr>
        <p:spPr bwMode="auto">
          <a:xfrm>
            <a:off x="7233607" y="3315952"/>
            <a:ext cx="503907" cy="610286"/>
          </a:xfrm>
          <a:custGeom>
            <a:avLst/>
            <a:gdLst>
              <a:gd name="T0" fmla="*/ 51 w 111"/>
              <a:gd name="T1" fmla="*/ 132 h 135"/>
              <a:gd name="T2" fmla="*/ 83 w 111"/>
              <a:gd name="T3" fmla="*/ 119 h 135"/>
              <a:gd name="T4" fmla="*/ 75 w 111"/>
              <a:gd name="T5" fmla="*/ 108 h 135"/>
              <a:gd name="T6" fmla="*/ 93 w 111"/>
              <a:gd name="T7" fmla="*/ 95 h 135"/>
              <a:gd name="T8" fmla="*/ 99 w 111"/>
              <a:gd name="T9" fmla="*/ 73 h 135"/>
              <a:gd name="T10" fmla="*/ 111 w 111"/>
              <a:gd name="T11" fmla="*/ 25 h 135"/>
              <a:gd name="T12" fmla="*/ 70 w 111"/>
              <a:gd name="T13" fmla="*/ 0 h 135"/>
              <a:gd name="T14" fmla="*/ 40 w 111"/>
              <a:gd name="T15" fmla="*/ 36 h 135"/>
              <a:gd name="T16" fmla="*/ 32 w 111"/>
              <a:gd name="T17" fmla="*/ 31 h 135"/>
              <a:gd name="T18" fmla="*/ 22 w 111"/>
              <a:gd name="T19" fmla="*/ 36 h 135"/>
              <a:gd name="T20" fmla="*/ 18 w 111"/>
              <a:gd name="T21" fmla="*/ 58 h 135"/>
              <a:gd name="T22" fmla="*/ 2 w 111"/>
              <a:gd name="T23" fmla="*/ 81 h 135"/>
              <a:gd name="T24" fmla="*/ 2 w 111"/>
              <a:gd name="T25" fmla="*/ 96 h 135"/>
              <a:gd name="T26" fmla="*/ 0 w 111"/>
              <a:gd name="T27" fmla="*/ 100 h 135"/>
              <a:gd name="T28" fmla="*/ 16 w 111"/>
              <a:gd name="T29" fmla="*/ 111 h 135"/>
              <a:gd name="T30" fmla="*/ 35 w 111"/>
              <a:gd name="T31" fmla="*/ 111 h 135"/>
              <a:gd name="T32" fmla="*/ 33 w 111"/>
              <a:gd name="T33" fmla="*/ 103 h 135"/>
              <a:gd name="T34" fmla="*/ 40 w 111"/>
              <a:gd name="T35" fmla="*/ 98 h 135"/>
              <a:gd name="T36" fmla="*/ 40 w 111"/>
              <a:gd name="T37" fmla="*/ 98 h 135"/>
              <a:gd name="T38" fmla="*/ 48 w 111"/>
              <a:gd name="T39" fmla="*/ 98 h 135"/>
              <a:gd name="T40" fmla="*/ 48 w 111"/>
              <a:gd name="T41" fmla="*/ 106 h 135"/>
              <a:gd name="T42" fmla="*/ 48 w 111"/>
              <a:gd name="T43" fmla="*/ 106 h 135"/>
              <a:gd name="T44" fmla="*/ 42 w 111"/>
              <a:gd name="T45" fmla="*/ 117 h 135"/>
              <a:gd name="T46" fmla="*/ 42 w 111"/>
              <a:gd name="T47" fmla="*/ 117 h 135"/>
              <a:gd name="T48" fmla="*/ 53 w 111"/>
              <a:gd name="T49" fmla="*/ 117 h 135"/>
              <a:gd name="T50" fmla="*/ 53 w 111"/>
              <a:gd name="T51" fmla="*/ 117 h 135"/>
              <a:gd name="T52" fmla="*/ 42 w 111"/>
              <a:gd name="T53" fmla="*/ 127 h 135"/>
              <a:gd name="T54" fmla="*/ 42 w 111"/>
              <a:gd name="T55" fmla="*/ 127 h 135"/>
              <a:gd name="T56" fmla="*/ 42 w 111"/>
              <a:gd name="T57" fmla="*/ 132 h 135"/>
              <a:gd name="T58" fmla="*/ 42 w 111"/>
              <a:gd name="T59" fmla="*/ 132 h 135"/>
              <a:gd name="T60" fmla="*/ 50 w 111"/>
              <a:gd name="T61" fmla="*/ 132 h 135"/>
              <a:gd name="T62" fmla="*/ 50 w 111"/>
              <a:gd name="T63" fmla="*/ 132 h 135"/>
              <a:gd name="T64" fmla="*/ 51 w 111"/>
              <a:gd name="T65" fmla="*/ 132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1" h="135">
                <a:moveTo>
                  <a:pt x="51" y="132"/>
                </a:moveTo>
                <a:cubicBezTo>
                  <a:pt x="65" y="135"/>
                  <a:pt x="75" y="126"/>
                  <a:pt x="83" y="119"/>
                </a:cubicBezTo>
                <a:cubicBezTo>
                  <a:pt x="79" y="118"/>
                  <a:pt x="75" y="116"/>
                  <a:pt x="75" y="108"/>
                </a:cubicBezTo>
                <a:cubicBezTo>
                  <a:pt x="75" y="100"/>
                  <a:pt x="87" y="98"/>
                  <a:pt x="93" y="95"/>
                </a:cubicBezTo>
                <a:cubicBezTo>
                  <a:pt x="96" y="91"/>
                  <a:pt x="98" y="79"/>
                  <a:pt x="99" y="73"/>
                </a:cubicBezTo>
                <a:cubicBezTo>
                  <a:pt x="103" y="62"/>
                  <a:pt x="103" y="38"/>
                  <a:pt x="111" y="25"/>
                </a:cubicBezTo>
                <a:cubicBezTo>
                  <a:pt x="101" y="20"/>
                  <a:pt x="80" y="0"/>
                  <a:pt x="70" y="0"/>
                </a:cubicBezTo>
                <a:cubicBezTo>
                  <a:pt x="54" y="0"/>
                  <a:pt x="58" y="36"/>
                  <a:pt x="40" y="36"/>
                </a:cubicBezTo>
                <a:cubicBezTo>
                  <a:pt x="35" y="36"/>
                  <a:pt x="37" y="31"/>
                  <a:pt x="32" y="31"/>
                </a:cubicBezTo>
                <a:cubicBezTo>
                  <a:pt x="31" y="31"/>
                  <a:pt x="22" y="34"/>
                  <a:pt x="22" y="36"/>
                </a:cubicBezTo>
                <a:cubicBezTo>
                  <a:pt x="19" y="41"/>
                  <a:pt x="21" y="50"/>
                  <a:pt x="18" y="58"/>
                </a:cubicBezTo>
                <a:cubicBezTo>
                  <a:pt x="16" y="68"/>
                  <a:pt x="2" y="66"/>
                  <a:pt x="2" y="81"/>
                </a:cubicBezTo>
                <a:cubicBezTo>
                  <a:pt x="2" y="86"/>
                  <a:pt x="3" y="90"/>
                  <a:pt x="2" y="96"/>
                </a:cubicBezTo>
                <a:cubicBezTo>
                  <a:pt x="2" y="97"/>
                  <a:pt x="0" y="98"/>
                  <a:pt x="0" y="100"/>
                </a:cubicBezTo>
                <a:cubicBezTo>
                  <a:pt x="0" y="108"/>
                  <a:pt x="10" y="111"/>
                  <a:pt x="16" y="111"/>
                </a:cubicBezTo>
                <a:cubicBezTo>
                  <a:pt x="22" y="111"/>
                  <a:pt x="29" y="114"/>
                  <a:pt x="35" y="111"/>
                </a:cubicBezTo>
                <a:cubicBezTo>
                  <a:pt x="34" y="107"/>
                  <a:pt x="33" y="107"/>
                  <a:pt x="33" y="103"/>
                </a:cubicBezTo>
                <a:cubicBezTo>
                  <a:pt x="33" y="101"/>
                  <a:pt x="38" y="100"/>
                  <a:pt x="40" y="98"/>
                </a:cubicBezTo>
                <a:cubicBezTo>
                  <a:pt x="40" y="98"/>
                  <a:pt x="40" y="98"/>
                  <a:pt x="40" y="98"/>
                </a:cubicBezTo>
                <a:cubicBezTo>
                  <a:pt x="48" y="98"/>
                  <a:pt x="48" y="98"/>
                  <a:pt x="48" y="98"/>
                </a:cubicBezTo>
                <a:cubicBezTo>
                  <a:pt x="48" y="106"/>
                  <a:pt x="48" y="106"/>
                  <a:pt x="48" y="106"/>
                </a:cubicBezTo>
                <a:cubicBezTo>
                  <a:pt x="48" y="106"/>
                  <a:pt x="48" y="106"/>
                  <a:pt x="48" y="106"/>
                </a:cubicBezTo>
                <a:cubicBezTo>
                  <a:pt x="44" y="110"/>
                  <a:pt x="42" y="112"/>
                  <a:pt x="42" y="117"/>
                </a:cubicBezTo>
                <a:cubicBezTo>
                  <a:pt x="42" y="117"/>
                  <a:pt x="42" y="117"/>
                  <a:pt x="42" y="117"/>
                </a:cubicBezTo>
                <a:cubicBezTo>
                  <a:pt x="53" y="117"/>
                  <a:pt x="53" y="117"/>
                  <a:pt x="53" y="117"/>
                </a:cubicBezTo>
                <a:cubicBezTo>
                  <a:pt x="53" y="117"/>
                  <a:pt x="53" y="117"/>
                  <a:pt x="53" y="117"/>
                </a:cubicBezTo>
                <a:cubicBezTo>
                  <a:pt x="53" y="123"/>
                  <a:pt x="47" y="126"/>
                  <a:pt x="42" y="127"/>
                </a:cubicBezTo>
                <a:cubicBezTo>
                  <a:pt x="42" y="127"/>
                  <a:pt x="42" y="127"/>
                  <a:pt x="42" y="127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47" y="134"/>
                  <a:pt x="47" y="133"/>
                  <a:pt x="50" y="132"/>
                </a:cubicBezTo>
                <a:cubicBezTo>
                  <a:pt x="50" y="132"/>
                  <a:pt x="50" y="132"/>
                  <a:pt x="50" y="132"/>
                </a:cubicBezTo>
                <a:cubicBezTo>
                  <a:pt x="51" y="132"/>
                  <a:pt x="51" y="132"/>
                  <a:pt x="51" y="132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8" name="Freeform 105"/>
          <p:cNvSpPr>
            <a:spLocks/>
          </p:cNvSpPr>
          <p:nvPr/>
        </p:nvSpPr>
        <p:spPr bwMode="auto">
          <a:xfrm>
            <a:off x="7793502" y="2826042"/>
            <a:ext cx="324740" cy="610286"/>
          </a:xfrm>
          <a:custGeom>
            <a:avLst/>
            <a:gdLst>
              <a:gd name="T0" fmla="*/ 2 w 72"/>
              <a:gd name="T1" fmla="*/ 29 h 135"/>
              <a:gd name="T2" fmla="*/ 27 w 72"/>
              <a:gd name="T3" fmla="*/ 59 h 135"/>
              <a:gd name="T4" fmla="*/ 1 w 72"/>
              <a:gd name="T5" fmla="*/ 92 h 135"/>
              <a:gd name="T6" fmla="*/ 1 w 72"/>
              <a:gd name="T7" fmla="*/ 117 h 135"/>
              <a:gd name="T8" fmla="*/ 47 w 72"/>
              <a:gd name="T9" fmla="*/ 133 h 135"/>
              <a:gd name="T10" fmla="*/ 65 w 72"/>
              <a:gd name="T11" fmla="*/ 128 h 135"/>
              <a:gd name="T12" fmla="*/ 51 w 72"/>
              <a:gd name="T13" fmla="*/ 108 h 135"/>
              <a:gd name="T14" fmla="*/ 69 w 72"/>
              <a:gd name="T15" fmla="*/ 63 h 135"/>
              <a:gd name="T16" fmla="*/ 72 w 72"/>
              <a:gd name="T17" fmla="*/ 37 h 135"/>
              <a:gd name="T18" fmla="*/ 51 w 72"/>
              <a:gd name="T19" fmla="*/ 23 h 135"/>
              <a:gd name="T20" fmla="*/ 47 w 72"/>
              <a:gd name="T21" fmla="*/ 23 h 135"/>
              <a:gd name="T22" fmla="*/ 44 w 72"/>
              <a:gd name="T23" fmla="*/ 15 h 135"/>
              <a:gd name="T24" fmla="*/ 19 w 72"/>
              <a:gd name="T25" fmla="*/ 5 h 135"/>
              <a:gd name="T26" fmla="*/ 13 w 72"/>
              <a:gd name="T27" fmla="*/ 5 h 135"/>
              <a:gd name="T28" fmla="*/ 5 w 72"/>
              <a:gd name="T29" fmla="*/ 5 h 135"/>
              <a:gd name="T30" fmla="*/ 7 w 72"/>
              <a:gd name="T31" fmla="*/ 23 h 135"/>
              <a:gd name="T32" fmla="*/ 0 w 72"/>
              <a:gd name="T33" fmla="*/ 29 h 135"/>
              <a:gd name="T34" fmla="*/ 0 w 72"/>
              <a:gd name="T35" fmla="*/ 29 h 135"/>
              <a:gd name="T36" fmla="*/ 2 w 72"/>
              <a:gd name="T37" fmla="*/ 29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2" h="135">
                <a:moveTo>
                  <a:pt x="2" y="29"/>
                </a:moveTo>
                <a:cubicBezTo>
                  <a:pt x="4" y="47"/>
                  <a:pt x="27" y="43"/>
                  <a:pt x="27" y="59"/>
                </a:cubicBezTo>
                <a:cubicBezTo>
                  <a:pt x="27" y="76"/>
                  <a:pt x="1" y="75"/>
                  <a:pt x="1" y="92"/>
                </a:cubicBezTo>
                <a:cubicBezTo>
                  <a:pt x="1" y="101"/>
                  <a:pt x="1" y="107"/>
                  <a:pt x="1" y="117"/>
                </a:cubicBezTo>
                <a:cubicBezTo>
                  <a:pt x="1" y="135"/>
                  <a:pt x="28" y="133"/>
                  <a:pt x="47" y="133"/>
                </a:cubicBezTo>
                <a:cubicBezTo>
                  <a:pt x="55" y="133"/>
                  <a:pt x="65" y="134"/>
                  <a:pt x="65" y="128"/>
                </a:cubicBezTo>
                <a:cubicBezTo>
                  <a:pt x="65" y="120"/>
                  <a:pt x="51" y="119"/>
                  <a:pt x="51" y="108"/>
                </a:cubicBezTo>
                <a:cubicBezTo>
                  <a:pt x="51" y="91"/>
                  <a:pt x="69" y="83"/>
                  <a:pt x="69" y="63"/>
                </a:cubicBezTo>
                <a:cubicBezTo>
                  <a:pt x="69" y="53"/>
                  <a:pt x="71" y="47"/>
                  <a:pt x="72" y="37"/>
                </a:cubicBezTo>
                <a:cubicBezTo>
                  <a:pt x="60" y="37"/>
                  <a:pt x="60" y="23"/>
                  <a:pt x="51" y="23"/>
                </a:cubicBezTo>
                <a:cubicBezTo>
                  <a:pt x="48" y="23"/>
                  <a:pt x="51" y="23"/>
                  <a:pt x="47" y="23"/>
                </a:cubicBezTo>
                <a:cubicBezTo>
                  <a:pt x="44" y="23"/>
                  <a:pt x="44" y="17"/>
                  <a:pt x="44" y="15"/>
                </a:cubicBezTo>
                <a:cubicBezTo>
                  <a:pt x="44" y="0"/>
                  <a:pt x="29" y="5"/>
                  <a:pt x="19" y="5"/>
                </a:cubicBezTo>
                <a:cubicBezTo>
                  <a:pt x="16" y="5"/>
                  <a:pt x="17" y="5"/>
                  <a:pt x="13" y="5"/>
                </a:cubicBezTo>
                <a:cubicBezTo>
                  <a:pt x="11" y="5"/>
                  <a:pt x="5" y="2"/>
                  <a:pt x="5" y="5"/>
                </a:cubicBezTo>
                <a:cubicBezTo>
                  <a:pt x="5" y="12"/>
                  <a:pt x="7" y="15"/>
                  <a:pt x="7" y="23"/>
                </a:cubicBezTo>
                <a:cubicBezTo>
                  <a:pt x="7" y="28"/>
                  <a:pt x="2" y="29"/>
                  <a:pt x="0" y="29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29"/>
                  <a:pt x="2" y="29"/>
                  <a:pt x="2" y="2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9" name="Line 109"/>
          <p:cNvSpPr>
            <a:spLocks noChangeShapeType="1"/>
          </p:cNvSpPr>
          <p:nvPr/>
        </p:nvSpPr>
        <p:spPr bwMode="auto">
          <a:xfrm>
            <a:off x="6480547" y="1650261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0" name="Line 110"/>
          <p:cNvSpPr>
            <a:spLocks noChangeShapeType="1"/>
          </p:cNvSpPr>
          <p:nvPr/>
        </p:nvSpPr>
        <p:spPr bwMode="auto">
          <a:xfrm>
            <a:off x="6480547" y="1650261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1" name="Line 111"/>
          <p:cNvSpPr>
            <a:spLocks noChangeShapeType="1"/>
          </p:cNvSpPr>
          <p:nvPr/>
        </p:nvSpPr>
        <p:spPr bwMode="auto">
          <a:xfrm>
            <a:off x="6480547" y="1650261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2" name="Line 112"/>
          <p:cNvSpPr>
            <a:spLocks noChangeShapeType="1"/>
          </p:cNvSpPr>
          <p:nvPr/>
        </p:nvSpPr>
        <p:spPr bwMode="auto">
          <a:xfrm>
            <a:off x="6480547" y="1650261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4" name="Freeform 116"/>
          <p:cNvSpPr>
            <a:spLocks noEditPoints="1"/>
          </p:cNvSpPr>
          <p:nvPr/>
        </p:nvSpPr>
        <p:spPr bwMode="auto">
          <a:xfrm>
            <a:off x="4064597" y="4231380"/>
            <a:ext cx="683072" cy="926627"/>
          </a:xfrm>
          <a:custGeom>
            <a:avLst/>
            <a:gdLst>
              <a:gd name="T0" fmla="*/ 146 w 151"/>
              <a:gd name="T1" fmla="*/ 123 h 204"/>
              <a:gd name="T2" fmla="*/ 142 w 151"/>
              <a:gd name="T3" fmla="*/ 128 h 204"/>
              <a:gd name="T4" fmla="*/ 132 w 151"/>
              <a:gd name="T5" fmla="*/ 122 h 204"/>
              <a:gd name="T6" fmla="*/ 122 w 151"/>
              <a:gd name="T7" fmla="*/ 141 h 204"/>
              <a:gd name="T8" fmla="*/ 128 w 151"/>
              <a:gd name="T9" fmla="*/ 149 h 204"/>
              <a:gd name="T10" fmla="*/ 128 w 151"/>
              <a:gd name="T11" fmla="*/ 172 h 204"/>
              <a:gd name="T12" fmla="*/ 114 w 151"/>
              <a:gd name="T13" fmla="*/ 187 h 204"/>
              <a:gd name="T14" fmla="*/ 114 w 151"/>
              <a:gd name="T15" fmla="*/ 187 h 204"/>
              <a:gd name="T16" fmla="*/ 114 w 151"/>
              <a:gd name="T17" fmla="*/ 189 h 204"/>
              <a:gd name="T18" fmla="*/ 114 w 151"/>
              <a:gd name="T19" fmla="*/ 189 h 204"/>
              <a:gd name="T20" fmla="*/ 98 w 151"/>
              <a:gd name="T21" fmla="*/ 200 h 204"/>
              <a:gd name="T22" fmla="*/ 80 w 151"/>
              <a:gd name="T23" fmla="*/ 187 h 204"/>
              <a:gd name="T24" fmla="*/ 57 w 151"/>
              <a:gd name="T25" fmla="*/ 204 h 204"/>
              <a:gd name="T26" fmla="*/ 43 w 151"/>
              <a:gd name="T27" fmla="*/ 189 h 204"/>
              <a:gd name="T28" fmla="*/ 35 w 151"/>
              <a:gd name="T29" fmla="*/ 189 h 204"/>
              <a:gd name="T30" fmla="*/ 30 w 151"/>
              <a:gd name="T31" fmla="*/ 173 h 204"/>
              <a:gd name="T32" fmla="*/ 23 w 151"/>
              <a:gd name="T33" fmla="*/ 125 h 204"/>
              <a:gd name="T34" fmla="*/ 15 w 151"/>
              <a:gd name="T35" fmla="*/ 109 h 204"/>
              <a:gd name="T36" fmla="*/ 6 w 151"/>
              <a:gd name="T37" fmla="*/ 69 h 204"/>
              <a:gd name="T38" fmla="*/ 0 w 151"/>
              <a:gd name="T39" fmla="*/ 39 h 204"/>
              <a:gd name="T40" fmla="*/ 0 w 151"/>
              <a:gd name="T41" fmla="*/ 39 h 204"/>
              <a:gd name="T42" fmla="*/ 11 w 151"/>
              <a:gd name="T43" fmla="*/ 32 h 204"/>
              <a:gd name="T44" fmla="*/ 26 w 151"/>
              <a:gd name="T45" fmla="*/ 53 h 204"/>
              <a:gd name="T46" fmla="*/ 26 w 151"/>
              <a:gd name="T47" fmla="*/ 53 h 204"/>
              <a:gd name="T48" fmla="*/ 47 w 151"/>
              <a:gd name="T49" fmla="*/ 44 h 204"/>
              <a:gd name="T50" fmla="*/ 81 w 151"/>
              <a:gd name="T51" fmla="*/ 50 h 204"/>
              <a:gd name="T52" fmla="*/ 73 w 151"/>
              <a:gd name="T53" fmla="*/ 23 h 204"/>
              <a:gd name="T54" fmla="*/ 87 w 151"/>
              <a:gd name="T55" fmla="*/ 16 h 204"/>
              <a:gd name="T56" fmla="*/ 110 w 151"/>
              <a:gd name="T57" fmla="*/ 26 h 204"/>
              <a:gd name="T58" fmla="*/ 114 w 151"/>
              <a:gd name="T59" fmla="*/ 27 h 204"/>
              <a:gd name="T60" fmla="*/ 114 w 151"/>
              <a:gd name="T61" fmla="*/ 44 h 204"/>
              <a:gd name="T62" fmla="*/ 146 w 151"/>
              <a:gd name="T63" fmla="*/ 60 h 204"/>
              <a:gd name="T64" fmla="*/ 138 w 151"/>
              <a:gd name="T65" fmla="*/ 81 h 204"/>
              <a:gd name="T66" fmla="*/ 151 w 151"/>
              <a:gd name="T67" fmla="*/ 103 h 204"/>
              <a:gd name="T68" fmla="*/ 149 w 151"/>
              <a:gd name="T69" fmla="*/ 120 h 204"/>
              <a:gd name="T70" fmla="*/ 149 w 151"/>
              <a:gd name="T71" fmla="*/ 120 h 204"/>
              <a:gd name="T72" fmla="*/ 146 w 151"/>
              <a:gd name="T73" fmla="*/ 123 h 204"/>
              <a:gd name="T74" fmla="*/ 98 w 151"/>
              <a:gd name="T75" fmla="*/ 147 h 204"/>
              <a:gd name="T76" fmla="*/ 98 w 151"/>
              <a:gd name="T77" fmla="*/ 140 h 204"/>
              <a:gd name="T78" fmla="*/ 74 w 151"/>
              <a:gd name="T79" fmla="*/ 110 h 204"/>
              <a:gd name="T80" fmla="*/ 54 w 151"/>
              <a:gd name="T81" fmla="*/ 98 h 204"/>
              <a:gd name="T82" fmla="*/ 54 w 151"/>
              <a:gd name="T83" fmla="*/ 98 h 204"/>
              <a:gd name="T84" fmla="*/ 49 w 151"/>
              <a:gd name="T85" fmla="*/ 98 h 204"/>
              <a:gd name="T86" fmla="*/ 49 w 151"/>
              <a:gd name="T87" fmla="*/ 107 h 204"/>
              <a:gd name="T88" fmla="*/ 49 w 151"/>
              <a:gd name="T89" fmla="*/ 107 h 204"/>
              <a:gd name="T90" fmla="*/ 69 w 151"/>
              <a:gd name="T91" fmla="*/ 123 h 204"/>
              <a:gd name="T92" fmla="*/ 76 w 151"/>
              <a:gd name="T93" fmla="*/ 120 h 204"/>
              <a:gd name="T94" fmla="*/ 81 w 151"/>
              <a:gd name="T95" fmla="*/ 129 h 204"/>
              <a:gd name="T96" fmla="*/ 62 w 151"/>
              <a:gd name="T97" fmla="*/ 142 h 204"/>
              <a:gd name="T98" fmla="*/ 57 w 151"/>
              <a:gd name="T99" fmla="*/ 162 h 204"/>
              <a:gd name="T100" fmla="*/ 52 w 151"/>
              <a:gd name="T101" fmla="*/ 156 h 204"/>
              <a:gd name="T102" fmla="*/ 43 w 151"/>
              <a:gd name="T103" fmla="*/ 162 h 204"/>
              <a:gd name="T104" fmla="*/ 57 w 151"/>
              <a:gd name="T105" fmla="*/ 182 h 204"/>
              <a:gd name="T106" fmla="*/ 82 w 151"/>
              <a:gd name="T107" fmla="*/ 149 h 204"/>
              <a:gd name="T108" fmla="*/ 89 w 151"/>
              <a:gd name="T109" fmla="*/ 149 h 204"/>
              <a:gd name="T110" fmla="*/ 92 w 151"/>
              <a:gd name="T111" fmla="*/ 163 h 204"/>
              <a:gd name="T112" fmla="*/ 98 w 151"/>
              <a:gd name="T113" fmla="*/ 147 h 204"/>
              <a:gd name="T114" fmla="*/ 98 w 151"/>
              <a:gd name="T115" fmla="*/ 147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1" h="204">
                <a:moveTo>
                  <a:pt x="146" y="123"/>
                </a:moveTo>
                <a:cubicBezTo>
                  <a:pt x="146" y="125"/>
                  <a:pt x="145" y="128"/>
                  <a:pt x="142" y="128"/>
                </a:cubicBezTo>
                <a:cubicBezTo>
                  <a:pt x="137" y="128"/>
                  <a:pt x="135" y="122"/>
                  <a:pt x="132" y="122"/>
                </a:cubicBezTo>
                <a:cubicBezTo>
                  <a:pt x="130" y="122"/>
                  <a:pt x="122" y="139"/>
                  <a:pt x="122" y="141"/>
                </a:cubicBezTo>
                <a:cubicBezTo>
                  <a:pt x="122" y="146"/>
                  <a:pt x="128" y="144"/>
                  <a:pt x="128" y="149"/>
                </a:cubicBezTo>
                <a:cubicBezTo>
                  <a:pt x="128" y="156"/>
                  <a:pt x="128" y="161"/>
                  <a:pt x="128" y="172"/>
                </a:cubicBezTo>
                <a:cubicBezTo>
                  <a:pt x="118" y="174"/>
                  <a:pt x="114" y="178"/>
                  <a:pt x="114" y="187"/>
                </a:cubicBezTo>
                <a:cubicBezTo>
                  <a:pt x="114" y="187"/>
                  <a:pt x="114" y="187"/>
                  <a:pt x="114" y="187"/>
                </a:cubicBezTo>
                <a:cubicBezTo>
                  <a:pt x="114" y="189"/>
                  <a:pt x="114" y="189"/>
                  <a:pt x="114" y="189"/>
                </a:cubicBezTo>
                <a:cubicBezTo>
                  <a:pt x="114" y="189"/>
                  <a:pt x="114" y="189"/>
                  <a:pt x="114" y="189"/>
                </a:cubicBezTo>
                <a:cubicBezTo>
                  <a:pt x="111" y="198"/>
                  <a:pt x="107" y="200"/>
                  <a:pt x="98" y="200"/>
                </a:cubicBezTo>
                <a:cubicBezTo>
                  <a:pt x="86" y="200"/>
                  <a:pt x="94" y="187"/>
                  <a:pt x="80" y="187"/>
                </a:cubicBezTo>
                <a:cubicBezTo>
                  <a:pt x="71" y="187"/>
                  <a:pt x="57" y="194"/>
                  <a:pt x="57" y="204"/>
                </a:cubicBezTo>
                <a:cubicBezTo>
                  <a:pt x="52" y="203"/>
                  <a:pt x="44" y="190"/>
                  <a:pt x="43" y="189"/>
                </a:cubicBezTo>
                <a:cubicBezTo>
                  <a:pt x="39" y="187"/>
                  <a:pt x="37" y="187"/>
                  <a:pt x="35" y="189"/>
                </a:cubicBezTo>
                <a:cubicBezTo>
                  <a:pt x="32" y="183"/>
                  <a:pt x="31" y="178"/>
                  <a:pt x="30" y="173"/>
                </a:cubicBezTo>
                <a:cubicBezTo>
                  <a:pt x="26" y="154"/>
                  <a:pt x="30" y="141"/>
                  <a:pt x="23" y="125"/>
                </a:cubicBezTo>
                <a:cubicBezTo>
                  <a:pt x="19" y="114"/>
                  <a:pt x="12" y="117"/>
                  <a:pt x="15" y="109"/>
                </a:cubicBezTo>
                <a:cubicBezTo>
                  <a:pt x="23" y="102"/>
                  <a:pt x="6" y="82"/>
                  <a:pt x="6" y="69"/>
                </a:cubicBezTo>
                <a:cubicBezTo>
                  <a:pt x="6" y="59"/>
                  <a:pt x="6" y="44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32"/>
                  <a:pt x="11" y="32"/>
                  <a:pt x="11" y="32"/>
                </a:cubicBezTo>
                <a:cubicBezTo>
                  <a:pt x="26" y="53"/>
                  <a:pt x="26" y="53"/>
                  <a:pt x="26" y="53"/>
                </a:cubicBezTo>
                <a:cubicBezTo>
                  <a:pt x="26" y="53"/>
                  <a:pt x="26" y="53"/>
                  <a:pt x="26" y="53"/>
                </a:cubicBezTo>
                <a:cubicBezTo>
                  <a:pt x="31" y="58"/>
                  <a:pt x="38" y="61"/>
                  <a:pt x="47" y="44"/>
                </a:cubicBezTo>
                <a:cubicBezTo>
                  <a:pt x="53" y="32"/>
                  <a:pt x="81" y="50"/>
                  <a:pt x="81" y="50"/>
                </a:cubicBezTo>
                <a:cubicBezTo>
                  <a:pt x="89" y="39"/>
                  <a:pt x="81" y="32"/>
                  <a:pt x="73" y="23"/>
                </a:cubicBezTo>
                <a:cubicBezTo>
                  <a:pt x="79" y="22"/>
                  <a:pt x="74" y="0"/>
                  <a:pt x="87" y="16"/>
                </a:cubicBezTo>
                <a:cubicBezTo>
                  <a:pt x="91" y="19"/>
                  <a:pt x="100" y="23"/>
                  <a:pt x="110" y="26"/>
                </a:cubicBezTo>
                <a:cubicBezTo>
                  <a:pt x="111" y="26"/>
                  <a:pt x="113" y="27"/>
                  <a:pt x="114" y="27"/>
                </a:cubicBezTo>
                <a:cubicBezTo>
                  <a:pt x="114" y="31"/>
                  <a:pt x="113" y="38"/>
                  <a:pt x="114" y="44"/>
                </a:cubicBezTo>
                <a:cubicBezTo>
                  <a:pt x="126" y="43"/>
                  <a:pt x="146" y="50"/>
                  <a:pt x="146" y="60"/>
                </a:cubicBezTo>
                <a:cubicBezTo>
                  <a:pt x="146" y="67"/>
                  <a:pt x="138" y="70"/>
                  <a:pt x="138" y="81"/>
                </a:cubicBezTo>
                <a:cubicBezTo>
                  <a:pt x="138" y="92"/>
                  <a:pt x="151" y="94"/>
                  <a:pt x="151" y="103"/>
                </a:cubicBezTo>
                <a:cubicBezTo>
                  <a:pt x="151" y="109"/>
                  <a:pt x="149" y="114"/>
                  <a:pt x="149" y="120"/>
                </a:cubicBezTo>
                <a:cubicBezTo>
                  <a:pt x="149" y="120"/>
                  <a:pt x="149" y="120"/>
                  <a:pt x="149" y="120"/>
                </a:cubicBezTo>
                <a:cubicBezTo>
                  <a:pt x="146" y="123"/>
                  <a:pt x="146" y="123"/>
                  <a:pt x="146" y="123"/>
                </a:cubicBezTo>
                <a:close/>
                <a:moveTo>
                  <a:pt x="98" y="147"/>
                </a:moveTo>
                <a:cubicBezTo>
                  <a:pt x="101" y="147"/>
                  <a:pt x="98" y="142"/>
                  <a:pt x="98" y="140"/>
                </a:cubicBezTo>
                <a:cubicBezTo>
                  <a:pt x="98" y="128"/>
                  <a:pt x="85" y="110"/>
                  <a:pt x="74" y="110"/>
                </a:cubicBezTo>
                <a:cubicBezTo>
                  <a:pt x="64" y="110"/>
                  <a:pt x="59" y="103"/>
                  <a:pt x="54" y="98"/>
                </a:cubicBezTo>
                <a:cubicBezTo>
                  <a:pt x="54" y="98"/>
                  <a:pt x="54" y="98"/>
                  <a:pt x="54" y="98"/>
                </a:cubicBezTo>
                <a:cubicBezTo>
                  <a:pt x="49" y="98"/>
                  <a:pt x="49" y="98"/>
                  <a:pt x="49" y="98"/>
                </a:cubicBezTo>
                <a:cubicBezTo>
                  <a:pt x="49" y="107"/>
                  <a:pt x="49" y="107"/>
                  <a:pt x="49" y="107"/>
                </a:cubicBezTo>
                <a:cubicBezTo>
                  <a:pt x="49" y="107"/>
                  <a:pt x="49" y="107"/>
                  <a:pt x="49" y="107"/>
                </a:cubicBezTo>
                <a:cubicBezTo>
                  <a:pt x="52" y="113"/>
                  <a:pt x="60" y="123"/>
                  <a:pt x="69" y="123"/>
                </a:cubicBezTo>
                <a:cubicBezTo>
                  <a:pt x="70" y="123"/>
                  <a:pt x="74" y="120"/>
                  <a:pt x="76" y="120"/>
                </a:cubicBezTo>
                <a:cubicBezTo>
                  <a:pt x="80" y="120"/>
                  <a:pt x="81" y="126"/>
                  <a:pt x="81" y="129"/>
                </a:cubicBezTo>
                <a:cubicBezTo>
                  <a:pt x="81" y="134"/>
                  <a:pt x="66" y="142"/>
                  <a:pt x="62" y="142"/>
                </a:cubicBezTo>
                <a:cubicBezTo>
                  <a:pt x="62" y="151"/>
                  <a:pt x="64" y="161"/>
                  <a:pt x="57" y="162"/>
                </a:cubicBezTo>
                <a:cubicBezTo>
                  <a:pt x="55" y="158"/>
                  <a:pt x="54" y="156"/>
                  <a:pt x="52" y="156"/>
                </a:cubicBezTo>
                <a:cubicBezTo>
                  <a:pt x="49" y="156"/>
                  <a:pt x="43" y="158"/>
                  <a:pt x="43" y="162"/>
                </a:cubicBezTo>
                <a:cubicBezTo>
                  <a:pt x="43" y="173"/>
                  <a:pt x="48" y="182"/>
                  <a:pt x="57" y="182"/>
                </a:cubicBezTo>
                <a:cubicBezTo>
                  <a:pt x="68" y="182"/>
                  <a:pt x="79" y="160"/>
                  <a:pt x="82" y="149"/>
                </a:cubicBezTo>
                <a:cubicBezTo>
                  <a:pt x="86" y="150"/>
                  <a:pt x="87" y="149"/>
                  <a:pt x="89" y="149"/>
                </a:cubicBezTo>
                <a:cubicBezTo>
                  <a:pt x="89" y="154"/>
                  <a:pt x="90" y="163"/>
                  <a:pt x="92" y="163"/>
                </a:cubicBezTo>
                <a:cubicBezTo>
                  <a:pt x="98" y="163"/>
                  <a:pt x="94" y="147"/>
                  <a:pt x="98" y="147"/>
                </a:cubicBezTo>
                <a:cubicBezTo>
                  <a:pt x="98" y="147"/>
                  <a:pt x="98" y="147"/>
                  <a:pt x="98" y="147"/>
                </a:cubicBezTo>
                <a:close/>
              </a:path>
            </a:pathLst>
          </a:custGeom>
          <a:solidFill>
            <a:srgbClr val="BEBEBE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6" name="Freeform 141"/>
          <p:cNvSpPr>
            <a:spLocks/>
          </p:cNvSpPr>
          <p:nvPr/>
        </p:nvSpPr>
        <p:spPr bwMode="auto">
          <a:xfrm>
            <a:off x="7902682" y="2982813"/>
            <a:ext cx="1150586" cy="1402538"/>
          </a:xfrm>
          <a:custGeom>
            <a:avLst/>
            <a:gdLst>
              <a:gd name="T0" fmla="*/ 170 w 254"/>
              <a:gd name="T1" fmla="*/ 3 h 309"/>
              <a:gd name="T2" fmla="*/ 141 w 254"/>
              <a:gd name="T3" fmla="*/ 63 h 309"/>
              <a:gd name="T4" fmla="*/ 121 w 254"/>
              <a:gd name="T5" fmla="*/ 93 h 309"/>
              <a:gd name="T6" fmla="*/ 95 w 254"/>
              <a:gd name="T7" fmla="*/ 109 h 309"/>
              <a:gd name="T8" fmla="*/ 103 w 254"/>
              <a:gd name="T9" fmla="*/ 131 h 309"/>
              <a:gd name="T10" fmla="*/ 95 w 254"/>
              <a:gd name="T11" fmla="*/ 146 h 309"/>
              <a:gd name="T12" fmla="*/ 100 w 254"/>
              <a:gd name="T13" fmla="*/ 157 h 309"/>
              <a:gd name="T14" fmla="*/ 77 w 254"/>
              <a:gd name="T15" fmla="*/ 174 h 309"/>
              <a:gd name="T16" fmla="*/ 61 w 254"/>
              <a:gd name="T17" fmla="*/ 194 h 309"/>
              <a:gd name="T18" fmla="*/ 50 w 254"/>
              <a:gd name="T19" fmla="*/ 191 h 309"/>
              <a:gd name="T20" fmla="*/ 31 w 254"/>
              <a:gd name="T21" fmla="*/ 211 h 309"/>
              <a:gd name="T22" fmla="*/ 18 w 254"/>
              <a:gd name="T23" fmla="*/ 212 h 309"/>
              <a:gd name="T24" fmla="*/ 0 w 254"/>
              <a:gd name="T25" fmla="*/ 242 h 309"/>
              <a:gd name="T26" fmla="*/ 36 w 254"/>
              <a:gd name="T27" fmla="*/ 267 h 309"/>
              <a:gd name="T28" fmla="*/ 46 w 254"/>
              <a:gd name="T29" fmla="*/ 264 h 309"/>
              <a:gd name="T30" fmla="*/ 75 w 254"/>
              <a:gd name="T31" fmla="*/ 282 h 309"/>
              <a:gd name="T32" fmla="*/ 101 w 254"/>
              <a:gd name="T33" fmla="*/ 287 h 309"/>
              <a:gd name="T34" fmla="*/ 116 w 254"/>
              <a:gd name="T35" fmla="*/ 298 h 309"/>
              <a:gd name="T36" fmla="*/ 133 w 254"/>
              <a:gd name="T37" fmla="*/ 290 h 309"/>
              <a:gd name="T38" fmla="*/ 175 w 254"/>
              <a:gd name="T39" fmla="*/ 309 h 309"/>
              <a:gd name="T40" fmla="*/ 190 w 254"/>
              <a:gd name="T41" fmla="*/ 301 h 309"/>
              <a:gd name="T42" fmla="*/ 203 w 254"/>
              <a:gd name="T43" fmla="*/ 304 h 309"/>
              <a:gd name="T44" fmla="*/ 203 w 254"/>
              <a:gd name="T45" fmla="*/ 281 h 309"/>
              <a:gd name="T46" fmla="*/ 218 w 254"/>
              <a:gd name="T47" fmla="*/ 260 h 309"/>
              <a:gd name="T48" fmla="*/ 218 w 254"/>
              <a:gd name="T49" fmla="*/ 260 h 309"/>
              <a:gd name="T50" fmla="*/ 246 w 254"/>
              <a:gd name="T51" fmla="*/ 260 h 309"/>
              <a:gd name="T52" fmla="*/ 246 w 254"/>
              <a:gd name="T53" fmla="*/ 260 h 309"/>
              <a:gd name="T54" fmla="*/ 254 w 254"/>
              <a:gd name="T55" fmla="*/ 224 h 309"/>
              <a:gd name="T56" fmla="*/ 246 w 254"/>
              <a:gd name="T57" fmla="*/ 189 h 309"/>
              <a:gd name="T58" fmla="*/ 221 w 254"/>
              <a:gd name="T59" fmla="*/ 168 h 309"/>
              <a:gd name="T60" fmla="*/ 223 w 254"/>
              <a:gd name="T61" fmla="*/ 155 h 309"/>
              <a:gd name="T62" fmla="*/ 223 w 254"/>
              <a:gd name="T63" fmla="*/ 133 h 309"/>
              <a:gd name="T64" fmla="*/ 219 w 254"/>
              <a:gd name="T65" fmla="*/ 95 h 309"/>
              <a:gd name="T66" fmla="*/ 223 w 254"/>
              <a:gd name="T67" fmla="*/ 75 h 309"/>
              <a:gd name="T68" fmla="*/ 212 w 254"/>
              <a:gd name="T69" fmla="*/ 56 h 309"/>
              <a:gd name="T70" fmla="*/ 178 w 254"/>
              <a:gd name="T71" fmla="*/ 8 h 309"/>
              <a:gd name="T72" fmla="*/ 171 w 254"/>
              <a:gd name="T73" fmla="*/ 0 h 309"/>
              <a:gd name="T74" fmla="*/ 171 w 254"/>
              <a:gd name="T75" fmla="*/ 0 h 309"/>
              <a:gd name="T76" fmla="*/ 170 w 254"/>
              <a:gd name="T77" fmla="*/ 3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54" h="309">
                <a:moveTo>
                  <a:pt x="170" y="3"/>
                </a:moveTo>
                <a:cubicBezTo>
                  <a:pt x="162" y="23"/>
                  <a:pt x="152" y="45"/>
                  <a:pt x="141" y="63"/>
                </a:cubicBezTo>
                <a:cubicBezTo>
                  <a:pt x="134" y="75"/>
                  <a:pt x="131" y="85"/>
                  <a:pt x="121" y="93"/>
                </a:cubicBezTo>
                <a:cubicBezTo>
                  <a:pt x="114" y="98"/>
                  <a:pt x="95" y="96"/>
                  <a:pt x="95" y="109"/>
                </a:cubicBezTo>
                <a:cubicBezTo>
                  <a:pt x="95" y="121"/>
                  <a:pt x="103" y="122"/>
                  <a:pt x="103" y="131"/>
                </a:cubicBezTo>
                <a:cubicBezTo>
                  <a:pt x="103" y="137"/>
                  <a:pt x="95" y="139"/>
                  <a:pt x="95" y="146"/>
                </a:cubicBezTo>
                <a:cubicBezTo>
                  <a:pt x="95" y="149"/>
                  <a:pt x="100" y="152"/>
                  <a:pt x="100" y="157"/>
                </a:cubicBezTo>
                <a:cubicBezTo>
                  <a:pt x="100" y="168"/>
                  <a:pt x="87" y="174"/>
                  <a:pt x="77" y="174"/>
                </a:cubicBezTo>
                <a:cubicBezTo>
                  <a:pt x="62" y="174"/>
                  <a:pt x="72" y="194"/>
                  <a:pt x="61" y="194"/>
                </a:cubicBezTo>
                <a:cubicBezTo>
                  <a:pt x="58" y="194"/>
                  <a:pt x="55" y="191"/>
                  <a:pt x="50" y="191"/>
                </a:cubicBezTo>
                <a:cubicBezTo>
                  <a:pt x="39" y="191"/>
                  <a:pt x="36" y="205"/>
                  <a:pt x="31" y="211"/>
                </a:cubicBezTo>
                <a:cubicBezTo>
                  <a:pt x="27" y="215"/>
                  <a:pt x="23" y="211"/>
                  <a:pt x="18" y="212"/>
                </a:cubicBezTo>
                <a:cubicBezTo>
                  <a:pt x="9" y="215"/>
                  <a:pt x="0" y="232"/>
                  <a:pt x="0" y="242"/>
                </a:cubicBezTo>
                <a:cubicBezTo>
                  <a:pt x="0" y="251"/>
                  <a:pt x="25" y="267"/>
                  <a:pt x="36" y="267"/>
                </a:cubicBezTo>
                <a:cubicBezTo>
                  <a:pt x="39" y="267"/>
                  <a:pt x="41" y="264"/>
                  <a:pt x="46" y="264"/>
                </a:cubicBezTo>
                <a:cubicBezTo>
                  <a:pt x="58" y="264"/>
                  <a:pt x="69" y="276"/>
                  <a:pt x="75" y="282"/>
                </a:cubicBezTo>
                <a:cubicBezTo>
                  <a:pt x="83" y="288"/>
                  <a:pt x="91" y="283"/>
                  <a:pt x="101" y="287"/>
                </a:cubicBezTo>
                <a:cubicBezTo>
                  <a:pt x="106" y="288"/>
                  <a:pt x="109" y="298"/>
                  <a:pt x="116" y="298"/>
                </a:cubicBezTo>
                <a:cubicBezTo>
                  <a:pt x="126" y="298"/>
                  <a:pt x="126" y="290"/>
                  <a:pt x="133" y="290"/>
                </a:cubicBezTo>
                <a:cubicBezTo>
                  <a:pt x="147" y="290"/>
                  <a:pt x="166" y="309"/>
                  <a:pt x="175" y="309"/>
                </a:cubicBezTo>
                <a:cubicBezTo>
                  <a:pt x="181" y="309"/>
                  <a:pt x="184" y="301"/>
                  <a:pt x="190" y="301"/>
                </a:cubicBezTo>
                <a:cubicBezTo>
                  <a:pt x="195" y="301"/>
                  <a:pt x="198" y="304"/>
                  <a:pt x="203" y="304"/>
                </a:cubicBezTo>
                <a:cubicBezTo>
                  <a:pt x="211" y="298"/>
                  <a:pt x="203" y="281"/>
                  <a:pt x="203" y="281"/>
                </a:cubicBezTo>
                <a:cubicBezTo>
                  <a:pt x="210" y="271"/>
                  <a:pt x="211" y="265"/>
                  <a:pt x="218" y="260"/>
                </a:cubicBezTo>
                <a:cubicBezTo>
                  <a:pt x="218" y="260"/>
                  <a:pt x="218" y="260"/>
                  <a:pt x="218" y="260"/>
                </a:cubicBezTo>
                <a:cubicBezTo>
                  <a:pt x="246" y="260"/>
                  <a:pt x="246" y="260"/>
                  <a:pt x="246" y="260"/>
                </a:cubicBezTo>
                <a:cubicBezTo>
                  <a:pt x="246" y="260"/>
                  <a:pt x="246" y="260"/>
                  <a:pt x="246" y="260"/>
                </a:cubicBezTo>
                <a:cubicBezTo>
                  <a:pt x="254" y="249"/>
                  <a:pt x="253" y="239"/>
                  <a:pt x="254" y="224"/>
                </a:cubicBezTo>
                <a:cubicBezTo>
                  <a:pt x="254" y="224"/>
                  <a:pt x="250" y="199"/>
                  <a:pt x="246" y="189"/>
                </a:cubicBezTo>
                <a:cubicBezTo>
                  <a:pt x="243" y="176"/>
                  <a:pt x="224" y="180"/>
                  <a:pt x="221" y="168"/>
                </a:cubicBezTo>
                <a:cubicBezTo>
                  <a:pt x="219" y="163"/>
                  <a:pt x="223" y="158"/>
                  <a:pt x="223" y="155"/>
                </a:cubicBezTo>
                <a:cubicBezTo>
                  <a:pt x="223" y="152"/>
                  <a:pt x="223" y="141"/>
                  <a:pt x="223" y="133"/>
                </a:cubicBezTo>
                <a:cubicBezTo>
                  <a:pt x="223" y="120"/>
                  <a:pt x="219" y="109"/>
                  <a:pt x="219" y="95"/>
                </a:cubicBezTo>
                <a:cubicBezTo>
                  <a:pt x="219" y="88"/>
                  <a:pt x="223" y="83"/>
                  <a:pt x="223" y="75"/>
                </a:cubicBezTo>
                <a:cubicBezTo>
                  <a:pt x="223" y="67"/>
                  <a:pt x="216" y="62"/>
                  <a:pt x="212" y="56"/>
                </a:cubicBezTo>
                <a:cubicBezTo>
                  <a:pt x="205" y="34"/>
                  <a:pt x="185" y="32"/>
                  <a:pt x="178" y="8"/>
                </a:cubicBezTo>
                <a:cubicBezTo>
                  <a:pt x="178" y="7"/>
                  <a:pt x="171" y="3"/>
                  <a:pt x="171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0" y="3"/>
                  <a:pt x="170" y="3"/>
                  <a:pt x="170" y="3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8" name="Freeform 143"/>
          <p:cNvSpPr>
            <a:spLocks/>
          </p:cNvSpPr>
          <p:nvPr/>
        </p:nvSpPr>
        <p:spPr bwMode="auto">
          <a:xfrm>
            <a:off x="7701119" y="4180990"/>
            <a:ext cx="725065" cy="949023"/>
          </a:xfrm>
          <a:custGeom>
            <a:avLst/>
            <a:gdLst>
              <a:gd name="T0" fmla="*/ 22 w 160"/>
              <a:gd name="T1" fmla="*/ 209 h 209"/>
              <a:gd name="T2" fmla="*/ 51 w 160"/>
              <a:gd name="T3" fmla="*/ 208 h 209"/>
              <a:gd name="T4" fmla="*/ 67 w 160"/>
              <a:gd name="T5" fmla="*/ 176 h 209"/>
              <a:gd name="T6" fmla="*/ 96 w 160"/>
              <a:gd name="T7" fmla="*/ 187 h 209"/>
              <a:gd name="T8" fmla="*/ 101 w 160"/>
              <a:gd name="T9" fmla="*/ 181 h 209"/>
              <a:gd name="T10" fmla="*/ 83 w 160"/>
              <a:gd name="T11" fmla="*/ 163 h 209"/>
              <a:gd name="T12" fmla="*/ 83 w 160"/>
              <a:gd name="T13" fmla="*/ 163 h 209"/>
              <a:gd name="T14" fmla="*/ 83 w 160"/>
              <a:gd name="T15" fmla="*/ 157 h 209"/>
              <a:gd name="T16" fmla="*/ 83 w 160"/>
              <a:gd name="T17" fmla="*/ 157 h 209"/>
              <a:gd name="T18" fmla="*/ 94 w 160"/>
              <a:gd name="T19" fmla="*/ 155 h 209"/>
              <a:gd name="T20" fmla="*/ 83 w 160"/>
              <a:gd name="T21" fmla="*/ 145 h 209"/>
              <a:gd name="T22" fmla="*/ 96 w 160"/>
              <a:gd name="T23" fmla="*/ 131 h 209"/>
              <a:gd name="T24" fmla="*/ 124 w 160"/>
              <a:gd name="T25" fmla="*/ 146 h 209"/>
              <a:gd name="T26" fmla="*/ 154 w 160"/>
              <a:gd name="T27" fmla="*/ 146 h 209"/>
              <a:gd name="T28" fmla="*/ 154 w 160"/>
              <a:gd name="T29" fmla="*/ 146 h 209"/>
              <a:gd name="T30" fmla="*/ 153 w 160"/>
              <a:gd name="T31" fmla="*/ 137 h 209"/>
              <a:gd name="T32" fmla="*/ 153 w 160"/>
              <a:gd name="T33" fmla="*/ 137 h 209"/>
              <a:gd name="T34" fmla="*/ 158 w 160"/>
              <a:gd name="T35" fmla="*/ 123 h 209"/>
              <a:gd name="T36" fmla="*/ 158 w 160"/>
              <a:gd name="T37" fmla="*/ 117 h 209"/>
              <a:gd name="T38" fmla="*/ 142 w 160"/>
              <a:gd name="T39" fmla="*/ 108 h 209"/>
              <a:gd name="T40" fmla="*/ 131 w 160"/>
              <a:gd name="T41" fmla="*/ 108 h 209"/>
              <a:gd name="T42" fmla="*/ 160 w 160"/>
              <a:gd name="T43" fmla="*/ 59 h 209"/>
              <a:gd name="T44" fmla="*/ 156 w 160"/>
              <a:gd name="T45" fmla="*/ 33 h 209"/>
              <a:gd name="T46" fmla="*/ 145 w 160"/>
              <a:gd name="T47" fmla="*/ 23 h 209"/>
              <a:gd name="T48" fmla="*/ 119 w 160"/>
              <a:gd name="T49" fmla="*/ 18 h 209"/>
              <a:gd name="T50" fmla="*/ 90 w 160"/>
              <a:gd name="T51" fmla="*/ 0 h 209"/>
              <a:gd name="T52" fmla="*/ 87 w 160"/>
              <a:gd name="T53" fmla="*/ 1 h 209"/>
              <a:gd name="T54" fmla="*/ 81 w 160"/>
              <a:gd name="T55" fmla="*/ 26 h 209"/>
              <a:gd name="T56" fmla="*/ 85 w 160"/>
              <a:gd name="T57" fmla="*/ 39 h 209"/>
              <a:gd name="T58" fmla="*/ 58 w 160"/>
              <a:gd name="T59" fmla="*/ 43 h 209"/>
              <a:gd name="T60" fmla="*/ 51 w 160"/>
              <a:gd name="T61" fmla="*/ 53 h 209"/>
              <a:gd name="T62" fmla="*/ 42 w 160"/>
              <a:gd name="T63" fmla="*/ 43 h 209"/>
              <a:gd name="T64" fmla="*/ 31 w 160"/>
              <a:gd name="T65" fmla="*/ 43 h 209"/>
              <a:gd name="T66" fmla="*/ 38 w 160"/>
              <a:gd name="T67" fmla="*/ 30 h 209"/>
              <a:gd name="T68" fmla="*/ 26 w 160"/>
              <a:gd name="T69" fmla="*/ 24 h 209"/>
              <a:gd name="T70" fmla="*/ 10 w 160"/>
              <a:gd name="T71" fmla="*/ 40 h 209"/>
              <a:gd name="T72" fmla="*/ 30 w 160"/>
              <a:gd name="T73" fmla="*/ 70 h 209"/>
              <a:gd name="T74" fmla="*/ 48 w 160"/>
              <a:gd name="T75" fmla="*/ 75 h 209"/>
              <a:gd name="T76" fmla="*/ 70 w 160"/>
              <a:gd name="T77" fmla="*/ 70 h 209"/>
              <a:gd name="T78" fmla="*/ 70 w 160"/>
              <a:gd name="T79" fmla="*/ 70 h 209"/>
              <a:gd name="T80" fmla="*/ 76 w 160"/>
              <a:gd name="T81" fmla="*/ 70 h 209"/>
              <a:gd name="T82" fmla="*/ 76 w 160"/>
              <a:gd name="T83" fmla="*/ 70 h 209"/>
              <a:gd name="T84" fmla="*/ 59 w 160"/>
              <a:gd name="T85" fmla="*/ 104 h 209"/>
              <a:gd name="T86" fmla="*/ 48 w 160"/>
              <a:gd name="T87" fmla="*/ 101 h 209"/>
              <a:gd name="T88" fmla="*/ 26 w 160"/>
              <a:gd name="T89" fmla="*/ 115 h 209"/>
              <a:gd name="T90" fmla="*/ 15 w 160"/>
              <a:gd name="T91" fmla="*/ 145 h 209"/>
              <a:gd name="T92" fmla="*/ 0 w 160"/>
              <a:gd name="T93" fmla="*/ 168 h 209"/>
              <a:gd name="T94" fmla="*/ 8 w 160"/>
              <a:gd name="T95" fmla="*/ 176 h 209"/>
              <a:gd name="T96" fmla="*/ 16 w 160"/>
              <a:gd name="T97" fmla="*/ 176 h 209"/>
              <a:gd name="T98" fmla="*/ 35 w 160"/>
              <a:gd name="T99" fmla="*/ 189 h 209"/>
              <a:gd name="T100" fmla="*/ 24 w 160"/>
              <a:gd name="T101" fmla="*/ 200 h 209"/>
              <a:gd name="T102" fmla="*/ 24 w 160"/>
              <a:gd name="T103" fmla="*/ 200 h 209"/>
              <a:gd name="T104" fmla="*/ 24 w 160"/>
              <a:gd name="T105" fmla="*/ 205 h 209"/>
              <a:gd name="T106" fmla="*/ 22 w 160"/>
              <a:gd name="T107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60" h="209">
                <a:moveTo>
                  <a:pt x="22" y="209"/>
                </a:moveTo>
                <a:cubicBezTo>
                  <a:pt x="22" y="199"/>
                  <a:pt x="51" y="208"/>
                  <a:pt x="51" y="208"/>
                </a:cubicBezTo>
                <a:cubicBezTo>
                  <a:pt x="55" y="197"/>
                  <a:pt x="53" y="176"/>
                  <a:pt x="67" y="176"/>
                </a:cubicBezTo>
                <a:cubicBezTo>
                  <a:pt x="79" y="176"/>
                  <a:pt x="84" y="187"/>
                  <a:pt x="96" y="187"/>
                </a:cubicBezTo>
                <a:cubicBezTo>
                  <a:pt x="100" y="187"/>
                  <a:pt x="101" y="184"/>
                  <a:pt x="101" y="181"/>
                </a:cubicBezTo>
                <a:cubicBezTo>
                  <a:pt x="101" y="176"/>
                  <a:pt x="85" y="168"/>
                  <a:pt x="83" y="163"/>
                </a:cubicBezTo>
                <a:cubicBezTo>
                  <a:pt x="83" y="163"/>
                  <a:pt x="83" y="163"/>
                  <a:pt x="83" y="163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89" y="157"/>
                  <a:pt x="91" y="157"/>
                  <a:pt x="94" y="155"/>
                </a:cubicBezTo>
                <a:cubicBezTo>
                  <a:pt x="91" y="151"/>
                  <a:pt x="83" y="150"/>
                  <a:pt x="83" y="145"/>
                </a:cubicBezTo>
                <a:cubicBezTo>
                  <a:pt x="83" y="139"/>
                  <a:pt x="89" y="131"/>
                  <a:pt x="96" y="131"/>
                </a:cubicBezTo>
                <a:cubicBezTo>
                  <a:pt x="100" y="131"/>
                  <a:pt x="121" y="142"/>
                  <a:pt x="124" y="146"/>
                </a:cubicBezTo>
                <a:cubicBezTo>
                  <a:pt x="140" y="146"/>
                  <a:pt x="145" y="146"/>
                  <a:pt x="154" y="146"/>
                </a:cubicBezTo>
                <a:cubicBezTo>
                  <a:pt x="154" y="146"/>
                  <a:pt x="154" y="146"/>
                  <a:pt x="154" y="146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5" y="131"/>
                  <a:pt x="158" y="129"/>
                  <a:pt x="158" y="123"/>
                </a:cubicBezTo>
                <a:cubicBezTo>
                  <a:pt x="158" y="120"/>
                  <a:pt x="158" y="118"/>
                  <a:pt x="158" y="117"/>
                </a:cubicBezTo>
                <a:cubicBezTo>
                  <a:pt x="149" y="117"/>
                  <a:pt x="142" y="118"/>
                  <a:pt x="142" y="108"/>
                </a:cubicBezTo>
                <a:cubicBezTo>
                  <a:pt x="138" y="109"/>
                  <a:pt x="135" y="109"/>
                  <a:pt x="131" y="108"/>
                </a:cubicBezTo>
                <a:cubicBezTo>
                  <a:pt x="134" y="88"/>
                  <a:pt x="160" y="81"/>
                  <a:pt x="160" y="59"/>
                </a:cubicBezTo>
                <a:cubicBezTo>
                  <a:pt x="160" y="51"/>
                  <a:pt x="159" y="40"/>
                  <a:pt x="156" y="33"/>
                </a:cubicBezTo>
                <a:cubicBezTo>
                  <a:pt x="151" y="30"/>
                  <a:pt x="150" y="24"/>
                  <a:pt x="145" y="23"/>
                </a:cubicBezTo>
                <a:cubicBezTo>
                  <a:pt x="135" y="19"/>
                  <a:pt x="127" y="24"/>
                  <a:pt x="119" y="18"/>
                </a:cubicBezTo>
                <a:cubicBezTo>
                  <a:pt x="113" y="12"/>
                  <a:pt x="102" y="0"/>
                  <a:pt x="90" y="0"/>
                </a:cubicBezTo>
                <a:cubicBezTo>
                  <a:pt x="89" y="0"/>
                  <a:pt x="89" y="0"/>
                  <a:pt x="87" y="1"/>
                </a:cubicBezTo>
                <a:cubicBezTo>
                  <a:pt x="87" y="12"/>
                  <a:pt x="81" y="14"/>
                  <a:pt x="81" y="26"/>
                </a:cubicBezTo>
                <a:cubicBezTo>
                  <a:pt x="81" y="33"/>
                  <a:pt x="83" y="35"/>
                  <a:pt x="85" y="39"/>
                </a:cubicBezTo>
                <a:cubicBezTo>
                  <a:pt x="80" y="45"/>
                  <a:pt x="64" y="43"/>
                  <a:pt x="58" y="43"/>
                </a:cubicBezTo>
                <a:cubicBezTo>
                  <a:pt x="57" y="49"/>
                  <a:pt x="55" y="53"/>
                  <a:pt x="51" y="53"/>
                </a:cubicBezTo>
                <a:cubicBezTo>
                  <a:pt x="44" y="53"/>
                  <a:pt x="43" y="45"/>
                  <a:pt x="42" y="43"/>
                </a:cubicBezTo>
                <a:cubicBezTo>
                  <a:pt x="37" y="43"/>
                  <a:pt x="36" y="45"/>
                  <a:pt x="31" y="43"/>
                </a:cubicBezTo>
                <a:cubicBezTo>
                  <a:pt x="33" y="37"/>
                  <a:pt x="38" y="37"/>
                  <a:pt x="38" y="30"/>
                </a:cubicBezTo>
                <a:cubicBezTo>
                  <a:pt x="38" y="24"/>
                  <a:pt x="31" y="24"/>
                  <a:pt x="26" y="24"/>
                </a:cubicBezTo>
                <a:cubicBezTo>
                  <a:pt x="15" y="24"/>
                  <a:pt x="10" y="29"/>
                  <a:pt x="10" y="40"/>
                </a:cubicBezTo>
                <a:cubicBezTo>
                  <a:pt x="10" y="60"/>
                  <a:pt x="15" y="70"/>
                  <a:pt x="30" y="70"/>
                </a:cubicBezTo>
                <a:cubicBezTo>
                  <a:pt x="37" y="70"/>
                  <a:pt x="39" y="75"/>
                  <a:pt x="48" y="75"/>
                </a:cubicBezTo>
                <a:cubicBezTo>
                  <a:pt x="58" y="75"/>
                  <a:pt x="67" y="72"/>
                  <a:pt x="70" y="70"/>
                </a:cubicBezTo>
                <a:cubicBezTo>
                  <a:pt x="70" y="70"/>
                  <a:pt x="70" y="70"/>
                  <a:pt x="70" y="70"/>
                </a:cubicBezTo>
                <a:cubicBezTo>
                  <a:pt x="76" y="70"/>
                  <a:pt x="76" y="70"/>
                  <a:pt x="76" y="70"/>
                </a:cubicBezTo>
                <a:cubicBezTo>
                  <a:pt x="76" y="70"/>
                  <a:pt x="76" y="70"/>
                  <a:pt x="76" y="70"/>
                </a:cubicBezTo>
                <a:cubicBezTo>
                  <a:pt x="76" y="74"/>
                  <a:pt x="63" y="104"/>
                  <a:pt x="59" y="104"/>
                </a:cubicBezTo>
                <a:cubicBezTo>
                  <a:pt x="55" y="104"/>
                  <a:pt x="52" y="101"/>
                  <a:pt x="48" y="101"/>
                </a:cubicBezTo>
                <a:cubicBezTo>
                  <a:pt x="43" y="101"/>
                  <a:pt x="27" y="113"/>
                  <a:pt x="26" y="115"/>
                </a:cubicBezTo>
                <a:cubicBezTo>
                  <a:pt x="16" y="128"/>
                  <a:pt x="25" y="131"/>
                  <a:pt x="15" y="145"/>
                </a:cubicBezTo>
                <a:cubicBezTo>
                  <a:pt x="9" y="153"/>
                  <a:pt x="0" y="157"/>
                  <a:pt x="0" y="168"/>
                </a:cubicBezTo>
                <a:cubicBezTo>
                  <a:pt x="0" y="173"/>
                  <a:pt x="4" y="176"/>
                  <a:pt x="8" y="176"/>
                </a:cubicBezTo>
                <a:cubicBezTo>
                  <a:pt x="10" y="176"/>
                  <a:pt x="12" y="176"/>
                  <a:pt x="16" y="176"/>
                </a:cubicBezTo>
                <a:cubicBezTo>
                  <a:pt x="20" y="176"/>
                  <a:pt x="35" y="181"/>
                  <a:pt x="35" y="189"/>
                </a:cubicBezTo>
                <a:cubicBezTo>
                  <a:pt x="35" y="190"/>
                  <a:pt x="26" y="198"/>
                  <a:pt x="24" y="200"/>
                </a:cubicBezTo>
                <a:cubicBezTo>
                  <a:pt x="24" y="200"/>
                  <a:pt x="24" y="200"/>
                  <a:pt x="24" y="200"/>
                </a:cubicBezTo>
                <a:cubicBezTo>
                  <a:pt x="24" y="205"/>
                  <a:pt x="24" y="205"/>
                  <a:pt x="24" y="205"/>
                </a:cubicBezTo>
                <a:cubicBezTo>
                  <a:pt x="22" y="209"/>
                  <a:pt x="22" y="209"/>
                  <a:pt x="22" y="209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9" name="Freeform 144"/>
          <p:cNvSpPr>
            <a:spLocks/>
          </p:cNvSpPr>
          <p:nvPr/>
        </p:nvSpPr>
        <p:spPr bwMode="auto">
          <a:xfrm>
            <a:off x="7575144" y="2826042"/>
            <a:ext cx="1074998" cy="1265364"/>
          </a:xfrm>
          <a:custGeom>
            <a:avLst/>
            <a:gdLst>
              <a:gd name="T0" fmla="*/ 120 w 237"/>
              <a:gd name="T1" fmla="*/ 37 h 279"/>
              <a:gd name="T2" fmla="*/ 99 w 237"/>
              <a:gd name="T3" fmla="*/ 23 h 279"/>
              <a:gd name="T4" fmla="*/ 95 w 237"/>
              <a:gd name="T5" fmla="*/ 23 h 279"/>
              <a:gd name="T6" fmla="*/ 92 w 237"/>
              <a:gd name="T7" fmla="*/ 15 h 279"/>
              <a:gd name="T8" fmla="*/ 67 w 237"/>
              <a:gd name="T9" fmla="*/ 5 h 279"/>
              <a:gd name="T10" fmla="*/ 61 w 237"/>
              <a:gd name="T11" fmla="*/ 5 h 279"/>
              <a:gd name="T12" fmla="*/ 53 w 237"/>
              <a:gd name="T13" fmla="*/ 5 h 279"/>
              <a:gd name="T14" fmla="*/ 55 w 237"/>
              <a:gd name="T15" fmla="*/ 23 h 279"/>
              <a:gd name="T16" fmla="*/ 48 w 237"/>
              <a:gd name="T17" fmla="*/ 29 h 279"/>
              <a:gd name="T18" fmla="*/ 48 w 237"/>
              <a:gd name="T19" fmla="*/ 29 h 279"/>
              <a:gd name="T20" fmla="*/ 50 w 237"/>
              <a:gd name="T21" fmla="*/ 29 h 279"/>
              <a:gd name="T22" fmla="*/ 50 w 237"/>
              <a:gd name="T23" fmla="*/ 29 h 279"/>
              <a:gd name="T24" fmla="*/ 75 w 237"/>
              <a:gd name="T25" fmla="*/ 59 h 279"/>
              <a:gd name="T26" fmla="*/ 49 w 237"/>
              <a:gd name="T27" fmla="*/ 92 h 279"/>
              <a:gd name="T28" fmla="*/ 49 w 237"/>
              <a:gd name="T29" fmla="*/ 117 h 279"/>
              <a:gd name="T30" fmla="*/ 49 w 237"/>
              <a:gd name="T31" fmla="*/ 117 h 279"/>
              <a:gd name="T32" fmla="*/ 45 w 237"/>
              <a:gd name="T33" fmla="*/ 119 h 279"/>
              <a:gd name="T34" fmla="*/ 45 w 237"/>
              <a:gd name="T35" fmla="*/ 119 h 279"/>
              <a:gd name="T36" fmla="*/ 24 w 237"/>
              <a:gd name="T37" fmla="*/ 181 h 279"/>
              <a:gd name="T38" fmla="*/ 18 w 237"/>
              <a:gd name="T39" fmla="*/ 203 h 279"/>
              <a:gd name="T40" fmla="*/ 0 w 237"/>
              <a:gd name="T41" fmla="*/ 216 h 279"/>
              <a:gd name="T42" fmla="*/ 13 w 237"/>
              <a:gd name="T43" fmla="*/ 227 h 279"/>
              <a:gd name="T44" fmla="*/ 27 w 237"/>
              <a:gd name="T45" fmla="*/ 247 h 279"/>
              <a:gd name="T46" fmla="*/ 42 w 237"/>
              <a:gd name="T47" fmla="*/ 251 h 279"/>
              <a:gd name="T48" fmla="*/ 54 w 237"/>
              <a:gd name="T49" fmla="*/ 259 h 279"/>
              <a:gd name="T50" fmla="*/ 63 w 237"/>
              <a:gd name="T51" fmla="*/ 275 h 279"/>
              <a:gd name="T52" fmla="*/ 72 w 237"/>
              <a:gd name="T53" fmla="*/ 275 h 279"/>
              <a:gd name="T54" fmla="*/ 90 w 237"/>
              <a:gd name="T55" fmla="*/ 247 h 279"/>
              <a:gd name="T56" fmla="*/ 103 w 237"/>
              <a:gd name="T57" fmla="*/ 246 h 279"/>
              <a:gd name="T58" fmla="*/ 122 w 237"/>
              <a:gd name="T59" fmla="*/ 226 h 279"/>
              <a:gd name="T60" fmla="*/ 133 w 237"/>
              <a:gd name="T61" fmla="*/ 229 h 279"/>
              <a:gd name="T62" fmla="*/ 149 w 237"/>
              <a:gd name="T63" fmla="*/ 209 h 279"/>
              <a:gd name="T64" fmla="*/ 172 w 237"/>
              <a:gd name="T65" fmla="*/ 192 h 279"/>
              <a:gd name="T66" fmla="*/ 167 w 237"/>
              <a:gd name="T67" fmla="*/ 181 h 279"/>
              <a:gd name="T68" fmla="*/ 175 w 237"/>
              <a:gd name="T69" fmla="*/ 166 h 279"/>
              <a:gd name="T70" fmla="*/ 167 w 237"/>
              <a:gd name="T71" fmla="*/ 144 h 279"/>
              <a:gd name="T72" fmla="*/ 193 w 237"/>
              <a:gd name="T73" fmla="*/ 128 h 279"/>
              <a:gd name="T74" fmla="*/ 213 w 237"/>
              <a:gd name="T75" fmla="*/ 98 h 279"/>
              <a:gd name="T76" fmla="*/ 236 w 237"/>
              <a:gd name="T77" fmla="*/ 53 h 279"/>
              <a:gd name="T78" fmla="*/ 236 w 237"/>
              <a:gd name="T79" fmla="*/ 53 h 279"/>
              <a:gd name="T80" fmla="*/ 237 w 237"/>
              <a:gd name="T81" fmla="*/ 50 h 279"/>
              <a:gd name="T82" fmla="*/ 237 w 237"/>
              <a:gd name="T83" fmla="*/ 50 h 279"/>
              <a:gd name="T84" fmla="*/ 170 w 237"/>
              <a:gd name="T85" fmla="*/ 32 h 279"/>
              <a:gd name="T86" fmla="*/ 155 w 237"/>
              <a:gd name="T87" fmla="*/ 37 h 279"/>
              <a:gd name="T88" fmla="*/ 120 w 237"/>
              <a:gd name="T89" fmla="*/ 35 h 279"/>
              <a:gd name="T90" fmla="*/ 120 w 237"/>
              <a:gd name="T91" fmla="*/ 35 h 279"/>
              <a:gd name="T92" fmla="*/ 120 w 237"/>
              <a:gd name="T93" fmla="*/ 37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37" h="279">
                <a:moveTo>
                  <a:pt x="120" y="37"/>
                </a:moveTo>
                <a:cubicBezTo>
                  <a:pt x="108" y="37"/>
                  <a:pt x="108" y="23"/>
                  <a:pt x="99" y="23"/>
                </a:cubicBezTo>
                <a:cubicBezTo>
                  <a:pt x="96" y="23"/>
                  <a:pt x="99" y="23"/>
                  <a:pt x="95" y="23"/>
                </a:cubicBezTo>
                <a:cubicBezTo>
                  <a:pt x="92" y="23"/>
                  <a:pt x="92" y="17"/>
                  <a:pt x="92" y="15"/>
                </a:cubicBezTo>
                <a:cubicBezTo>
                  <a:pt x="92" y="0"/>
                  <a:pt x="77" y="5"/>
                  <a:pt x="67" y="5"/>
                </a:cubicBezTo>
                <a:cubicBezTo>
                  <a:pt x="64" y="5"/>
                  <a:pt x="65" y="5"/>
                  <a:pt x="61" y="5"/>
                </a:cubicBezTo>
                <a:cubicBezTo>
                  <a:pt x="59" y="5"/>
                  <a:pt x="53" y="2"/>
                  <a:pt x="53" y="5"/>
                </a:cubicBezTo>
                <a:cubicBezTo>
                  <a:pt x="53" y="12"/>
                  <a:pt x="55" y="15"/>
                  <a:pt x="55" y="23"/>
                </a:cubicBezTo>
                <a:cubicBezTo>
                  <a:pt x="55" y="28"/>
                  <a:pt x="50" y="29"/>
                  <a:pt x="48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50" y="29"/>
                  <a:pt x="50" y="29"/>
                  <a:pt x="50" y="29"/>
                </a:cubicBezTo>
                <a:cubicBezTo>
                  <a:pt x="50" y="29"/>
                  <a:pt x="50" y="29"/>
                  <a:pt x="50" y="29"/>
                </a:cubicBezTo>
                <a:cubicBezTo>
                  <a:pt x="52" y="47"/>
                  <a:pt x="75" y="43"/>
                  <a:pt x="75" y="59"/>
                </a:cubicBezTo>
                <a:cubicBezTo>
                  <a:pt x="75" y="76"/>
                  <a:pt x="49" y="75"/>
                  <a:pt x="49" y="92"/>
                </a:cubicBezTo>
                <a:cubicBezTo>
                  <a:pt x="49" y="101"/>
                  <a:pt x="49" y="107"/>
                  <a:pt x="49" y="117"/>
                </a:cubicBezTo>
                <a:cubicBezTo>
                  <a:pt x="49" y="117"/>
                  <a:pt x="49" y="117"/>
                  <a:pt x="49" y="117"/>
                </a:cubicBezTo>
                <a:cubicBezTo>
                  <a:pt x="45" y="119"/>
                  <a:pt x="45" y="119"/>
                  <a:pt x="45" y="119"/>
                </a:cubicBezTo>
                <a:cubicBezTo>
                  <a:pt x="45" y="119"/>
                  <a:pt x="45" y="119"/>
                  <a:pt x="45" y="119"/>
                </a:cubicBezTo>
                <a:cubicBezTo>
                  <a:pt x="29" y="125"/>
                  <a:pt x="28" y="165"/>
                  <a:pt x="24" y="181"/>
                </a:cubicBezTo>
                <a:cubicBezTo>
                  <a:pt x="23" y="187"/>
                  <a:pt x="21" y="199"/>
                  <a:pt x="18" y="203"/>
                </a:cubicBezTo>
                <a:cubicBezTo>
                  <a:pt x="12" y="206"/>
                  <a:pt x="0" y="208"/>
                  <a:pt x="0" y="216"/>
                </a:cubicBezTo>
                <a:cubicBezTo>
                  <a:pt x="0" y="226"/>
                  <a:pt x="7" y="227"/>
                  <a:pt x="13" y="227"/>
                </a:cubicBezTo>
                <a:cubicBezTo>
                  <a:pt x="15" y="237"/>
                  <a:pt x="18" y="246"/>
                  <a:pt x="27" y="247"/>
                </a:cubicBezTo>
                <a:cubicBezTo>
                  <a:pt x="32" y="248"/>
                  <a:pt x="40" y="247"/>
                  <a:pt x="42" y="251"/>
                </a:cubicBezTo>
                <a:cubicBezTo>
                  <a:pt x="45" y="261"/>
                  <a:pt x="44" y="253"/>
                  <a:pt x="54" y="259"/>
                </a:cubicBezTo>
                <a:cubicBezTo>
                  <a:pt x="60" y="263"/>
                  <a:pt x="49" y="275"/>
                  <a:pt x="63" y="275"/>
                </a:cubicBezTo>
                <a:cubicBezTo>
                  <a:pt x="67" y="275"/>
                  <a:pt x="70" y="279"/>
                  <a:pt x="72" y="275"/>
                </a:cubicBezTo>
                <a:cubicBezTo>
                  <a:pt x="72" y="267"/>
                  <a:pt x="81" y="250"/>
                  <a:pt x="90" y="247"/>
                </a:cubicBezTo>
                <a:cubicBezTo>
                  <a:pt x="95" y="246"/>
                  <a:pt x="99" y="250"/>
                  <a:pt x="103" y="246"/>
                </a:cubicBezTo>
                <a:cubicBezTo>
                  <a:pt x="108" y="240"/>
                  <a:pt x="111" y="226"/>
                  <a:pt x="122" y="226"/>
                </a:cubicBezTo>
                <a:cubicBezTo>
                  <a:pt x="127" y="226"/>
                  <a:pt x="130" y="229"/>
                  <a:pt x="133" y="229"/>
                </a:cubicBezTo>
                <a:cubicBezTo>
                  <a:pt x="144" y="229"/>
                  <a:pt x="134" y="209"/>
                  <a:pt x="149" y="209"/>
                </a:cubicBezTo>
                <a:cubicBezTo>
                  <a:pt x="159" y="209"/>
                  <a:pt x="172" y="203"/>
                  <a:pt x="172" y="192"/>
                </a:cubicBezTo>
                <a:cubicBezTo>
                  <a:pt x="172" y="187"/>
                  <a:pt x="167" y="184"/>
                  <a:pt x="167" y="181"/>
                </a:cubicBezTo>
                <a:cubicBezTo>
                  <a:pt x="167" y="174"/>
                  <a:pt x="175" y="172"/>
                  <a:pt x="175" y="166"/>
                </a:cubicBezTo>
                <a:cubicBezTo>
                  <a:pt x="175" y="157"/>
                  <a:pt x="167" y="156"/>
                  <a:pt x="167" y="144"/>
                </a:cubicBezTo>
                <a:cubicBezTo>
                  <a:pt x="167" y="131"/>
                  <a:pt x="186" y="133"/>
                  <a:pt x="193" y="128"/>
                </a:cubicBezTo>
                <a:cubicBezTo>
                  <a:pt x="203" y="120"/>
                  <a:pt x="206" y="110"/>
                  <a:pt x="213" y="98"/>
                </a:cubicBezTo>
                <a:cubicBezTo>
                  <a:pt x="221" y="85"/>
                  <a:pt x="229" y="69"/>
                  <a:pt x="236" y="53"/>
                </a:cubicBezTo>
                <a:cubicBezTo>
                  <a:pt x="236" y="53"/>
                  <a:pt x="236" y="53"/>
                  <a:pt x="236" y="53"/>
                </a:cubicBezTo>
                <a:cubicBezTo>
                  <a:pt x="237" y="50"/>
                  <a:pt x="237" y="50"/>
                  <a:pt x="237" y="50"/>
                </a:cubicBezTo>
                <a:cubicBezTo>
                  <a:pt x="237" y="50"/>
                  <a:pt x="237" y="50"/>
                  <a:pt x="237" y="50"/>
                </a:cubicBezTo>
                <a:cubicBezTo>
                  <a:pt x="203" y="59"/>
                  <a:pt x="194" y="32"/>
                  <a:pt x="170" y="32"/>
                </a:cubicBezTo>
                <a:cubicBezTo>
                  <a:pt x="163" y="32"/>
                  <a:pt x="162" y="37"/>
                  <a:pt x="155" y="37"/>
                </a:cubicBezTo>
                <a:cubicBezTo>
                  <a:pt x="141" y="37"/>
                  <a:pt x="133" y="35"/>
                  <a:pt x="120" y="35"/>
                </a:cubicBezTo>
                <a:cubicBezTo>
                  <a:pt x="120" y="35"/>
                  <a:pt x="120" y="35"/>
                  <a:pt x="120" y="35"/>
                </a:cubicBezTo>
                <a:cubicBezTo>
                  <a:pt x="120" y="37"/>
                  <a:pt x="120" y="37"/>
                  <a:pt x="120" y="37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0" name="Line 151"/>
          <p:cNvSpPr>
            <a:spLocks noChangeShapeType="1"/>
          </p:cNvSpPr>
          <p:nvPr/>
        </p:nvSpPr>
        <p:spPr bwMode="auto">
          <a:xfrm>
            <a:off x="5534324" y="3629492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1" name="Line 152"/>
          <p:cNvSpPr>
            <a:spLocks noChangeShapeType="1"/>
          </p:cNvSpPr>
          <p:nvPr/>
        </p:nvSpPr>
        <p:spPr bwMode="auto">
          <a:xfrm>
            <a:off x="5534324" y="3629492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2" name="Line 153"/>
          <p:cNvSpPr>
            <a:spLocks noChangeShapeType="1"/>
          </p:cNvSpPr>
          <p:nvPr/>
        </p:nvSpPr>
        <p:spPr bwMode="auto">
          <a:xfrm>
            <a:off x="6480547" y="1650261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3" name="Line 154"/>
          <p:cNvSpPr>
            <a:spLocks noChangeShapeType="1"/>
          </p:cNvSpPr>
          <p:nvPr/>
        </p:nvSpPr>
        <p:spPr bwMode="auto">
          <a:xfrm>
            <a:off x="6480547" y="1650261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5" name="Полилиния 104"/>
          <p:cNvSpPr/>
          <p:nvPr/>
        </p:nvSpPr>
        <p:spPr>
          <a:xfrm>
            <a:off x="4259097" y="4657744"/>
            <a:ext cx="252086" cy="378913"/>
          </a:xfrm>
          <a:custGeom>
            <a:avLst/>
            <a:gdLst>
              <a:gd name="connsiteX0" fmla="*/ 99350 w 127925"/>
              <a:gd name="connsiteY0" fmla="*/ 131838 h 192285"/>
              <a:gd name="connsiteX1" fmla="*/ 112050 w 127925"/>
              <a:gd name="connsiteY1" fmla="*/ 147713 h 192285"/>
              <a:gd name="connsiteX2" fmla="*/ 115225 w 127925"/>
              <a:gd name="connsiteY2" fmla="*/ 157238 h 192285"/>
              <a:gd name="connsiteX3" fmla="*/ 127925 w 127925"/>
              <a:gd name="connsiteY3" fmla="*/ 154063 h 192285"/>
              <a:gd name="connsiteX4" fmla="*/ 124750 w 127925"/>
              <a:gd name="connsiteY4" fmla="*/ 141363 h 192285"/>
              <a:gd name="connsiteX5" fmla="*/ 118400 w 127925"/>
              <a:gd name="connsiteY5" fmla="*/ 131838 h 192285"/>
              <a:gd name="connsiteX6" fmla="*/ 124750 w 127925"/>
              <a:gd name="connsiteY6" fmla="*/ 112788 h 192285"/>
              <a:gd name="connsiteX7" fmla="*/ 118400 w 127925"/>
              <a:gd name="connsiteY7" fmla="*/ 84213 h 192285"/>
              <a:gd name="connsiteX8" fmla="*/ 99350 w 127925"/>
              <a:gd name="connsiteY8" fmla="*/ 68338 h 192285"/>
              <a:gd name="connsiteX9" fmla="*/ 86650 w 127925"/>
              <a:gd name="connsiteY9" fmla="*/ 49288 h 192285"/>
              <a:gd name="connsiteX10" fmla="*/ 73950 w 127925"/>
              <a:gd name="connsiteY10" fmla="*/ 33413 h 192285"/>
              <a:gd name="connsiteX11" fmla="*/ 32675 w 127925"/>
              <a:gd name="connsiteY11" fmla="*/ 30238 h 192285"/>
              <a:gd name="connsiteX12" fmla="*/ 7275 w 127925"/>
              <a:gd name="connsiteY12" fmla="*/ 8013 h 192285"/>
              <a:gd name="connsiteX13" fmla="*/ 10450 w 127925"/>
              <a:gd name="connsiteY13" fmla="*/ 20713 h 192285"/>
              <a:gd name="connsiteX14" fmla="*/ 23150 w 127925"/>
              <a:gd name="connsiteY14" fmla="*/ 36588 h 192285"/>
              <a:gd name="connsiteX15" fmla="*/ 42200 w 127925"/>
              <a:gd name="connsiteY15" fmla="*/ 52463 h 192285"/>
              <a:gd name="connsiteX16" fmla="*/ 48550 w 127925"/>
              <a:gd name="connsiteY16" fmla="*/ 61988 h 192285"/>
              <a:gd name="connsiteX17" fmla="*/ 77125 w 127925"/>
              <a:gd name="connsiteY17" fmla="*/ 68338 h 192285"/>
              <a:gd name="connsiteX18" fmla="*/ 77125 w 127925"/>
              <a:gd name="connsiteY18" fmla="*/ 90563 h 192285"/>
              <a:gd name="connsiteX19" fmla="*/ 67600 w 127925"/>
              <a:gd name="connsiteY19" fmla="*/ 96913 h 192285"/>
              <a:gd name="connsiteX20" fmla="*/ 48550 w 127925"/>
              <a:gd name="connsiteY20" fmla="*/ 103263 h 192285"/>
              <a:gd name="connsiteX21" fmla="*/ 42200 w 127925"/>
              <a:gd name="connsiteY21" fmla="*/ 112788 h 192285"/>
              <a:gd name="connsiteX22" fmla="*/ 39025 w 127925"/>
              <a:gd name="connsiteY22" fmla="*/ 135013 h 192285"/>
              <a:gd name="connsiteX23" fmla="*/ 35850 w 127925"/>
              <a:gd name="connsiteY23" fmla="*/ 147713 h 192285"/>
              <a:gd name="connsiteX24" fmla="*/ 26325 w 127925"/>
              <a:gd name="connsiteY24" fmla="*/ 154063 h 192285"/>
              <a:gd name="connsiteX25" fmla="*/ 13625 w 127925"/>
              <a:gd name="connsiteY25" fmla="*/ 150888 h 192285"/>
              <a:gd name="connsiteX26" fmla="*/ 925 w 127925"/>
              <a:gd name="connsiteY26" fmla="*/ 147713 h 192285"/>
              <a:gd name="connsiteX27" fmla="*/ 13625 w 127925"/>
              <a:gd name="connsiteY27" fmla="*/ 192163 h 192285"/>
              <a:gd name="connsiteX28" fmla="*/ 35850 w 127925"/>
              <a:gd name="connsiteY28" fmla="*/ 188988 h 192285"/>
              <a:gd name="connsiteX29" fmla="*/ 54900 w 127925"/>
              <a:gd name="connsiteY29" fmla="*/ 179463 h 192285"/>
              <a:gd name="connsiteX30" fmla="*/ 61250 w 127925"/>
              <a:gd name="connsiteY30" fmla="*/ 169938 h 192285"/>
              <a:gd name="connsiteX31" fmla="*/ 64425 w 127925"/>
              <a:gd name="connsiteY31" fmla="*/ 160413 h 192285"/>
              <a:gd name="connsiteX32" fmla="*/ 73950 w 127925"/>
              <a:gd name="connsiteY32" fmla="*/ 154063 h 192285"/>
              <a:gd name="connsiteX33" fmla="*/ 93000 w 127925"/>
              <a:gd name="connsiteY33" fmla="*/ 147713 h 192285"/>
              <a:gd name="connsiteX34" fmla="*/ 99350 w 127925"/>
              <a:gd name="connsiteY34" fmla="*/ 131838 h 192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27925" h="192285">
                <a:moveTo>
                  <a:pt x="99350" y="131838"/>
                </a:moveTo>
                <a:cubicBezTo>
                  <a:pt x="102525" y="131838"/>
                  <a:pt x="108458" y="141966"/>
                  <a:pt x="112050" y="147713"/>
                </a:cubicBezTo>
                <a:cubicBezTo>
                  <a:pt x="113824" y="150551"/>
                  <a:pt x="112118" y="155995"/>
                  <a:pt x="115225" y="157238"/>
                </a:cubicBezTo>
                <a:cubicBezTo>
                  <a:pt x="119277" y="158859"/>
                  <a:pt x="123692" y="155121"/>
                  <a:pt x="127925" y="154063"/>
                </a:cubicBezTo>
                <a:cubicBezTo>
                  <a:pt x="126867" y="149830"/>
                  <a:pt x="126469" y="145374"/>
                  <a:pt x="124750" y="141363"/>
                </a:cubicBezTo>
                <a:cubicBezTo>
                  <a:pt x="123247" y="137856"/>
                  <a:pt x="118400" y="135654"/>
                  <a:pt x="118400" y="131838"/>
                </a:cubicBezTo>
                <a:cubicBezTo>
                  <a:pt x="118400" y="125145"/>
                  <a:pt x="124750" y="112788"/>
                  <a:pt x="124750" y="112788"/>
                </a:cubicBezTo>
                <a:cubicBezTo>
                  <a:pt x="122633" y="103263"/>
                  <a:pt x="122153" y="93220"/>
                  <a:pt x="118400" y="84213"/>
                </a:cubicBezTo>
                <a:cubicBezTo>
                  <a:pt x="116049" y="78572"/>
                  <a:pt x="104221" y="71585"/>
                  <a:pt x="99350" y="68338"/>
                </a:cubicBezTo>
                <a:cubicBezTo>
                  <a:pt x="91801" y="45690"/>
                  <a:pt x="102505" y="73071"/>
                  <a:pt x="86650" y="49288"/>
                </a:cubicBezTo>
                <a:cubicBezTo>
                  <a:pt x="81202" y="41116"/>
                  <a:pt x="87475" y="35949"/>
                  <a:pt x="73950" y="33413"/>
                </a:cubicBezTo>
                <a:cubicBezTo>
                  <a:pt x="60387" y="30870"/>
                  <a:pt x="46433" y="31296"/>
                  <a:pt x="32675" y="30238"/>
                </a:cubicBezTo>
                <a:cubicBezTo>
                  <a:pt x="31305" y="19281"/>
                  <a:pt x="35549" y="-15549"/>
                  <a:pt x="7275" y="8013"/>
                </a:cubicBezTo>
                <a:cubicBezTo>
                  <a:pt x="3923" y="10807"/>
                  <a:pt x="9251" y="16517"/>
                  <a:pt x="10450" y="20713"/>
                </a:cubicBezTo>
                <a:cubicBezTo>
                  <a:pt x="14685" y="35535"/>
                  <a:pt x="11008" y="26469"/>
                  <a:pt x="23150" y="36588"/>
                </a:cubicBezTo>
                <a:cubicBezTo>
                  <a:pt x="47596" y="56960"/>
                  <a:pt x="18551" y="36697"/>
                  <a:pt x="42200" y="52463"/>
                </a:cubicBezTo>
                <a:cubicBezTo>
                  <a:pt x="44317" y="55638"/>
                  <a:pt x="45570" y="59604"/>
                  <a:pt x="48550" y="61988"/>
                </a:cubicBezTo>
                <a:cubicBezTo>
                  <a:pt x="52664" y="65279"/>
                  <a:pt x="76930" y="68306"/>
                  <a:pt x="77125" y="68338"/>
                </a:cubicBezTo>
                <a:cubicBezTo>
                  <a:pt x="84176" y="78914"/>
                  <a:pt x="87569" y="78031"/>
                  <a:pt x="77125" y="90563"/>
                </a:cubicBezTo>
                <a:cubicBezTo>
                  <a:pt x="74682" y="93494"/>
                  <a:pt x="71087" y="95363"/>
                  <a:pt x="67600" y="96913"/>
                </a:cubicBezTo>
                <a:cubicBezTo>
                  <a:pt x="61483" y="99631"/>
                  <a:pt x="48550" y="103263"/>
                  <a:pt x="48550" y="103263"/>
                </a:cubicBezTo>
                <a:cubicBezTo>
                  <a:pt x="46433" y="106438"/>
                  <a:pt x="43296" y="109133"/>
                  <a:pt x="42200" y="112788"/>
                </a:cubicBezTo>
                <a:cubicBezTo>
                  <a:pt x="40050" y="119956"/>
                  <a:pt x="40364" y="127650"/>
                  <a:pt x="39025" y="135013"/>
                </a:cubicBezTo>
                <a:cubicBezTo>
                  <a:pt x="38244" y="139306"/>
                  <a:pt x="38271" y="144082"/>
                  <a:pt x="35850" y="147713"/>
                </a:cubicBezTo>
                <a:cubicBezTo>
                  <a:pt x="33733" y="150888"/>
                  <a:pt x="29500" y="151946"/>
                  <a:pt x="26325" y="154063"/>
                </a:cubicBezTo>
                <a:cubicBezTo>
                  <a:pt x="22092" y="153005"/>
                  <a:pt x="17032" y="153614"/>
                  <a:pt x="13625" y="150888"/>
                </a:cubicBezTo>
                <a:cubicBezTo>
                  <a:pt x="2671" y="142125"/>
                  <a:pt x="20728" y="134511"/>
                  <a:pt x="925" y="147713"/>
                </a:cubicBezTo>
                <a:cubicBezTo>
                  <a:pt x="1216" y="151202"/>
                  <a:pt x="-5545" y="190246"/>
                  <a:pt x="13625" y="192163"/>
                </a:cubicBezTo>
                <a:cubicBezTo>
                  <a:pt x="21071" y="192908"/>
                  <a:pt x="28442" y="190046"/>
                  <a:pt x="35850" y="188988"/>
                </a:cubicBezTo>
                <a:cubicBezTo>
                  <a:pt x="43597" y="186406"/>
                  <a:pt x="48745" y="185618"/>
                  <a:pt x="54900" y="179463"/>
                </a:cubicBezTo>
                <a:cubicBezTo>
                  <a:pt x="57598" y="176765"/>
                  <a:pt x="59543" y="173351"/>
                  <a:pt x="61250" y="169938"/>
                </a:cubicBezTo>
                <a:cubicBezTo>
                  <a:pt x="62747" y="166945"/>
                  <a:pt x="62334" y="163026"/>
                  <a:pt x="64425" y="160413"/>
                </a:cubicBezTo>
                <a:cubicBezTo>
                  <a:pt x="66809" y="157433"/>
                  <a:pt x="70463" y="155613"/>
                  <a:pt x="73950" y="154063"/>
                </a:cubicBezTo>
                <a:cubicBezTo>
                  <a:pt x="80067" y="151345"/>
                  <a:pt x="86650" y="149830"/>
                  <a:pt x="93000" y="147713"/>
                </a:cubicBezTo>
                <a:cubicBezTo>
                  <a:pt x="104533" y="143869"/>
                  <a:pt x="96175" y="131838"/>
                  <a:pt x="99350" y="131838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106" name="Госпрограмма"/>
          <p:cNvGrpSpPr/>
          <p:nvPr/>
        </p:nvGrpSpPr>
        <p:grpSpPr>
          <a:xfrm>
            <a:off x="4098249" y="1199568"/>
            <a:ext cx="4292019" cy="3957499"/>
            <a:chOff x="1454264" y="1740758"/>
            <a:chExt cx="4292019" cy="3957499"/>
          </a:xfrm>
        </p:grpSpPr>
        <p:grpSp>
          <p:nvGrpSpPr>
            <p:cNvPr id="107" name="Госпрограмма. Дороги"/>
            <p:cNvGrpSpPr/>
            <p:nvPr/>
          </p:nvGrpSpPr>
          <p:grpSpPr>
            <a:xfrm>
              <a:off x="1454264" y="1740758"/>
              <a:ext cx="4292019" cy="3957499"/>
              <a:chOff x="996950" y="3104358"/>
              <a:chExt cx="2178050" cy="2008293"/>
            </a:xfrm>
          </p:grpSpPr>
          <p:sp>
            <p:nvSpPr>
              <p:cNvPr id="109" name="М-11"/>
              <p:cNvSpPr/>
              <p:nvPr/>
            </p:nvSpPr>
            <p:spPr>
              <a:xfrm>
                <a:off x="1853989" y="3104358"/>
                <a:ext cx="76805" cy="755243"/>
              </a:xfrm>
              <a:custGeom>
                <a:avLst/>
                <a:gdLst>
                  <a:gd name="connsiteX0" fmla="*/ 211 w 76805"/>
                  <a:gd name="connsiteY0" fmla="*/ 0 h 795867"/>
                  <a:gd name="connsiteX1" fmla="*/ 67944 w 76805"/>
                  <a:gd name="connsiteY1" fmla="*/ 84667 h 795867"/>
                  <a:gd name="connsiteX2" fmla="*/ 59478 w 76805"/>
                  <a:gd name="connsiteY2" fmla="*/ 169333 h 795867"/>
                  <a:gd name="connsiteX3" fmla="*/ 25611 w 76805"/>
                  <a:gd name="connsiteY3" fmla="*/ 254000 h 795867"/>
                  <a:gd name="connsiteX4" fmla="*/ 211 w 76805"/>
                  <a:gd name="connsiteY4" fmla="*/ 355600 h 795867"/>
                  <a:gd name="connsiteX5" fmla="*/ 17144 w 76805"/>
                  <a:gd name="connsiteY5" fmla="*/ 465667 h 795867"/>
                  <a:gd name="connsiteX6" fmla="*/ 76411 w 76805"/>
                  <a:gd name="connsiteY6" fmla="*/ 575733 h 795867"/>
                  <a:gd name="connsiteX7" fmla="*/ 42544 w 76805"/>
                  <a:gd name="connsiteY7" fmla="*/ 677333 h 795867"/>
                  <a:gd name="connsiteX8" fmla="*/ 34078 w 76805"/>
                  <a:gd name="connsiteY8" fmla="*/ 795867 h 795867"/>
                  <a:gd name="connsiteX0" fmla="*/ 9736 w 76805"/>
                  <a:gd name="connsiteY0" fmla="*/ 0 h 764910"/>
                  <a:gd name="connsiteX1" fmla="*/ 67944 w 76805"/>
                  <a:gd name="connsiteY1" fmla="*/ 53710 h 764910"/>
                  <a:gd name="connsiteX2" fmla="*/ 59478 w 76805"/>
                  <a:gd name="connsiteY2" fmla="*/ 138376 h 764910"/>
                  <a:gd name="connsiteX3" fmla="*/ 25611 w 76805"/>
                  <a:gd name="connsiteY3" fmla="*/ 223043 h 764910"/>
                  <a:gd name="connsiteX4" fmla="*/ 211 w 76805"/>
                  <a:gd name="connsiteY4" fmla="*/ 324643 h 764910"/>
                  <a:gd name="connsiteX5" fmla="*/ 17144 w 76805"/>
                  <a:gd name="connsiteY5" fmla="*/ 434710 h 764910"/>
                  <a:gd name="connsiteX6" fmla="*/ 76411 w 76805"/>
                  <a:gd name="connsiteY6" fmla="*/ 544776 h 764910"/>
                  <a:gd name="connsiteX7" fmla="*/ 42544 w 76805"/>
                  <a:gd name="connsiteY7" fmla="*/ 646376 h 764910"/>
                  <a:gd name="connsiteX8" fmla="*/ 34078 w 76805"/>
                  <a:gd name="connsiteY8" fmla="*/ 764910 h 764910"/>
                  <a:gd name="connsiteX0" fmla="*/ 9736 w 76805"/>
                  <a:gd name="connsiteY0" fmla="*/ 0 h 764910"/>
                  <a:gd name="connsiteX1" fmla="*/ 67944 w 76805"/>
                  <a:gd name="connsiteY1" fmla="*/ 53710 h 764910"/>
                  <a:gd name="connsiteX2" fmla="*/ 59478 w 76805"/>
                  <a:gd name="connsiteY2" fmla="*/ 138376 h 764910"/>
                  <a:gd name="connsiteX3" fmla="*/ 25611 w 76805"/>
                  <a:gd name="connsiteY3" fmla="*/ 223043 h 764910"/>
                  <a:gd name="connsiteX4" fmla="*/ 211 w 76805"/>
                  <a:gd name="connsiteY4" fmla="*/ 324643 h 764910"/>
                  <a:gd name="connsiteX5" fmla="*/ 17144 w 76805"/>
                  <a:gd name="connsiteY5" fmla="*/ 434710 h 764910"/>
                  <a:gd name="connsiteX6" fmla="*/ 76411 w 76805"/>
                  <a:gd name="connsiteY6" fmla="*/ 544776 h 764910"/>
                  <a:gd name="connsiteX7" fmla="*/ 42544 w 76805"/>
                  <a:gd name="connsiteY7" fmla="*/ 646376 h 764910"/>
                  <a:gd name="connsiteX8" fmla="*/ 34078 w 76805"/>
                  <a:gd name="connsiteY8" fmla="*/ 764910 h 764910"/>
                  <a:gd name="connsiteX0" fmla="*/ 9736 w 76805"/>
                  <a:gd name="connsiteY0" fmla="*/ 0 h 764910"/>
                  <a:gd name="connsiteX1" fmla="*/ 53656 w 76805"/>
                  <a:gd name="connsiteY1" fmla="*/ 56091 h 764910"/>
                  <a:gd name="connsiteX2" fmla="*/ 59478 w 76805"/>
                  <a:gd name="connsiteY2" fmla="*/ 138376 h 764910"/>
                  <a:gd name="connsiteX3" fmla="*/ 25611 w 76805"/>
                  <a:gd name="connsiteY3" fmla="*/ 223043 h 764910"/>
                  <a:gd name="connsiteX4" fmla="*/ 211 w 76805"/>
                  <a:gd name="connsiteY4" fmla="*/ 324643 h 764910"/>
                  <a:gd name="connsiteX5" fmla="*/ 17144 w 76805"/>
                  <a:gd name="connsiteY5" fmla="*/ 434710 h 764910"/>
                  <a:gd name="connsiteX6" fmla="*/ 76411 w 76805"/>
                  <a:gd name="connsiteY6" fmla="*/ 544776 h 764910"/>
                  <a:gd name="connsiteX7" fmla="*/ 42544 w 76805"/>
                  <a:gd name="connsiteY7" fmla="*/ 646376 h 764910"/>
                  <a:gd name="connsiteX8" fmla="*/ 34078 w 76805"/>
                  <a:gd name="connsiteY8" fmla="*/ 764910 h 764910"/>
                  <a:gd name="connsiteX0" fmla="*/ 9736 w 76805"/>
                  <a:gd name="connsiteY0" fmla="*/ 0 h 755243"/>
                  <a:gd name="connsiteX1" fmla="*/ 53656 w 76805"/>
                  <a:gd name="connsiteY1" fmla="*/ 56091 h 755243"/>
                  <a:gd name="connsiteX2" fmla="*/ 59478 w 76805"/>
                  <a:gd name="connsiteY2" fmla="*/ 138376 h 755243"/>
                  <a:gd name="connsiteX3" fmla="*/ 25611 w 76805"/>
                  <a:gd name="connsiteY3" fmla="*/ 223043 h 755243"/>
                  <a:gd name="connsiteX4" fmla="*/ 211 w 76805"/>
                  <a:gd name="connsiteY4" fmla="*/ 324643 h 755243"/>
                  <a:gd name="connsiteX5" fmla="*/ 17144 w 76805"/>
                  <a:gd name="connsiteY5" fmla="*/ 434710 h 755243"/>
                  <a:gd name="connsiteX6" fmla="*/ 76411 w 76805"/>
                  <a:gd name="connsiteY6" fmla="*/ 544776 h 755243"/>
                  <a:gd name="connsiteX7" fmla="*/ 42544 w 76805"/>
                  <a:gd name="connsiteY7" fmla="*/ 646376 h 755243"/>
                  <a:gd name="connsiteX8" fmla="*/ 31661 w 76805"/>
                  <a:gd name="connsiteY8" fmla="*/ 755243 h 755243"/>
                  <a:gd name="connsiteX0" fmla="*/ 9736 w 76805"/>
                  <a:gd name="connsiteY0" fmla="*/ 0 h 755243"/>
                  <a:gd name="connsiteX1" fmla="*/ 53656 w 76805"/>
                  <a:gd name="connsiteY1" fmla="*/ 56091 h 755243"/>
                  <a:gd name="connsiteX2" fmla="*/ 59478 w 76805"/>
                  <a:gd name="connsiteY2" fmla="*/ 138376 h 755243"/>
                  <a:gd name="connsiteX3" fmla="*/ 25611 w 76805"/>
                  <a:gd name="connsiteY3" fmla="*/ 223043 h 755243"/>
                  <a:gd name="connsiteX4" fmla="*/ 211 w 76805"/>
                  <a:gd name="connsiteY4" fmla="*/ 324643 h 755243"/>
                  <a:gd name="connsiteX5" fmla="*/ 17144 w 76805"/>
                  <a:gd name="connsiteY5" fmla="*/ 434710 h 755243"/>
                  <a:gd name="connsiteX6" fmla="*/ 76411 w 76805"/>
                  <a:gd name="connsiteY6" fmla="*/ 544776 h 755243"/>
                  <a:gd name="connsiteX7" fmla="*/ 42544 w 76805"/>
                  <a:gd name="connsiteY7" fmla="*/ 646376 h 755243"/>
                  <a:gd name="connsiteX8" fmla="*/ 31661 w 76805"/>
                  <a:gd name="connsiteY8" fmla="*/ 755243 h 755243"/>
                  <a:gd name="connsiteX0" fmla="*/ 9736 w 76805"/>
                  <a:gd name="connsiteY0" fmla="*/ 0 h 755243"/>
                  <a:gd name="connsiteX1" fmla="*/ 53656 w 76805"/>
                  <a:gd name="connsiteY1" fmla="*/ 56091 h 755243"/>
                  <a:gd name="connsiteX2" fmla="*/ 59478 w 76805"/>
                  <a:gd name="connsiteY2" fmla="*/ 138376 h 755243"/>
                  <a:gd name="connsiteX3" fmla="*/ 25611 w 76805"/>
                  <a:gd name="connsiteY3" fmla="*/ 223043 h 755243"/>
                  <a:gd name="connsiteX4" fmla="*/ 211 w 76805"/>
                  <a:gd name="connsiteY4" fmla="*/ 324643 h 755243"/>
                  <a:gd name="connsiteX5" fmla="*/ 17144 w 76805"/>
                  <a:gd name="connsiteY5" fmla="*/ 434710 h 755243"/>
                  <a:gd name="connsiteX6" fmla="*/ 76411 w 76805"/>
                  <a:gd name="connsiteY6" fmla="*/ 544776 h 755243"/>
                  <a:gd name="connsiteX7" fmla="*/ 42544 w 76805"/>
                  <a:gd name="connsiteY7" fmla="*/ 646376 h 755243"/>
                  <a:gd name="connsiteX8" fmla="*/ 34077 w 76805"/>
                  <a:gd name="connsiteY8" fmla="*/ 755243 h 75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805" h="755243">
                    <a:moveTo>
                      <a:pt x="9736" y="0"/>
                    </a:moveTo>
                    <a:cubicBezTo>
                      <a:pt x="41045" y="18697"/>
                      <a:pt x="45366" y="33028"/>
                      <a:pt x="53656" y="56091"/>
                    </a:cubicBezTo>
                    <a:cubicBezTo>
                      <a:pt x="61946" y="79154"/>
                      <a:pt x="64152" y="110551"/>
                      <a:pt x="59478" y="138376"/>
                    </a:cubicBezTo>
                    <a:cubicBezTo>
                      <a:pt x="54804" y="166201"/>
                      <a:pt x="35489" y="191999"/>
                      <a:pt x="25611" y="223043"/>
                    </a:cubicBezTo>
                    <a:cubicBezTo>
                      <a:pt x="15733" y="254087"/>
                      <a:pt x="1622" y="289365"/>
                      <a:pt x="211" y="324643"/>
                    </a:cubicBezTo>
                    <a:cubicBezTo>
                      <a:pt x="-1200" y="359921"/>
                      <a:pt x="4444" y="398021"/>
                      <a:pt x="17144" y="434710"/>
                    </a:cubicBezTo>
                    <a:cubicBezTo>
                      <a:pt x="29844" y="471399"/>
                      <a:pt x="72178" y="509498"/>
                      <a:pt x="76411" y="544776"/>
                    </a:cubicBezTo>
                    <a:cubicBezTo>
                      <a:pt x="80644" y="580054"/>
                      <a:pt x="49600" y="609687"/>
                      <a:pt x="42544" y="646376"/>
                    </a:cubicBezTo>
                    <a:cubicBezTo>
                      <a:pt x="35489" y="683065"/>
                      <a:pt x="37199" y="719154"/>
                      <a:pt x="34077" y="75524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0" name="ЦКАД"/>
              <p:cNvSpPr/>
              <p:nvPr/>
            </p:nvSpPr>
            <p:spPr>
              <a:xfrm>
                <a:off x="1789247" y="3866251"/>
                <a:ext cx="154447" cy="139547"/>
              </a:xfrm>
              <a:custGeom>
                <a:avLst/>
                <a:gdLst>
                  <a:gd name="connsiteX0" fmla="*/ 87177 w 154447"/>
                  <a:gd name="connsiteY0" fmla="*/ 898 h 139547"/>
                  <a:gd name="connsiteX1" fmla="*/ 10977 w 154447"/>
                  <a:gd name="connsiteY1" fmla="*/ 24711 h 139547"/>
                  <a:gd name="connsiteX2" fmla="*/ 1452 w 154447"/>
                  <a:gd name="connsiteY2" fmla="*/ 81861 h 139547"/>
                  <a:gd name="connsiteX3" fmla="*/ 20502 w 154447"/>
                  <a:gd name="connsiteY3" fmla="*/ 129486 h 139547"/>
                  <a:gd name="connsiteX4" fmla="*/ 82415 w 154447"/>
                  <a:gd name="connsiteY4" fmla="*/ 139011 h 139547"/>
                  <a:gd name="connsiteX5" fmla="*/ 139565 w 154447"/>
                  <a:gd name="connsiteY5" fmla="*/ 119961 h 139547"/>
                  <a:gd name="connsiteX6" fmla="*/ 153852 w 154447"/>
                  <a:gd name="connsiteY6" fmla="*/ 53286 h 139547"/>
                  <a:gd name="connsiteX7" fmla="*/ 87177 w 154447"/>
                  <a:gd name="connsiteY7" fmla="*/ 898 h 139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447" h="139547">
                    <a:moveTo>
                      <a:pt x="87177" y="898"/>
                    </a:moveTo>
                    <a:cubicBezTo>
                      <a:pt x="63365" y="-3864"/>
                      <a:pt x="25264" y="11217"/>
                      <a:pt x="10977" y="24711"/>
                    </a:cubicBezTo>
                    <a:cubicBezTo>
                      <a:pt x="-3310" y="38205"/>
                      <a:pt x="-135" y="64399"/>
                      <a:pt x="1452" y="81861"/>
                    </a:cubicBezTo>
                    <a:cubicBezTo>
                      <a:pt x="3039" y="99323"/>
                      <a:pt x="7008" y="119961"/>
                      <a:pt x="20502" y="129486"/>
                    </a:cubicBezTo>
                    <a:cubicBezTo>
                      <a:pt x="33996" y="139011"/>
                      <a:pt x="62571" y="140599"/>
                      <a:pt x="82415" y="139011"/>
                    </a:cubicBezTo>
                    <a:cubicBezTo>
                      <a:pt x="102259" y="137424"/>
                      <a:pt x="127659" y="134248"/>
                      <a:pt x="139565" y="119961"/>
                    </a:cubicBezTo>
                    <a:cubicBezTo>
                      <a:pt x="151471" y="105674"/>
                      <a:pt x="156233" y="69161"/>
                      <a:pt x="153852" y="53286"/>
                    </a:cubicBezTo>
                    <a:cubicBezTo>
                      <a:pt x="151471" y="37411"/>
                      <a:pt x="110989" y="5660"/>
                      <a:pt x="87177" y="898"/>
                    </a:cubicBezTo>
                    <a:close/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/>
              </a:p>
            </p:txBody>
          </p:sp>
          <p:sp>
            <p:nvSpPr>
              <p:cNvPr id="111" name="М-1"/>
              <p:cNvSpPr/>
              <p:nvPr/>
            </p:nvSpPr>
            <p:spPr>
              <a:xfrm>
                <a:off x="1471613" y="3662363"/>
                <a:ext cx="414337" cy="277649"/>
              </a:xfrm>
              <a:custGeom>
                <a:avLst/>
                <a:gdLst>
                  <a:gd name="connsiteX0" fmla="*/ 414337 w 414337"/>
                  <a:gd name="connsiteY0" fmla="*/ 219075 h 277649"/>
                  <a:gd name="connsiteX1" fmla="*/ 395287 w 414337"/>
                  <a:gd name="connsiteY1" fmla="*/ 276225 h 277649"/>
                  <a:gd name="connsiteX2" fmla="*/ 323850 w 414337"/>
                  <a:gd name="connsiteY2" fmla="*/ 166687 h 277649"/>
                  <a:gd name="connsiteX3" fmla="*/ 190500 w 414337"/>
                  <a:gd name="connsiteY3" fmla="*/ 109537 h 277649"/>
                  <a:gd name="connsiteX4" fmla="*/ 100012 w 414337"/>
                  <a:gd name="connsiteY4" fmla="*/ 66675 h 277649"/>
                  <a:gd name="connsiteX5" fmla="*/ 0 w 414337"/>
                  <a:gd name="connsiteY5" fmla="*/ 0 h 277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4337" h="277649">
                    <a:moveTo>
                      <a:pt x="414337" y="219075"/>
                    </a:moveTo>
                    <a:cubicBezTo>
                      <a:pt x="412352" y="252015"/>
                      <a:pt x="410368" y="284956"/>
                      <a:pt x="395287" y="276225"/>
                    </a:cubicBezTo>
                    <a:cubicBezTo>
                      <a:pt x="380206" y="267494"/>
                      <a:pt x="357981" y="194468"/>
                      <a:pt x="323850" y="166687"/>
                    </a:cubicBezTo>
                    <a:cubicBezTo>
                      <a:pt x="289719" y="138906"/>
                      <a:pt x="227806" y="126206"/>
                      <a:pt x="190500" y="109537"/>
                    </a:cubicBezTo>
                    <a:cubicBezTo>
                      <a:pt x="153194" y="92868"/>
                      <a:pt x="131762" y="84931"/>
                      <a:pt x="100012" y="66675"/>
                    </a:cubicBezTo>
                    <a:cubicBezTo>
                      <a:pt x="68262" y="48419"/>
                      <a:pt x="34131" y="24209"/>
                      <a:pt x="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2" name="М-3"/>
              <p:cNvSpPr/>
              <p:nvPr/>
            </p:nvSpPr>
            <p:spPr>
              <a:xfrm>
                <a:off x="1395413" y="3909745"/>
                <a:ext cx="466725" cy="133884"/>
              </a:xfrm>
              <a:custGeom>
                <a:avLst/>
                <a:gdLst>
                  <a:gd name="connsiteX0" fmla="*/ 466725 w 466725"/>
                  <a:gd name="connsiteY0" fmla="*/ 35461 h 135474"/>
                  <a:gd name="connsiteX1" fmla="*/ 338137 w 466725"/>
                  <a:gd name="connsiteY1" fmla="*/ 6886 h 135474"/>
                  <a:gd name="connsiteX2" fmla="*/ 209550 w 466725"/>
                  <a:gd name="connsiteY2" fmla="*/ 2124 h 135474"/>
                  <a:gd name="connsiteX3" fmla="*/ 123825 w 466725"/>
                  <a:gd name="connsiteY3" fmla="*/ 35461 h 135474"/>
                  <a:gd name="connsiteX4" fmla="*/ 0 w 466725"/>
                  <a:gd name="connsiteY4" fmla="*/ 135474 h 135474"/>
                  <a:gd name="connsiteX0" fmla="*/ 466725 w 466725"/>
                  <a:gd name="connsiteY0" fmla="*/ 35461 h 135739"/>
                  <a:gd name="connsiteX1" fmla="*/ 338137 w 466725"/>
                  <a:gd name="connsiteY1" fmla="*/ 6886 h 135739"/>
                  <a:gd name="connsiteX2" fmla="*/ 209550 w 466725"/>
                  <a:gd name="connsiteY2" fmla="*/ 2124 h 135739"/>
                  <a:gd name="connsiteX3" fmla="*/ 123825 w 466725"/>
                  <a:gd name="connsiteY3" fmla="*/ 35461 h 135739"/>
                  <a:gd name="connsiteX4" fmla="*/ 0 w 466725"/>
                  <a:gd name="connsiteY4" fmla="*/ 135474 h 135739"/>
                  <a:gd name="connsiteX0" fmla="*/ 466725 w 466725"/>
                  <a:gd name="connsiteY0" fmla="*/ 33656 h 133934"/>
                  <a:gd name="connsiteX1" fmla="*/ 338137 w 466725"/>
                  <a:gd name="connsiteY1" fmla="*/ 17781 h 133934"/>
                  <a:gd name="connsiteX2" fmla="*/ 209550 w 466725"/>
                  <a:gd name="connsiteY2" fmla="*/ 319 h 133934"/>
                  <a:gd name="connsiteX3" fmla="*/ 123825 w 466725"/>
                  <a:gd name="connsiteY3" fmla="*/ 33656 h 133934"/>
                  <a:gd name="connsiteX4" fmla="*/ 0 w 466725"/>
                  <a:gd name="connsiteY4" fmla="*/ 133669 h 133934"/>
                  <a:gd name="connsiteX0" fmla="*/ 466725 w 466725"/>
                  <a:gd name="connsiteY0" fmla="*/ 33541 h 133819"/>
                  <a:gd name="connsiteX1" fmla="*/ 338137 w 466725"/>
                  <a:gd name="connsiteY1" fmla="*/ 17666 h 133819"/>
                  <a:gd name="connsiteX2" fmla="*/ 209550 w 466725"/>
                  <a:gd name="connsiteY2" fmla="*/ 204 h 133819"/>
                  <a:gd name="connsiteX3" fmla="*/ 123825 w 466725"/>
                  <a:gd name="connsiteY3" fmla="*/ 33541 h 133819"/>
                  <a:gd name="connsiteX4" fmla="*/ 0 w 466725"/>
                  <a:gd name="connsiteY4" fmla="*/ 133554 h 133819"/>
                  <a:gd name="connsiteX0" fmla="*/ 466725 w 466725"/>
                  <a:gd name="connsiteY0" fmla="*/ 33726 h 134004"/>
                  <a:gd name="connsiteX1" fmla="*/ 338137 w 466725"/>
                  <a:gd name="connsiteY1" fmla="*/ 17851 h 134004"/>
                  <a:gd name="connsiteX2" fmla="*/ 209550 w 466725"/>
                  <a:gd name="connsiteY2" fmla="*/ 389 h 134004"/>
                  <a:gd name="connsiteX3" fmla="*/ 123825 w 466725"/>
                  <a:gd name="connsiteY3" fmla="*/ 33726 h 134004"/>
                  <a:gd name="connsiteX4" fmla="*/ 0 w 466725"/>
                  <a:gd name="connsiteY4" fmla="*/ 133739 h 134004"/>
                  <a:gd name="connsiteX0" fmla="*/ 466725 w 466725"/>
                  <a:gd name="connsiteY0" fmla="*/ 33726 h 134004"/>
                  <a:gd name="connsiteX1" fmla="*/ 338137 w 466725"/>
                  <a:gd name="connsiteY1" fmla="*/ 17851 h 134004"/>
                  <a:gd name="connsiteX2" fmla="*/ 209550 w 466725"/>
                  <a:gd name="connsiteY2" fmla="*/ 389 h 134004"/>
                  <a:gd name="connsiteX3" fmla="*/ 123825 w 466725"/>
                  <a:gd name="connsiteY3" fmla="*/ 33726 h 134004"/>
                  <a:gd name="connsiteX4" fmla="*/ 0 w 466725"/>
                  <a:gd name="connsiteY4" fmla="*/ 133739 h 134004"/>
                  <a:gd name="connsiteX0" fmla="*/ 466725 w 466725"/>
                  <a:gd name="connsiteY0" fmla="*/ 33606 h 133884"/>
                  <a:gd name="connsiteX1" fmla="*/ 338137 w 466725"/>
                  <a:gd name="connsiteY1" fmla="*/ 17731 h 133884"/>
                  <a:gd name="connsiteX2" fmla="*/ 209550 w 466725"/>
                  <a:gd name="connsiteY2" fmla="*/ 269 h 133884"/>
                  <a:gd name="connsiteX3" fmla="*/ 123825 w 466725"/>
                  <a:gd name="connsiteY3" fmla="*/ 33606 h 133884"/>
                  <a:gd name="connsiteX4" fmla="*/ 0 w 466725"/>
                  <a:gd name="connsiteY4" fmla="*/ 133619 h 133884"/>
                  <a:gd name="connsiteX0" fmla="*/ 466725 w 466725"/>
                  <a:gd name="connsiteY0" fmla="*/ 33606 h 133884"/>
                  <a:gd name="connsiteX1" fmla="*/ 331787 w 466725"/>
                  <a:gd name="connsiteY1" fmla="*/ 17731 h 133884"/>
                  <a:gd name="connsiteX2" fmla="*/ 209550 w 466725"/>
                  <a:gd name="connsiteY2" fmla="*/ 269 h 133884"/>
                  <a:gd name="connsiteX3" fmla="*/ 123825 w 466725"/>
                  <a:gd name="connsiteY3" fmla="*/ 33606 h 133884"/>
                  <a:gd name="connsiteX4" fmla="*/ 0 w 466725"/>
                  <a:gd name="connsiteY4" fmla="*/ 133619 h 13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725" h="133884">
                    <a:moveTo>
                      <a:pt x="466725" y="33606"/>
                    </a:moveTo>
                    <a:cubicBezTo>
                      <a:pt x="423862" y="22096"/>
                      <a:pt x="368299" y="20112"/>
                      <a:pt x="331787" y="17731"/>
                    </a:cubicBezTo>
                    <a:cubicBezTo>
                      <a:pt x="295275" y="15350"/>
                      <a:pt x="244210" y="-2377"/>
                      <a:pt x="209550" y="269"/>
                    </a:cubicBezTo>
                    <a:cubicBezTo>
                      <a:pt x="174890" y="2915"/>
                      <a:pt x="158750" y="11381"/>
                      <a:pt x="123825" y="33606"/>
                    </a:cubicBezTo>
                    <a:cubicBezTo>
                      <a:pt x="88900" y="55831"/>
                      <a:pt x="47625" y="139175"/>
                      <a:pt x="0" y="133619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3" name="М-4"/>
              <p:cNvSpPr/>
              <p:nvPr/>
            </p:nvSpPr>
            <p:spPr>
              <a:xfrm>
                <a:off x="1025524" y="3948114"/>
                <a:ext cx="836613" cy="1015011"/>
              </a:xfrm>
              <a:custGeom>
                <a:avLst/>
                <a:gdLst>
                  <a:gd name="connsiteX0" fmla="*/ 914400 w 914400"/>
                  <a:gd name="connsiteY0" fmla="*/ 0 h 887283"/>
                  <a:gd name="connsiteX1" fmla="*/ 838200 w 914400"/>
                  <a:gd name="connsiteY1" fmla="*/ 57150 h 887283"/>
                  <a:gd name="connsiteX2" fmla="*/ 762000 w 914400"/>
                  <a:gd name="connsiteY2" fmla="*/ 114300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38200 w 914400"/>
                  <a:gd name="connsiteY1" fmla="*/ 57150 h 887283"/>
                  <a:gd name="connsiteX2" fmla="*/ 819150 w 914400"/>
                  <a:gd name="connsiteY2" fmla="*/ 136525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50900 w 914400"/>
                  <a:gd name="connsiteY1" fmla="*/ 60325 h 887283"/>
                  <a:gd name="connsiteX2" fmla="*/ 819150 w 914400"/>
                  <a:gd name="connsiteY2" fmla="*/ 136525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50900 w 914400"/>
                  <a:gd name="connsiteY1" fmla="*/ 60325 h 887283"/>
                  <a:gd name="connsiteX2" fmla="*/ 835025 w 914400"/>
                  <a:gd name="connsiteY2" fmla="*/ 139700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63600 w 914400"/>
                  <a:gd name="connsiteY1" fmla="*/ 60325 h 887283"/>
                  <a:gd name="connsiteX2" fmla="*/ 835025 w 914400"/>
                  <a:gd name="connsiteY2" fmla="*/ 139700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63600 w 914400"/>
                  <a:gd name="connsiteY1" fmla="*/ 60325 h 887283"/>
                  <a:gd name="connsiteX2" fmla="*/ 835025 w 914400"/>
                  <a:gd name="connsiteY2" fmla="*/ 139700 h 887283"/>
                  <a:gd name="connsiteX3" fmla="*/ 738187 w 914400"/>
                  <a:gd name="connsiteY3" fmla="*/ 223837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927734"/>
                  <a:gd name="connsiteX1" fmla="*/ 863600 w 914400"/>
                  <a:gd name="connsiteY1" fmla="*/ 60325 h 927734"/>
                  <a:gd name="connsiteX2" fmla="*/ 835025 w 914400"/>
                  <a:gd name="connsiteY2" fmla="*/ 139700 h 927734"/>
                  <a:gd name="connsiteX3" fmla="*/ 738187 w 914400"/>
                  <a:gd name="connsiteY3" fmla="*/ 223837 h 927734"/>
                  <a:gd name="connsiteX4" fmla="*/ 723900 w 914400"/>
                  <a:gd name="connsiteY4" fmla="*/ 323850 h 927734"/>
                  <a:gd name="connsiteX5" fmla="*/ 690562 w 914400"/>
                  <a:gd name="connsiteY5" fmla="*/ 457200 h 927734"/>
                  <a:gd name="connsiteX6" fmla="*/ 619125 w 914400"/>
                  <a:gd name="connsiteY6" fmla="*/ 557212 h 927734"/>
                  <a:gd name="connsiteX7" fmla="*/ 576262 w 914400"/>
                  <a:gd name="connsiteY7" fmla="*/ 619125 h 927734"/>
                  <a:gd name="connsiteX8" fmla="*/ 490537 w 914400"/>
                  <a:gd name="connsiteY8" fmla="*/ 728662 h 927734"/>
                  <a:gd name="connsiteX9" fmla="*/ 390525 w 914400"/>
                  <a:gd name="connsiteY9" fmla="*/ 785812 h 927734"/>
                  <a:gd name="connsiteX10" fmla="*/ 319087 w 914400"/>
                  <a:gd name="connsiteY10" fmla="*/ 795337 h 927734"/>
                  <a:gd name="connsiteX11" fmla="*/ 271462 w 914400"/>
                  <a:gd name="connsiteY11" fmla="*/ 857250 h 927734"/>
                  <a:gd name="connsiteX12" fmla="*/ 155575 w 914400"/>
                  <a:gd name="connsiteY12" fmla="*/ 927100 h 927734"/>
                  <a:gd name="connsiteX13" fmla="*/ 42862 w 914400"/>
                  <a:gd name="connsiteY13" fmla="*/ 814387 h 927734"/>
                  <a:gd name="connsiteX14" fmla="*/ 0 w 914400"/>
                  <a:gd name="connsiteY14" fmla="*/ 733425 h 927734"/>
                  <a:gd name="connsiteX0" fmla="*/ 914400 w 914400"/>
                  <a:gd name="connsiteY0" fmla="*/ 0 h 949623"/>
                  <a:gd name="connsiteX1" fmla="*/ 863600 w 914400"/>
                  <a:gd name="connsiteY1" fmla="*/ 60325 h 949623"/>
                  <a:gd name="connsiteX2" fmla="*/ 835025 w 914400"/>
                  <a:gd name="connsiteY2" fmla="*/ 139700 h 949623"/>
                  <a:gd name="connsiteX3" fmla="*/ 738187 w 914400"/>
                  <a:gd name="connsiteY3" fmla="*/ 223837 h 949623"/>
                  <a:gd name="connsiteX4" fmla="*/ 723900 w 914400"/>
                  <a:gd name="connsiteY4" fmla="*/ 323850 h 949623"/>
                  <a:gd name="connsiteX5" fmla="*/ 690562 w 914400"/>
                  <a:gd name="connsiteY5" fmla="*/ 457200 h 949623"/>
                  <a:gd name="connsiteX6" fmla="*/ 619125 w 914400"/>
                  <a:gd name="connsiteY6" fmla="*/ 557212 h 949623"/>
                  <a:gd name="connsiteX7" fmla="*/ 576262 w 914400"/>
                  <a:gd name="connsiteY7" fmla="*/ 619125 h 949623"/>
                  <a:gd name="connsiteX8" fmla="*/ 490537 w 914400"/>
                  <a:gd name="connsiteY8" fmla="*/ 728662 h 949623"/>
                  <a:gd name="connsiteX9" fmla="*/ 390525 w 914400"/>
                  <a:gd name="connsiteY9" fmla="*/ 785812 h 949623"/>
                  <a:gd name="connsiteX10" fmla="*/ 319087 w 914400"/>
                  <a:gd name="connsiteY10" fmla="*/ 795337 h 949623"/>
                  <a:gd name="connsiteX11" fmla="*/ 271462 w 914400"/>
                  <a:gd name="connsiteY11" fmla="*/ 857250 h 949623"/>
                  <a:gd name="connsiteX12" fmla="*/ 155575 w 914400"/>
                  <a:gd name="connsiteY12" fmla="*/ 927100 h 949623"/>
                  <a:gd name="connsiteX13" fmla="*/ 125412 w 914400"/>
                  <a:gd name="connsiteY13" fmla="*/ 938212 h 949623"/>
                  <a:gd name="connsiteX14" fmla="*/ 0 w 914400"/>
                  <a:gd name="connsiteY14" fmla="*/ 733425 h 949623"/>
                  <a:gd name="connsiteX0" fmla="*/ 796438 w 796438"/>
                  <a:gd name="connsiteY0" fmla="*/ 0 h 992248"/>
                  <a:gd name="connsiteX1" fmla="*/ 745638 w 796438"/>
                  <a:gd name="connsiteY1" fmla="*/ 60325 h 992248"/>
                  <a:gd name="connsiteX2" fmla="*/ 717063 w 796438"/>
                  <a:gd name="connsiteY2" fmla="*/ 139700 h 992248"/>
                  <a:gd name="connsiteX3" fmla="*/ 620225 w 796438"/>
                  <a:gd name="connsiteY3" fmla="*/ 223837 h 992248"/>
                  <a:gd name="connsiteX4" fmla="*/ 605938 w 796438"/>
                  <a:gd name="connsiteY4" fmla="*/ 323850 h 992248"/>
                  <a:gd name="connsiteX5" fmla="*/ 572600 w 796438"/>
                  <a:gd name="connsiteY5" fmla="*/ 457200 h 992248"/>
                  <a:gd name="connsiteX6" fmla="*/ 501163 w 796438"/>
                  <a:gd name="connsiteY6" fmla="*/ 557212 h 992248"/>
                  <a:gd name="connsiteX7" fmla="*/ 458300 w 796438"/>
                  <a:gd name="connsiteY7" fmla="*/ 619125 h 992248"/>
                  <a:gd name="connsiteX8" fmla="*/ 372575 w 796438"/>
                  <a:gd name="connsiteY8" fmla="*/ 728662 h 992248"/>
                  <a:gd name="connsiteX9" fmla="*/ 272563 w 796438"/>
                  <a:gd name="connsiteY9" fmla="*/ 785812 h 992248"/>
                  <a:gd name="connsiteX10" fmla="*/ 201125 w 796438"/>
                  <a:gd name="connsiteY10" fmla="*/ 795337 h 992248"/>
                  <a:gd name="connsiteX11" fmla="*/ 153500 w 796438"/>
                  <a:gd name="connsiteY11" fmla="*/ 857250 h 992248"/>
                  <a:gd name="connsiteX12" fmla="*/ 37613 w 796438"/>
                  <a:gd name="connsiteY12" fmla="*/ 927100 h 992248"/>
                  <a:gd name="connsiteX13" fmla="*/ 7450 w 796438"/>
                  <a:gd name="connsiteY13" fmla="*/ 938212 h 992248"/>
                  <a:gd name="connsiteX14" fmla="*/ 21738 w 796438"/>
                  <a:gd name="connsiteY14" fmla="*/ 987425 h 992248"/>
                  <a:gd name="connsiteX0" fmla="*/ 796438 w 796438"/>
                  <a:gd name="connsiteY0" fmla="*/ 0 h 992248"/>
                  <a:gd name="connsiteX1" fmla="*/ 745638 w 796438"/>
                  <a:gd name="connsiteY1" fmla="*/ 60325 h 992248"/>
                  <a:gd name="connsiteX2" fmla="*/ 717063 w 796438"/>
                  <a:gd name="connsiteY2" fmla="*/ 139700 h 992248"/>
                  <a:gd name="connsiteX3" fmla="*/ 620225 w 796438"/>
                  <a:gd name="connsiteY3" fmla="*/ 223837 h 992248"/>
                  <a:gd name="connsiteX4" fmla="*/ 605938 w 796438"/>
                  <a:gd name="connsiteY4" fmla="*/ 323850 h 992248"/>
                  <a:gd name="connsiteX5" fmla="*/ 572600 w 796438"/>
                  <a:gd name="connsiteY5" fmla="*/ 457200 h 992248"/>
                  <a:gd name="connsiteX6" fmla="*/ 501163 w 796438"/>
                  <a:gd name="connsiteY6" fmla="*/ 557212 h 992248"/>
                  <a:gd name="connsiteX7" fmla="*/ 458300 w 796438"/>
                  <a:gd name="connsiteY7" fmla="*/ 619125 h 992248"/>
                  <a:gd name="connsiteX8" fmla="*/ 372575 w 796438"/>
                  <a:gd name="connsiteY8" fmla="*/ 728662 h 992248"/>
                  <a:gd name="connsiteX9" fmla="*/ 272563 w 796438"/>
                  <a:gd name="connsiteY9" fmla="*/ 785812 h 992248"/>
                  <a:gd name="connsiteX10" fmla="*/ 201125 w 796438"/>
                  <a:gd name="connsiteY10" fmla="*/ 795337 h 992248"/>
                  <a:gd name="connsiteX11" fmla="*/ 153500 w 796438"/>
                  <a:gd name="connsiteY11" fmla="*/ 857250 h 992248"/>
                  <a:gd name="connsiteX12" fmla="*/ 37613 w 796438"/>
                  <a:gd name="connsiteY12" fmla="*/ 927100 h 992248"/>
                  <a:gd name="connsiteX13" fmla="*/ 7450 w 796438"/>
                  <a:gd name="connsiteY13" fmla="*/ 938212 h 992248"/>
                  <a:gd name="connsiteX14" fmla="*/ 21738 w 796438"/>
                  <a:gd name="connsiteY14" fmla="*/ 987425 h 992248"/>
                  <a:gd name="connsiteX0" fmla="*/ 796438 w 796438"/>
                  <a:gd name="connsiteY0" fmla="*/ 0 h 995360"/>
                  <a:gd name="connsiteX1" fmla="*/ 745638 w 796438"/>
                  <a:gd name="connsiteY1" fmla="*/ 60325 h 995360"/>
                  <a:gd name="connsiteX2" fmla="*/ 717063 w 796438"/>
                  <a:gd name="connsiteY2" fmla="*/ 139700 h 995360"/>
                  <a:gd name="connsiteX3" fmla="*/ 620225 w 796438"/>
                  <a:gd name="connsiteY3" fmla="*/ 223837 h 995360"/>
                  <a:gd name="connsiteX4" fmla="*/ 605938 w 796438"/>
                  <a:gd name="connsiteY4" fmla="*/ 323850 h 995360"/>
                  <a:gd name="connsiteX5" fmla="*/ 572600 w 796438"/>
                  <a:gd name="connsiteY5" fmla="*/ 457200 h 995360"/>
                  <a:gd name="connsiteX6" fmla="*/ 501163 w 796438"/>
                  <a:gd name="connsiteY6" fmla="*/ 557212 h 995360"/>
                  <a:gd name="connsiteX7" fmla="*/ 458300 w 796438"/>
                  <a:gd name="connsiteY7" fmla="*/ 619125 h 995360"/>
                  <a:gd name="connsiteX8" fmla="*/ 372575 w 796438"/>
                  <a:gd name="connsiteY8" fmla="*/ 728662 h 995360"/>
                  <a:gd name="connsiteX9" fmla="*/ 272563 w 796438"/>
                  <a:gd name="connsiteY9" fmla="*/ 785812 h 995360"/>
                  <a:gd name="connsiteX10" fmla="*/ 201125 w 796438"/>
                  <a:gd name="connsiteY10" fmla="*/ 795337 h 995360"/>
                  <a:gd name="connsiteX11" fmla="*/ 153500 w 796438"/>
                  <a:gd name="connsiteY11" fmla="*/ 857250 h 995360"/>
                  <a:gd name="connsiteX12" fmla="*/ 37613 w 796438"/>
                  <a:gd name="connsiteY12" fmla="*/ 927100 h 995360"/>
                  <a:gd name="connsiteX13" fmla="*/ 7450 w 796438"/>
                  <a:gd name="connsiteY13" fmla="*/ 938212 h 995360"/>
                  <a:gd name="connsiteX14" fmla="*/ 21738 w 796438"/>
                  <a:gd name="connsiteY14" fmla="*/ 987425 h 995360"/>
                  <a:gd name="connsiteX15" fmla="*/ 23325 w 796438"/>
                  <a:gd name="connsiteY15" fmla="*/ 995360 h 995360"/>
                  <a:gd name="connsiteX0" fmla="*/ 830264 w 830264"/>
                  <a:gd name="connsiteY0" fmla="*/ 0 h 992786"/>
                  <a:gd name="connsiteX1" fmla="*/ 779464 w 830264"/>
                  <a:gd name="connsiteY1" fmla="*/ 60325 h 992786"/>
                  <a:gd name="connsiteX2" fmla="*/ 750889 w 830264"/>
                  <a:gd name="connsiteY2" fmla="*/ 139700 h 992786"/>
                  <a:gd name="connsiteX3" fmla="*/ 654051 w 830264"/>
                  <a:gd name="connsiteY3" fmla="*/ 223837 h 992786"/>
                  <a:gd name="connsiteX4" fmla="*/ 639764 w 830264"/>
                  <a:gd name="connsiteY4" fmla="*/ 323850 h 992786"/>
                  <a:gd name="connsiteX5" fmla="*/ 606426 w 830264"/>
                  <a:gd name="connsiteY5" fmla="*/ 457200 h 992786"/>
                  <a:gd name="connsiteX6" fmla="*/ 534989 w 830264"/>
                  <a:gd name="connsiteY6" fmla="*/ 557212 h 992786"/>
                  <a:gd name="connsiteX7" fmla="*/ 492126 w 830264"/>
                  <a:gd name="connsiteY7" fmla="*/ 619125 h 992786"/>
                  <a:gd name="connsiteX8" fmla="*/ 406401 w 830264"/>
                  <a:gd name="connsiteY8" fmla="*/ 728662 h 992786"/>
                  <a:gd name="connsiteX9" fmla="*/ 306389 w 830264"/>
                  <a:gd name="connsiteY9" fmla="*/ 785812 h 992786"/>
                  <a:gd name="connsiteX10" fmla="*/ 234951 w 830264"/>
                  <a:gd name="connsiteY10" fmla="*/ 795337 h 992786"/>
                  <a:gd name="connsiteX11" fmla="*/ 187326 w 830264"/>
                  <a:gd name="connsiteY11" fmla="*/ 857250 h 992786"/>
                  <a:gd name="connsiteX12" fmla="*/ 71439 w 830264"/>
                  <a:gd name="connsiteY12" fmla="*/ 927100 h 992786"/>
                  <a:gd name="connsiteX13" fmla="*/ 41276 w 830264"/>
                  <a:gd name="connsiteY13" fmla="*/ 938212 h 992786"/>
                  <a:gd name="connsiteX14" fmla="*/ 55564 w 830264"/>
                  <a:gd name="connsiteY14" fmla="*/ 987425 h 992786"/>
                  <a:gd name="connsiteX15" fmla="*/ 1 w 830264"/>
                  <a:gd name="connsiteY15" fmla="*/ 992185 h 992786"/>
                  <a:gd name="connsiteX0" fmla="*/ 830264 w 830264"/>
                  <a:gd name="connsiteY0" fmla="*/ 0 h 992786"/>
                  <a:gd name="connsiteX1" fmla="*/ 779464 w 830264"/>
                  <a:gd name="connsiteY1" fmla="*/ 60325 h 992786"/>
                  <a:gd name="connsiteX2" fmla="*/ 750889 w 830264"/>
                  <a:gd name="connsiteY2" fmla="*/ 139700 h 992786"/>
                  <a:gd name="connsiteX3" fmla="*/ 654051 w 830264"/>
                  <a:gd name="connsiteY3" fmla="*/ 223837 h 992786"/>
                  <a:gd name="connsiteX4" fmla="*/ 639764 w 830264"/>
                  <a:gd name="connsiteY4" fmla="*/ 323850 h 992786"/>
                  <a:gd name="connsiteX5" fmla="*/ 606426 w 830264"/>
                  <a:gd name="connsiteY5" fmla="*/ 457200 h 992786"/>
                  <a:gd name="connsiteX6" fmla="*/ 534989 w 830264"/>
                  <a:gd name="connsiteY6" fmla="*/ 557212 h 992786"/>
                  <a:gd name="connsiteX7" fmla="*/ 492126 w 830264"/>
                  <a:gd name="connsiteY7" fmla="*/ 619125 h 992786"/>
                  <a:gd name="connsiteX8" fmla="*/ 406401 w 830264"/>
                  <a:gd name="connsiteY8" fmla="*/ 728662 h 992786"/>
                  <a:gd name="connsiteX9" fmla="*/ 306389 w 830264"/>
                  <a:gd name="connsiteY9" fmla="*/ 785812 h 992786"/>
                  <a:gd name="connsiteX10" fmla="*/ 234951 w 830264"/>
                  <a:gd name="connsiteY10" fmla="*/ 795337 h 992786"/>
                  <a:gd name="connsiteX11" fmla="*/ 187326 w 830264"/>
                  <a:gd name="connsiteY11" fmla="*/ 857250 h 992786"/>
                  <a:gd name="connsiteX12" fmla="*/ 71439 w 830264"/>
                  <a:gd name="connsiteY12" fmla="*/ 927100 h 992786"/>
                  <a:gd name="connsiteX13" fmla="*/ 41276 w 830264"/>
                  <a:gd name="connsiteY13" fmla="*/ 938212 h 992786"/>
                  <a:gd name="connsiteX14" fmla="*/ 55564 w 830264"/>
                  <a:gd name="connsiteY14" fmla="*/ 987425 h 992786"/>
                  <a:gd name="connsiteX15" fmla="*/ 1 w 830264"/>
                  <a:gd name="connsiteY15" fmla="*/ 992185 h 992786"/>
                  <a:gd name="connsiteX0" fmla="*/ 830264 w 830264"/>
                  <a:gd name="connsiteY0" fmla="*/ 0 h 992786"/>
                  <a:gd name="connsiteX1" fmla="*/ 779464 w 830264"/>
                  <a:gd name="connsiteY1" fmla="*/ 60325 h 992786"/>
                  <a:gd name="connsiteX2" fmla="*/ 750889 w 830264"/>
                  <a:gd name="connsiteY2" fmla="*/ 139700 h 992786"/>
                  <a:gd name="connsiteX3" fmla="*/ 654051 w 830264"/>
                  <a:gd name="connsiteY3" fmla="*/ 223837 h 992786"/>
                  <a:gd name="connsiteX4" fmla="*/ 639764 w 830264"/>
                  <a:gd name="connsiteY4" fmla="*/ 323850 h 992786"/>
                  <a:gd name="connsiteX5" fmla="*/ 606426 w 830264"/>
                  <a:gd name="connsiteY5" fmla="*/ 457200 h 992786"/>
                  <a:gd name="connsiteX6" fmla="*/ 534989 w 830264"/>
                  <a:gd name="connsiteY6" fmla="*/ 557212 h 992786"/>
                  <a:gd name="connsiteX7" fmla="*/ 492126 w 830264"/>
                  <a:gd name="connsiteY7" fmla="*/ 619125 h 992786"/>
                  <a:gd name="connsiteX8" fmla="*/ 406401 w 830264"/>
                  <a:gd name="connsiteY8" fmla="*/ 728662 h 992786"/>
                  <a:gd name="connsiteX9" fmla="*/ 306389 w 830264"/>
                  <a:gd name="connsiteY9" fmla="*/ 785812 h 992786"/>
                  <a:gd name="connsiteX10" fmla="*/ 234951 w 830264"/>
                  <a:gd name="connsiteY10" fmla="*/ 795337 h 992786"/>
                  <a:gd name="connsiteX11" fmla="*/ 187326 w 830264"/>
                  <a:gd name="connsiteY11" fmla="*/ 857250 h 992786"/>
                  <a:gd name="connsiteX12" fmla="*/ 71439 w 830264"/>
                  <a:gd name="connsiteY12" fmla="*/ 927100 h 992786"/>
                  <a:gd name="connsiteX13" fmla="*/ 41276 w 830264"/>
                  <a:gd name="connsiteY13" fmla="*/ 938212 h 992786"/>
                  <a:gd name="connsiteX14" fmla="*/ 55564 w 830264"/>
                  <a:gd name="connsiteY14" fmla="*/ 987425 h 992786"/>
                  <a:gd name="connsiteX15" fmla="*/ 1 w 830264"/>
                  <a:gd name="connsiteY15" fmla="*/ 992185 h 992786"/>
                  <a:gd name="connsiteX16" fmla="*/ 1 w 830264"/>
                  <a:gd name="connsiteY16" fmla="*/ 992185 h 992786"/>
                  <a:gd name="connsiteX0" fmla="*/ 836613 w 836613"/>
                  <a:gd name="connsiteY0" fmla="*/ 0 h 992786"/>
                  <a:gd name="connsiteX1" fmla="*/ 785813 w 836613"/>
                  <a:gd name="connsiteY1" fmla="*/ 60325 h 992786"/>
                  <a:gd name="connsiteX2" fmla="*/ 757238 w 836613"/>
                  <a:gd name="connsiteY2" fmla="*/ 139700 h 992786"/>
                  <a:gd name="connsiteX3" fmla="*/ 660400 w 836613"/>
                  <a:gd name="connsiteY3" fmla="*/ 223837 h 992786"/>
                  <a:gd name="connsiteX4" fmla="*/ 646113 w 836613"/>
                  <a:gd name="connsiteY4" fmla="*/ 323850 h 992786"/>
                  <a:gd name="connsiteX5" fmla="*/ 612775 w 836613"/>
                  <a:gd name="connsiteY5" fmla="*/ 457200 h 992786"/>
                  <a:gd name="connsiteX6" fmla="*/ 541338 w 836613"/>
                  <a:gd name="connsiteY6" fmla="*/ 557212 h 992786"/>
                  <a:gd name="connsiteX7" fmla="*/ 498475 w 836613"/>
                  <a:gd name="connsiteY7" fmla="*/ 619125 h 992786"/>
                  <a:gd name="connsiteX8" fmla="*/ 412750 w 836613"/>
                  <a:gd name="connsiteY8" fmla="*/ 728662 h 992786"/>
                  <a:gd name="connsiteX9" fmla="*/ 312738 w 836613"/>
                  <a:gd name="connsiteY9" fmla="*/ 785812 h 992786"/>
                  <a:gd name="connsiteX10" fmla="*/ 241300 w 836613"/>
                  <a:gd name="connsiteY10" fmla="*/ 795337 h 992786"/>
                  <a:gd name="connsiteX11" fmla="*/ 193675 w 836613"/>
                  <a:gd name="connsiteY11" fmla="*/ 857250 h 992786"/>
                  <a:gd name="connsiteX12" fmla="*/ 77788 w 836613"/>
                  <a:gd name="connsiteY12" fmla="*/ 927100 h 992786"/>
                  <a:gd name="connsiteX13" fmla="*/ 47625 w 836613"/>
                  <a:gd name="connsiteY13" fmla="*/ 938212 h 992786"/>
                  <a:gd name="connsiteX14" fmla="*/ 61913 w 836613"/>
                  <a:gd name="connsiteY14" fmla="*/ 987425 h 992786"/>
                  <a:gd name="connsiteX15" fmla="*/ 6350 w 836613"/>
                  <a:gd name="connsiteY15" fmla="*/ 992185 h 992786"/>
                  <a:gd name="connsiteX16" fmla="*/ 0 w 836613"/>
                  <a:gd name="connsiteY16" fmla="*/ 954085 h 992786"/>
                  <a:gd name="connsiteX0" fmla="*/ 836613 w 836613"/>
                  <a:gd name="connsiteY0" fmla="*/ 0 h 1033460"/>
                  <a:gd name="connsiteX1" fmla="*/ 785813 w 836613"/>
                  <a:gd name="connsiteY1" fmla="*/ 60325 h 1033460"/>
                  <a:gd name="connsiteX2" fmla="*/ 757238 w 836613"/>
                  <a:gd name="connsiteY2" fmla="*/ 139700 h 1033460"/>
                  <a:gd name="connsiteX3" fmla="*/ 660400 w 836613"/>
                  <a:gd name="connsiteY3" fmla="*/ 223837 h 1033460"/>
                  <a:gd name="connsiteX4" fmla="*/ 646113 w 836613"/>
                  <a:gd name="connsiteY4" fmla="*/ 323850 h 1033460"/>
                  <a:gd name="connsiteX5" fmla="*/ 612775 w 836613"/>
                  <a:gd name="connsiteY5" fmla="*/ 457200 h 1033460"/>
                  <a:gd name="connsiteX6" fmla="*/ 541338 w 836613"/>
                  <a:gd name="connsiteY6" fmla="*/ 557212 h 1033460"/>
                  <a:gd name="connsiteX7" fmla="*/ 498475 w 836613"/>
                  <a:gd name="connsiteY7" fmla="*/ 619125 h 1033460"/>
                  <a:gd name="connsiteX8" fmla="*/ 412750 w 836613"/>
                  <a:gd name="connsiteY8" fmla="*/ 728662 h 1033460"/>
                  <a:gd name="connsiteX9" fmla="*/ 312738 w 836613"/>
                  <a:gd name="connsiteY9" fmla="*/ 785812 h 1033460"/>
                  <a:gd name="connsiteX10" fmla="*/ 241300 w 836613"/>
                  <a:gd name="connsiteY10" fmla="*/ 795337 h 1033460"/>
                  <a:gd name="connsiteX11" fmla="*/ 193675 w 836613"/>
                  <a:gd name="connsiteY11" fmla="*/ 857250 h 1033460"/>
                  <a:gd name="connsiteX12" fmla="*/ 77788 w 836613"/>
                  <a:gd name="connsiteY12" fmla="*/ 927100 h 1033460"/>
                  <a:gd name="connsiteX13" fmla="*/ 47625 w 836613"/>
                  <a:gd name="connsiteY13" fmla="*/ 938212 h 1033460"/>
                  <a:gd name="connsiteX14" fmla="*/ 61913 w 836613"/>
                  <a:gd name="connsiteY14" fmla="*/ 987425 h 1033460"/>
                  <a:gd name="connsiteX15" fmla="*/ 12700 w 836613"/>
                  <a:gd name="connsiteY15" fmla="*/ 1033460 h 1033460"/>
                  <a:gd name="connsiteX16" fmla="*/ 0 w 836613"/>
                  <a:gd name="connsiteY16" fmla="*/ 954085 h 1033460"/>
                  <a:gd name="connsiteX0" fmla="*/ 836613 w 836613"/>
                  <a:gd name="connsiteY0" fmla="*/ 0 h 1040398"/>
                  <a:gd name="connsiteX1" fmla="*/ 785813 w 836613"/>
                  <a:gd name="connsiteY1" fmla="*/ 60325 h 1040398"/>
                  <a:gd name="connsiteX2" fmla="*/ 757238 w 836613"/>
                  <a:gd name="connsiteY2" fmla="*/ 139700 h 1040398"/>
                  <a:gd name="connsiteX3" fmla="*/ 660400 w 836613"/>
                  <a:gd name="connsiteY3" fmla="*/ 223837 h 1040398"/>
                  <a:gd name="connsiteX4" fmla="*/ 646113 w 836613"/>
                  <a:gd name="connsiteY4" fmla="*/ 323850 h 1040398"/>
                  <a:gd name="connsiteX5" fmla="*/ 612775 w 836613"/>
                  <a:gd name="connsiteY5" fmla="*/ 457200 h 1040398"/>
                  <a:gd name="connsiteX6" fmla="*/ 541338 w 836613"/>
                  <a:gd name="connsiteY6" fmla="*/ 557212 h 1040398"/>
                  <a:gd name="connsiteX7" fmla="*/ 498475 w 836613"/>
                  <a:gd name="connsiteY7" fmla="*/ 619125 h 1040398"/>
                  <a:gd name="connsiteX8" fmla="*/ 412750 w 836613"/>
                  <a:gd name="connsiteY8" fmla="*/ 728662 h 1040398"/>
                  <a:gd name="connsiteX9" fmla="*/ 312738 w 836613"/>
                  <a:gd name="connsiteY9" fmla="*/ 785812 h 1040398"/>
                  <a:gd name="connsiteX10" fmla="*/ 241300 w 836613"/>
                  <a:gd name="connsiteY10" fmla="*/ 795337 h 1040398"/>
                  <a:gd name="connsiteX11" fmla="*/ 193675 w 836613"/>
                  <a:gd name="connsiteY11" fmla="*/ 857250 h 1040398"/>
                  <a:gd name="connsiteX12" fmla="*/ 77788 w 836613"/>
                  <a:gd name="connsiteY12" fmla="*/ 927100 h 1040398"/>
                  <a:gd name="connsiteX13" fmla="*/ 47625 w 836613"/>
                  <a:gd name="connsiteY13" fmla="*/ 938212 h 1040398"/>
                  <a:gd name="connsiteX14" fmla="*/ 61913 w 836613"/>
                  <a:gd name="connsiteY14" fmla="*/ 987425 h 1040398"/>
                  <a:gd name="connsiteX15" fmla="*/ 12700 w 836613"/>
                  <a:gd name="connsiteY15" fmla="*/ 1033460 h 1040398"/>
                  <a:gd name="connsiteX16" fmla="*/ 0 w 836613"/>
                  <a:gd name="connsiteY16" fmla="*/ 954085 h 1040398"/>
                  <a:gd name="connsiteX0" fmla="*/ 836613 w 836613"/>
                  <a:gd name="connsiteY0" fmla="*/ 0 h 1036090"/>
                  <a:gd name="connsiteX1" fmla="*/ 785813 w 836613"/>
                  <a:gd name="connsiteY1" fmla="*/ 60325 h 1036090"/>
                  <a:gd name="connsiteX2" fmla="*/ 757238 w 836613"/>
                  <a:gd name="connsiteY2" fmla="*/ 139700 h 1036090"/>
                  <a:gd name="connsiteX3" fmla="*/ 660400 w 836613"/>
                  <a:gd name="connsiteY3" fmla="*/ 223837 h 1036090"/>
                  <a:gd name="connsiteX4" fmla="*/ 646113 w 836613"/>
                  <a:gd name="connsiteY4" fmla="*/ 323850 h 1036090"/>
                  <a:gd name="connsiteX5" fmla="*/ 612775 w 836613"/>
                  <a:gd name="connsiteY5" fmla="*/ 457200 h 1036090"/>
                  <a:gd name="connsiteX6" fmla="*/ 541338 w 836613"/>
                  <a:gd name="connsiteY6" fmla="*/ 557212 h 1036090"/>
                  <a:gd name="connsiteX7" fmla="*/ 498475 w 836613"/>
                  <a:gd name="connsiteY7" fmla="*/ 619125 h 1036090"/>
                  <a:gd name="connsiteX8" fmla="*/ 412750 w 836613"/>
                  <a:gd name="connsiteY8" fmla="*/ 728662 h 1036090"/>
                  <a:gd name="connsiteX9" fmla="*/ 312738 w 836613"/>
                  <a:gd name="connsiteY9" fmla="*/ 785812 h 1036090"/>
                  <a:gd name="connsiteX10" fmla="*/ 241300 w 836613"/>
                  <a:gd name="connsiteY10" fmla="*/ 795337 h 1036090"/>
                  <a:gd name="connsiteX11" fmla="*/ 193675 w 836613"/>
                  <a:gd name="connsiteY11" fmla="*/ 857250 h 1036090"/>
                  <a:gd name="connsiteX12" fmla="*/ 77788 w 836613"/>
                  <a:gd name="connsiteY12" fmla="*/ 927100 h 1036090"/>
                  <a:gd name="connsiteX13" fmla="*/ 47625 w 836613"/>
                  <a:gd name="connsiteY13" fmla="*/ 938212 h 1036090"/>
                  <a:gd name="connsiteX14" fmla="*/ 61913 w 836613"/>
                  <a:gd name="connsiteY14" fmla="*/ 987425 h 1036090"/>
                  <a:gd name="connsiteX15" fmla="*/ 12700 w 836613"/>
                  <a:gd name="connsiteY15" fmla="*/ 1033460 h 1036090"/>
                  <a:gd name="connsiteX16" fmla="*/ 0 w 836613"/>
                  <a:gd name="connsiteY16" fmla="*/ 954085 h 1036090"/>
                  <a:gd name="connsiteX0" fmla="*/ 836613 w 836613"/>
                  <a:gd name="connsiteY0" fmla="*/ 0 h 1027013"/>
                  <a:gd name="connsiteX1" fmla="*/ 785813 w 836613"/>
                  <a:gd name="connsiteY1" fmla="*/ 60325 h 1027013"/>
                  <a:gd name="connsiteX2" fmla="*/ 757238 w 836613"/>
                  <a:gd name="connsiteY2" fmla="*/ 139700 h 1027013"/>
                  <a:gd name="connsiteX3" fmla="*/ 660400 w 836613"/>
                  <a:gd name="connsiteY3" fmla="*/ 223837 h 1027013"/>
                  <a:gd name="connsiteX4" fmla="*/ 646113 w 836613"/>
                  <a:gd name="connsiteY4" fmla="*/ 323850 h 1027013"/>
                  <a:gd name="connsiteX5" fmla="*/ 612775 w 836613"/>
                  <a:gd name="connsiteY5" fmla="*/ 457200 h 1027013"/>
                  <a:gd name="connsiteX6" fmla="*/ 541338 w 836613"/>
                  <a:gd name="connsiteY6" fmla="*/ 557212 h 1027013"/>
                  <a:gd name="connsiteX7" fmla="*/ 498475 w 836613"/>
                  <a:gd name="connsiteY7" fmla="*/ 619125 h 1027013"/>
                  <a:gd name="connsiteX8" fmla="*/ 412750 w 836613"/>
                  <a:gd name="connsiteY8" fmla="*/ 728662 h 1027013"/>
                  <a:gd name="connsiteX9" fmla="*/ 312738 w 836613"/>
                  <a:gd name="connsiteY9" fmla="*/ 785812 h 1027013"/>
                  <a:gd name="connsiteX10" fmla="*/ 241300 w 836613"/>
                  <a:gd name="connsiteY10" fmla="*/ 795337 h 1027013"/>
                  <a:gd name="connsiteX11" fmla="*/ 193675 w 836613"/>
                  <a:gd name="connsiteY11" fmla="*/ 857250 h 1027013"/>
                  <a:gd name="connsiteX12" fmla="*/ 77788 w 836613"/>
                  <a:gd name="connsiteY12" fmla="*/ 927100 h 1027013"/>
                  <a:gd name="connsiteX13" fmla="*/ 47625 w 836613"/>
                  <a:gd name="connsiteY13" fmla="*/ 938212 h 1027013"/>
                  <a:gd name="connsiteX14" fmla="*/ 61913 w 836613"/>
                  <a:gd name="connsiteY14" fmla="*/ 987425 h 1027013"/>
                  <a:gd name="connsiteX15" fmla="*/ 12700 w 836613"/>
                  <a:gd name="connsiteY15" fmla="*/ 1023935 h 1027013"/>
                  <a:gd name="connsiteX16" fmla="*/ 0 w 836613"/>
                  <a:gd name="connsiteY16" fmla="*/ 954085 h 1027013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77788 w 836613"/>
                  <a:gd name="connsiteY12" fmla="*/ 927100 h 1015211"/>
                  <a:gd name="connsiteX13" fmla="*/ 47625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4917"/>
                  <a:gd name="connsiteX1" fmla="*/ 785813 w 836613"/>
                  <a:gd name="connsiteY1" fmla="*/ 60325 h 1014917"/>
                  <a:gd name="connsiteX2" fmla="*/ 757238 w 836613"/>
                  <a:gd name="connsiteY2" fmla="*/ 139700 h 1014917"/>
                  <a:gd name="connsiteX3" fmla="*/ 660400 w 836613"/>
                  <a:gd name="connsiteY3" fmla="*/ 223837 h 1014917"/>
                  <a:gd name="connsiteX4" fmla="*/ 646113 w 836613"/>
                  <a:gd name="connsiteY4" fmla="*/ 323850 h 1014917"/>
                  <a:gd name="connsiteX5" fmla="*/ 612775 w 836613"/>
                  <a:gd name="connsiteY5" fmla="*/ 457200 h 1014917"/>
                  <a:gd name="connsiteX6" fmla="*/ 541338 w 836613"/>
                  <a:gd name="connsiteY6" fmla="*/ 557212 h 1014917"/>
                  <a:gd name="connsiteX7" fmla="*/ 498475 w 836613"/>
                  <a:gd name="connsiteY7" fmla="*/ 619125 h 1014917"/>
                  <a:gd name="connsiteX8" fmla="*/ 412750 w 836613"/>
                  <a:gd name="connsiteY8" fmla="*/ 728662 h 1014917"/>
                  <a:gd name="connsiteX9" fmla="*/ 312738 w 836613"/>
                  <a:gd name="connsiteY9" fmla="*/ 785812 h 1014917"/>
                  <a:gd name="connsiteX10" fmla="*/ 241300 w 836613"/>
                  <a:gd name="connsiteY10" fmla="*/ 795337 h 1014917"/>
                  <a:gd name="connsiteX11" fmla="*/ 193675 w 836613"/>
                  <a:gd name="connsiteY11" fmla="*/ 857250 h 1014917"/>
                  <a:gd name="connsiteX12" fmla="*/ 77788 w 836613"/>
                  <a:gd name="connsiteY12" fmla="*/ 927100 h 1014917"/>
                  <a:gd name="connsiteX13" fmla="*/ 50800 w 836613"/>
                  <a:gd name="connsiteY13" fmla="*/ 957262 h 1014917"/>
                  <a:gd name="connsiteX14" fmla="*/ 61913 w 836613"/>
                  <a:gd name="connsiteY14" fmla="*/ 987425 h 1014917"/>
                  <a:gd name="connsiteX15" fmla="*/ 25400 w 836613"/>
                  <a:gd name="connsiteY15" fmla="*/ 1011235 h 1014917"/>
                  <a:gd name="connsiteX16" fmla="*/ 0 w 836613"/>
                  <a:gd name="connsiteY16" fmla="*/ 954085 h 1014917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77788 w 836613"/>
                  <a:gd name="connsiteY12" fmla="*/ 927100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011"/>
                  <a:gd name="connsiteX1" fmla="*/ 785813 w 836613"/>
                  <a:gd name="connsiteY1" fmla="*/ 60325 h 1015011"/>
                  <a:gd name="connsiteX2" fmla="*/ 757238 w 836613"/>
                  <a:gd name="connsiteY2" fmla="*/ 139700 h 1015011"/>
                  <a:gd name="connsiteX3" fmla="*/ 660400 w 836613"/>
                  <a:gd name="connsiteY3" fmla="*/ 223837 h 1015011"/>
                  <a:gd name="connsiteX4" fmla="*/ 646113 w 836613"/>
                  <a:gd name="connsiteY4" fmla="*/ 323850 h 1015011"/>
                  <a:gd name="connsiteX5" fmla="*/ 612775 w 836613"/>
                  <a:gd name="connsiteY5" fmla="*/ 457200 h 1015011"/>
                  <a:gd name="connsiteX6" fmla="*/ 541338 w 836613"/>
                  <a:gd name="connsiteY6" fmla="*/ 557212 h 1015011"/>
                  <a:gd name="connsiteX7" fmla="*/ 498475 w 836613"/>
                  <a:gd name="connsiteY7" fmla="*/ 619125 h 1015011"/>
                  <a:gd name="connsiteX8" fmla="*/ 412750 w 836613"/>
                  <a:gd name="connsiteY8" fmla="*/ 728662 h 1015011"/>
                  <a:gd name="connsiteX9" fmla="*/ 312738 w 836613"/>
                  <a:gd name="connsiteY9" fmla="*/ 785812 h 1015011"/>
                  <a:gd name="connsiteX10" fmla="*/ 241300 w 836613"/>
                  <a:gd name="connsiteY10" fmla="*/ 795337 h 1015011"/>
                  <a:gd name="connsiteX11" fmla="*/ 193675 w 836613"/>
                  <a:gd name="connsiteY11" fmla="*/ 857250 h 1015011"/>
                  <a:gd name="connsiteX12" fmla="*/ 96838 w 836613"/>
                  <a:gd name="connsiteY12" fmla="*/ 917575 h 1015011"/>
                  <a:gd name="connsiteX13" fmla="*/ 53975 w 836613"/>
                  <a:gd name="connsiteY13" fmla="*/ 950912 h 1015011"/>
                  <a:gd name="connsiteX14" fmla="*/ 61913 w 836613"/>
                  <a:gd name="connsiteY14" fmla="*/ 987425 h 1015011"/>
                  <a:gd name="connsiteX15" fmla="*/ 25400 w 836613"/>
                  <a:gd name="connsiteY15" fmla="*/ 1011235 h 1015011"/>
                  <a:gd name="connsiteX16" fmla="*/ 0 w 836613"/>
                  <a:gd name="connsiteY16" fmla="*/ 954085 h 101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6613" h="1015011">
                    <a:moveTo>
                      <a:pt x="836613" y="0"/>
                    </a:moveTo>
                    <a:lnTo>
                      <a:pt x="785813" y="60325"/>
                    </a:lnTo>
                    <a:cubicBezTo>
                      <a:pt x="760413" y="79375"/>
                      <a:pt x="778140" y="112448"/>
                      <a:pt x="757238" y="139700"/>
                    </a:cubicBezTo>
                    <a:cubicBezTo>
                      <a:pt x="736336" y="166952"/>
                      <a:pt x="678921" y="193146"/>
                      <a:pt x="660400" y="223837"/>
                    </a:cubicBezTo>
                    <a:cubicBezTo>
                      <a:pt x="641879" y="254528"/>
                      <a:pt x="654050" y="284956"/>
                      <a:pt x="646113" y="323850"/>
                    </a:cubicBezTo>
                    <a:cubicBezTo>
                      <a:pt x="638176" y="362744"/>
                      <a:pt x="630237" y="418306"/>
                      <a:pt x="612775" y="457200"/>
                    </a:cubicBezTo>
                    <a:cubicBezTo>
                      <a:pt x="595313" y="496094"/>
                      <a:pt x="560388" y="530225"/>
                      <a:pt x="541338" y="557212"/>
                    </a:cubicBezTo>
                    <a:cubicBezTo>
                      <a:pt x="522288" y="584199"/>
                      <a:pt x="519906" y="590550"/>
                      <a:pt x="498475" y="619125"/>
                    </a:cubicBezTo>
                    <a:cubicBezTo>
                      <a:pt x="477044" y="647700"/>
                      <a:pt x="443706" y="700881"/>
                      <a:pt x="412750" y="728662"/>
                    </a:cubicBezTo>
                    <a:cubicBezTo>
                      <a:pt x="381794" y="756443"/>
                      <a:pt x="341313" y="774700"/>
                      <a:pt x="312738" y="785812"/>
                    </a:cubicBezTo>
                    <a:cubicBezTo>
                      <a:pt x="284163" y="796924"/>
                      <a:pt x="261144" y="783431"/>
                      <a:pt x="241300" y="795337"/>
                    </a:cubicBezTo>
                    <a:cubicBezTo>
                      <a:pt x="221456" y="807243"/>
                      <a:pt x="217752" y="836877"/>
                      <a:pt x="193675" y="857250"/>
                    </a:cubicBezTo>
                    <a:cubicBezTo>
                      <a:pt x="169598" y="877623"/>
                      <a:pt x="120121" y="901965"/>
                      <a:pt x="96838" y="917575"/>
                    </a:cubicBezTo>
                    <a:cubicBezTo>
                      <a:pt x="73555" y="933185"/>
                      <a:pt x="47625" y="922337"/>
                      <a:pt x="53975" y="950912"/>
                    </a:cubicBezTo>
                    <a:cubicBezTo>
                      <a:pt x="60325" y="979487"/>
                      <a:pt x="66676" y="977371"/>
                      <a:pt x="61913" y="987425"/>
                    </a:cubicBezTo>
                    <a:cubicBezTo>
                      <a:pt x="57151" y="997479"/>
                      <a:pt x="42333" y="1024993"/>
                      <a:pt x="25400" y="1011235"/>
                    </a:cubicBezTo>
                    <a:cubicBezTo>
                      <a:pt x="8467" y="997477"/>
                      <a:pt x="4233" y="980543"/>
                      <a:pt x="0" y="954085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7" name="Москва-Н.Новгород-Казань"/>
              <p:cNvSpPr/>
              <p:nvPr/>
            </p:nvSpPr>
            <p:spPr>
              <a:xfrm>
                <a:off x="1888578" y="3934276"/>
                <a:ext cx="573162" cy="432704"/>
              </a:xfrm>
              <a:custGeom>
                <a:avLst/>
                <a:gdLst>
                  <a:gd name="connsiteX0" fmla="*/ 0 w 254926"/>
                  <a:gd name="connsiteY0" fmla="*/ 0 h 204097"/>
                  <a:gd name="connsiteX1" fmla="*/ 50800 w 254926"/>
                  <a:gd name="connsiteY1" fmla="*/ 12700 h 204097"/>
                  <a:gd name="connsiteX2" fmla="*/ 111125 w 254926"/>
                  <a:gd name="connsiteY2" fmla="*/ 66675 h 204097"/>
                  <a:gd name="connsiteX3" fmla="*/ 161925 w 254926"/>
                  <a:gd name="connsiteY3" fmla="*/ 133350 h 204097"/>
                  <a:gd name="connsiteX4" fmla="*/ 247650 w 254926"/>
                  <a:gd name="connsiteY4" fmla="*/ 196850 h 204097"/>
                  <a:gd name="connsiteX5" fmla="*/ 244475 w 254926"/>
                  <a:gd name="connsiteY5" fmla="*/ 200025 h 204097"/>
                  <a:gd name="connsiteX0" fmla="*/ 0 w 318971"/>
                  <a:gd name="connsiteY0" fmla="*/ 0 h 204097"/>
                  <a:gd name="connsiteX1" fmla="*/ 114845 w 318971"/>
                  <a:gd name="connsiteY1" fmla="*/ 12700 h 204097"/>
                  <a:gd name="connsiteX2" fmla="*/ 175170 w 318971"/>
                  <a:gd name="connsiteY2" fmla="*/ 66675 h 204097"/>
                  <a:gd name="connsiteX3" fmla="*/ 225970 w 318971"/>
                  <a:gd name="connsiteY3" fmla="*/ 133350 h 204097"/>
                  <a:gd name="connsiteX4" fmla="*/ 311695 w 318971"/>
                  <a:gd name="connsiteY4" fmla="*/ 196850 h 204097"/>
                  <a:gd name="connsiteX5" fmla="*/ 308520 w 318971"/>
                  <a:gd name="connsiteY5" fmla="*/ 200025 h 204097"/>
                  <a:gd name="connsiteX0" fmla="*/ 0 w 318971"/>
                  <a:gd name="connsiteY0" fmla="*/ 0 h 200472"/>
                  <a:gd name="connsiteX1" fmla="*/ 114845 w 318971"/>
                  <a:gd name="connsiteY1" fmla="*/ 9075 h 200472"/>
                  <a:gd name="connsiteX2" fmla="*/ 175170 w 318971"/>
                  <a:gd name="connsiteY2" fmla="*/ 63050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84635 w 318971"/>
                  <a:gd name="connsiteY1" fmla="*/ 23576 h 200472"/>
                  <a:gd name="connsiteX2" fmla="*/ 175170 w 318971"/>
                  <a:gd name="connsiteY2" fmla="*/ 63050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84635 w 318971"/>
                  <a:gd name="connsiteY1" fmla="*/ 23576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7384 w 318971"/>
                  <a:gd name="connsiteY1" fmla="*/ 23576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7384 w 318971"/>
                  <a:gd name="connsiteY1" fmla="*/ 23576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3759 w 318971"/>
                  <a:gd name="connsiteY1" fmla="*/ 28409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3759 w 318971"/>
                  <a:gd name="connsiteY1" fmla="*/ 28409 h 200472"/>
                  <a:gd name="connsiteX2" fmla="*/ 117167 w 318971"/>
                  <a:gd name="connsiteY2" fmla="*/ 82384 h 200472"/>
                  <a:gd name="connsiteX3" fmla="*/ 209052 w 318971"/>
                  <a:gd name="connsiteY3" fmla="*/ 139392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7929"/>
                  <a:gd name="connsiteY0" fmla="*/ 0 h 225824"/>
                  <a:gd name="connsiteX1" fmla="*/ 73759 w 317929"/>
                  <a:gd name="connsiteY1" fmla="*/ 28409 h 225824"/>
                  <a:gd name="connsiteX2" fmla="*/ 117167 w 317929"/>
                  <a:gd name="connsiteY2" fmla="*/ 82384 h 225824"/>
                  <a:gd name="connsiteX3" fmla="*/ 209052 w 317929"/>
                  <a:gd name="connsiteY3" fmla="*/ 139392 h 225824"/>
                  <a:gd name="connsiteX4" fmla="*/ 311695 w 317929"/>
                  <a:gd name="connsiteY4" fmla="*/ 193225 h 225824"/>
                  <a:gd name="connsiteX5" fmla="*/ 304895 w 317929"/>
                  <a:gd name="connsiteY5" fmla="*/ 225402 h 225824"/>
                  <a:gd name="connsiteX0" fmla="*/ 0 w 307063"/>
                  <a:gd name="connsiteY0" fmla="*/ 0 h 225749"/>
                  <a:gd name="connsiteX1" fmla="*/ 73759 w 307063"/>
                  <a:gd name="connsiteY1" fmla="*/ 28409 h 225749"/>
                  <a:gd name="connsiteX2" fmla="*/ 117167 w 307063"/>
                  <a:gd name="connsiteY2" fmla="*/ 82384 h 225749"/>
                  <a:gd name="connsiteX3" fmla="*/ 209052 w 307063"/>
                  <a:gd name="connsiteY3" fmla="*/ 139392 h 225749"/>
                  <a:gd name="connsiteX4" fmla="*/ 281485 w 307063"/>
                  <a:gd name="connsiteY4" fmla="*/ 187183 h 225749"/>
                  <a:gd name="connsiteX5" fmla="*/ 304895 w 307063"/>
                  <a:gd name="connsiteY5" fmla="*/ 225402 h 225749"/>
                  <a:gd name="connsiteX0" fmla="*/ 0 w 304868"/>
                  <a:gd name="connsiteY0" fmla="*/ 0 h 232938"/>
                  <a:gd name="connsiteX1" fmla="*/ 73759 w 304868"/>
                  <a:gd name="connsiteY1" fmla="*/ 28409 h 232938"/>
                  <a:gd name="connsiteX2" fmla="*/ 117167 w 304868"/>
                  <a:gd name="connsiteY2" fmla="*/ 82384 h 232938"/>
                  <a:gd name="connsiteX3" fmla="*/ 209052 w 304868"/>
                  <a:gd name="connsiteY3" fmla="*/ 139392 h 232938"/>
                  <a:gd name="connsiteX4" fmla="*/ 281485 w 304868"/>
                  <a:gd name="connsiteY4" fmla="*/ 187183 h 232938"/>
                  <a:gd name="connsiteX5" fmla="*/ 302479 w 304868"/>
                  <a:gd name="connsiteY5" fmla="*/ 232652 h 232938"/>
                  <a:gd name="connsiteX0" fmla="*/ 0 w 304235"/>
                  <a:gd name="connsiteY0" fmla="*/ 0 h 232966"/>
                  <a:gd name="connsiteX1" fmla="*/ 73759 w 304235"/>
                  <a:gd name="connsiteY1" fmla="*/ 28409 h 232966"/>
                  <a:gd name="connsiteX2" fmla="*/ 117167 w 304235"/>
                  <a:gd name="connsiteY2" fmla="*/ 82384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17167 w 304235"/>
                  <a:gd name="connsiteY2" fmla="*/ 82384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13542 w 304235"/>
                  <a:gd name="connsiteY2" fmla="*/ 88426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06292 w 304235"/>
                  <a:gd name="connsiteY2" fmla="*/ 88426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06292 w 304235"/>
                  <a:gd name="connsiteY2" fmla="*/ 88426 h 232966"/>
                  <a:gd name="connsiteX3" fmla="*/ 194551 w 304235"/>
                  <a:gd name="connsiteY3" fmla="*/ 152685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59259 w 304235"/>
                  <a:gd name="connsiteY1" fmla="*/ 23575 h 232966"/>
                  <a:gd name="connsiteX2" fmla="*/ 106292 w 304235"/>
                  <a:gd name="connsiteY2" fmla="*/ 88426 h 232966"/>
                  <a:gd name="connsiteX3" fmla="*/ 194551 w 304235"/>
                  <a:gd name="connsiteY3" fmla="*/ 152685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59259 w 304235"/>
                  <a:gd name="connsiteY1" fmla="*/ 23575 h 232966"/>
                  <a:gd name="connsiteX2" fmla="*/ 99041 w 304235"/>
                  <a:gd name="connsiteY2" fmla="*/ 92051 h 232966"/>
                  <a:gd name="connsiteX3" fmla="*/ 194551 w 304235"/>
                  <a:gd name="connsiteY3" fmla="*/ 152685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579203"/>
                  <a:gd name="connsiteY0" fmla="*/ 0 h 440497"/>
                  <a:gd name="connsiteX1" fmla="*/ 59259 w 579203"/>
                  <a:gd name="connsiteY1" fmla="*/ 23575 h 440497"/>
                  <a:gd name="connsiteX2" fmla="*/ 99041 w 579203"/>
                  <a:gd name="connsiteY2" fmla="*/ 92051 h 440497"/>
                  <a:gd name="connsiteX3" fmla="*/ 194551 w 579203"/>
                  <a:gd name="connsiteY3" fmla="*/ 152685 h 440497"/>
                  <a:gd name="connsiteX4" fmla="*/ 273026 w 579203"/>
                  <a:gd name="connsiteY4" fmla="*/ 190808 h 440497"/>
                  <a:gd name="connsiteX5" fmla="*/ 579203 w 579203"/>
                  <a:gd name="connsiteY5" fmla="*/ 440497 h 440497"/>
                  <a:gd name="connsiteX0" fmla="*/ 0 w 579203"/>
                  <a:gd name="connsiteY0" fmla="*/ 0 h 442082"/>
                  <a:gd name="connsiteX1" fmla="*/ 59259 w 579203"/>
                  <a:gd name="connsiteY1" fmla="*/ 23575 h 442082"/>
                  <a:gd name="connsiteX2" fmla="*/ 99041 w 579203"/>
                  <a:gd name="connsiteY2" fmla="*/ 92051 h 442082"/>
                  <a:gd name="connsiteX3" fmla="*/ 194551 w 579203"/>
                  <a:gd name="connsiteY3" fmla="*/ 152685 h 442082"/>
                  <a:gd name="connsiteX4" fmla="*/ 273026 w 579203"/>
                  <a:gd name="connsiteY4" fmla="*/ 190808 h 442082"/>
                  <a:gd name="connsiteX5" fmla="*/ 579203 w 579203"/>
                  <a:gd name="connsiteY5" fmla="*/ 440497 h 442082"/>
                  <a:gd name="connsiteX0" fmla="*/ 0 w 579203"/>
                  <a:gd name="connsiteY0" fmla="*/ 0 h 442082"/>
                  <a:gd name="connsiteX1" fmla="*/ 59259 w 579203"/>
                  <a:gd name="connsiteY1" fmla="*/ 23575 h 442082"/>
                  <a:gd name="connsiteX2" fmla="*/ 99041 w 579203"/>
                  <a:gd name="connsiteY2" fmla="*/ 92051 h 442082"/>
                  <a:gd name="connsiteX3" fmla="*/ 294848 w 579203"/>
                  <a:gd name="connsiteY3" fmla="*/ 245732 h 442082"/>
                  <a:gd name="connsiteX4" fmla="*/ 273026 w 579203"/>
                  <a:gd name="connsiteY4" fmla="*/ 190808 h 442082"/>
                  <a:gd name="connsiteX5" fmla="*/ 579203 w 579203"/>
                  <a:gd name="connsiteY5" fmla="*/ 440497 h 442082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99041 w 579203"/>
                  <a:gd name="connsiteY2" fmla="*/ 92051 h 446436"/>
                  <a:gd name="connsiteX3" fmla="*/ 294848 w 579203"/>
                  <a:gd name="connsiteY3" fmla="*/ 245732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99041 w 579203"/>
                  <a:gd name="connsiteY2" fmla="*/ 92051 h 446436"/>
                  <a:gd name="connsiteX3" fmla="*/ 210260 w 579203"/>
                  <a:gd name="connsiteY3" fmla="*/ 169603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210260 w 579203"/>
                  <a:gd name="connsiteY3" fmla="*/ 169603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262741 w 579203"/>
                  <a:gd name="connsiteY4" fmla="*/ 227401 h 446436"/>
                  <a:gd name="connsiteX5" fmla="*/ 415617 w 579203"/>
                  <a:gd name="connsiteY5" fmla="*/ 344275 h 446436"/>
                  <a:gd name="connsiteX6" fmla="*/ 579203 w 579203"/>
                  <a:gd name="connsiteY6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291743 w 579203"/>
                  <a:gd name="connsiteY4" fmla="*/ 231026 h 446436"/>
                  <a:gd name="connsiteX5" fmla="*/ 415617 w 579203"/>
                  <a:gd name="connsiteY5" fmla="*/ 344275 h 446436"/>
                  <a:gd name="connsiteX6" fmla="*/ 579203 w 579203"/>
                  <a:gd name="connsiteY6" fmla="*/ 440497 h 446436"/>
                  <a:gd name="connsiteX0" fmla="*/ 0 w 579203"/>
                  <a:gd name="connsiteY0" fmla="*/ 0 h 445617"/>
                  <a:gd name="connsiteX1" fmla="*/ 59259 w 579203"/>
                  <a:gd name="connsiteY1" fmla="*/ 23575 h 445617"/>
                  <a:gd name="connsiteX2" fmla="*/ 109916 w 579203"/>
                  <a:gd name="connsiteY2" fmla="*/ 81176 h 445617"/>
                  <a:gd name="connsiteX3" fmla="*/ 178841 w 579203"/>
                  <a:gd name="connsiteY3" fmla="*/ 165978 h 445617"/>
                  <a:gd name="connsiteX4" fmla="*/ 291743 w 579203"/>
                  <a:gd name="connsiteY4" fmla="*/ 231026 h 445617"/>
                  <a:gd name="connsiteX5" fmla="*/ 379365 w 579203"/>
                  <a:gd name="connsiteY5" fmla="*/ 334608 h 445617"/>
                  <a:gd name="connsiteX6" fmla="*/ 579203 w 579203"/>
                  <a:gd name="connsiteY6" fmla="*/ 440497 h 445617"/>
                  <a:gd name="connsiteX0" fmla="*/ 0 w 579203"/>
                  <a:gd name="connsiteY0" fmla="*/ 0 h 445617"/>
                  <a:gd name="connsiteX1" fmla="*/ 59259 w 579203"/>
                  <a:gd name="connsiteY1" fmla="*/ 23575 h 445617"/>
                  <a:gd name="connsiteX2" fmla="*/ 109916 w 579203"/>
                  <a:gd name="connsiteY2" fmla="*/ 81176 h 445617"/>
                  <a:gd name="connsiteX3" fmla="*/ 178841 w 579203"/>
                  <a:gd name="connsiteY3" fmla="*/ 165978 h 445617"/>
                  <a:gd name="connsiteX4" fmla="*/ 291743 w 579203"/>
                  <a:gd name="connsiteY4" fmla="*/ 231026 h 445617"/>
                  <a:gd name="connsiteX5" fmla="*/ 379365 w 579203"/>
                  <a:gd name="connsiteY5" fmla="*/ 334608 h 445617"/>
                  <a:gd name="connsiteX6" fmla="*/ 579203 w 579203"/>
                  <a:gd name="connsiteY6" fmla="*/ 440497 h 445617"/>
                  <a:gd name="connsiteX0" fmla="*/ 0 w 579203"/>
                  <a:gd name="connsiteY0" fmla="*/ 0 h 443291"/>
                  <a:gd name="connsiteX1" fmla="*/ 59259 w 579203"/>
                  <a:gd name="connsiteY1" fmla="*/ 23575 h 443291"/>
                  <a:gd name="connsiteX2" fmla="*/ 109916 w 579203"/>
                  <a:gd name="connsiteY2" fmla="*/ 81176 h 443291"/>
                  <a:gd name="connsiteX3" fmla="*/ 178841 w 579203"/>
                  <a:gd name="connsiteY3" fmla="*/ 165978 h 443291"/>
                  <a:gd name="connsiteX4" fmla="*/ 291743 w 579203"/>
                  <a:gd name="connsiteY4" fmla="*/ 231026 h 443291"/>
                  <a:gd name="connsiteX5" fmla="*/ 379365 w 579203"/>
                  <a:gd name="connsiteY5" fmla="*/ 334608 h 443291"/>
                  <a:gd name="connsiteX6" fmla="*/ 579203 w 579203"/>
                  <a:gd name="connsiteY6" fmla="*/ 440497 h 443291"/>
                  <a:gd name="connsiteX0" fmla="*/ 0 w 547785"/>
                  <a:gd name="connsiteY0" fmla="*/ 0 h 431531"/>
                  <a:gd name="connsiteX1" fmla="*/ 59259 w 547785"/>
                  <a:gd name="connsiteY1" fmla="*/ 23575 h 431531"/>
                  <a:gd name="connsiteX2" fmla="*/ 109916 w 547785"/>
                  <a:gd name="connsiteY2" fmla="*/ 81176 h 431531"/>
                  <a:gd name="connsiteX3" fmla="*/ 178841 w 547785"/>
                  <a:gd name="connsiteY3" fmla="*/ 165978 h 431531"/>
                  <a:gd name="connsiteX4" fmla="*/ 291743 w 547785"/>
                  <a:gd name="connsiteY4" fmla="*/ 231026 h 431531"/>
                  <a:gd name="connsiteX5" fmla="*/ 379365 w 547785"/>
                  <a:gd name="connsiteY5" fmla="*/ 334608 h 431531"/>
                  <a:gd name="connsiteX6" fmla="*/ 547785 w 547785"/>
                  <a:gd name="connsiteY6" fmla="*/ 428413 h 431531"/>
                  <a:gd name="connsiteX0" fmla="*/ 0 w 573162"/>
                  <a:gd name="connsiteY0" fmla="*/ 0 h 432704"/>
                  <a:gd name="connsiteX1" fmla="*/ 59259 w 573162"/>
                  <a:gd name="connsiteY1" fmla="*/ 23575 h 432704"/>
                  <a:gd name="connsiteX2" fmla="*/ 109916 w 573162"/>
                  <a:gd name="connsiteY2" fmla="*/ 81176 h 432704"/>
                  <a:gd name="connsiteX3" fmla="*/ 178841 w 573162"/>
                  <a:gd name="connsiteY3" fmla="*/ 165978 h 432704"/>
                  <a:gd name="connsiteX4" fmla="*/ 291743 w 573162"/>
                  <a:gd name="connsiteY4" fmla="*/ 231026 h 432704"/>
                  <a:gd name="connsiteX5" fmla="*/ 379365 w 573162"/>
                  <a:gd name="connsiteY5" fmla="*/ 334608 h 432704"/>
                  <a:gd name="connsiteX6" fmla="*/ 573162 w 573162"/>
                  <a:gd name="connsiteY6" fmla="*/ 429621 h 432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3162" h="432704">
                    <a:moveTo>
                      <a:pt x="0" y="0"/>
                    </a:moveTo>
                    <a:cubicBezTo>
                      <a:pt x="16139" y="794"/>
                      <a:pt x="40940" y="10046"/>
                      <a:pt x="59259" y="23575"/>
                    </a:cubicBezTo>
                    <a:cubicBezTo>
                      <a:pt x="77578" y="37104"/>
                      <a:pt x="89986" y="57442"/>
                      <a:pt x="109916" y="81176"/>
                    </a:cubicBezTo>
                    <a:cubicBezTo>
                      <a:pt x="129846" y="104910"/>
                      <a:pt x="148537" y="141003"/>
                      <a:pt x="178841" y="165978"/>
                    </a:cubicBezTo>
                    <a:cubicBezTo>
                      <a:pt x="209146" y="190953"/>
                      <a:pt x="252280" y="201310"/>
                      <a:pt x="291743" y="231026"/>
                    </a:cubicBezTo>
                    <a:cubicBezTo>
                      <a:pt x="331206" y="260742"/>
                      <a:pt x="344747" y="307551"/>
                      <a:pt x="379365" y="334608"/>
                    </a:cubicBezTo>
                    <a:cubicBezTo>
                      <a:pt x="402878" y="361043"/>
                      <a:pt x="566566" y="450313"/>
                      <a:pt x="573162" y="429621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3" name="Н.Новгород-Самара"/>
              <p:cNvSpPr/>
              <p:nvPr/>
            </p:nvSpPr>
            <p:spPr>
              <a:xfrm>
                <a:off x="2160971" y="4174909"/>
                <a:ext cx="175069" cy="430948"/>
              </a:xfrm>
              <a:custGeom>
                <a:avLst/>
                <a:gdLst>
                  <a:gd name="connsiteX0" fmla="*/ 0 w 114330"/>
                  <a:gd name="connsiteY0" fmla="*/ 0 h 431800"/>
                  <a:gd name="connsiteX1" fmla="*/ 15875 w 114330"/>
                  <a:gd name="connsiteY1" fmla="*/ 66675 h 431800"/>
                  <a:gd name="connsiteX2" fmla="*/ 63500 w 114330"/>
                  <a:gd name="connsiteY2" fmla="*/ 123825 h 431800"/>
                  <a:gd name="connsiteX3" fmla="*/ 73025 w 114330"/>
                  <a:gd name="connsiteY3" fmla="*/ 215900 h 431800"/>
                  <a:gd name="connsiteX4" fmla="*/ 101600 w 114330"/>
                  <a:gd name="connsiteY4" fmla="*/ 279400 h 431800"/>
                  <a:gd name="connsiteX5" fmla="*/ 114300 w 114330"/>
                  <a:gd name="connsiteY5" fmla="*/ 368300 h 431800"/>
                  <a:gd name="connsiteX6" fmla="*/ 98425 w 114330"/>
                  <a:gd name="connsiteY6" fmla="*/ 396875 h 431800"/>
                  <a:gd name="connsiteX7" fmla="*/ 107950 w 114330"/>
                  <a:gd name="connsiteY7" fmla="*/ 431800 h 431800"/>
                  <a:gd name="connsiteX0" fmla="*/ 0 w 98455"/>
                  <a:gd name="connsiteY0" fmla="*/ 0 h 365125"/>
                  <a:gd name="connsiteX1" fmla="*/ 47625 w 98455"/>
                  <a:gd name="connsiteY1" fmla="*/ 57150 h 365125"/>
                  <a:gd name="connsiteX2" fmla="*/ 57150 w 98455"/>
                  <a:gd name="connsiteY2" fmla="*/ 149225 h 365125"/>
                  <a:gd name="connsiteX3" fmla="*/ 85725 w 98455"/>
                  <a:gd name="connsiteY3" fmla="*/ 212725 h 365125"/>
                  <a:gd name="connsiteX4" fmla="*/ 98425 w 98455"/>
                  <a:gd name="connsiteY4" fmla="*/ 301625 h 365125"/>
                  <a:gd name="connsiteX5" fmla="*/ 82550 w 98455"/>
                  <a:gd name="connsiteY5" fmla="*/ 330200 h 365125"/>
                  <a:gd name="connsiteX6" fmla="*/ 92075 w 98455"/>
                  <a:gd name="connsiteY6" fmla="*/ 365125 h 365125"/>
                  <a:gd name="connsiteX0" fmla="*/ 0 w 74642"/>
                  <a:gd name="connsiteY0" fmla="*/ 0 h 377032"/>
                  <a:gd name="connsiteX1" fmla="*/ 23812 w 74642"/>
                  <a:gd name="connsiteY1" fmla="*/ 69057 h 377032"/>
                  <a:gd name="connsiteX2" fmla="*/ 33337 w 74642"/>
                  <a:gd name="connsiteY2" fmla="*/ 161132 h 377032"/>
                  <a:gd name="connsiteX3" fmla="*/ 61912 w 74642"/>
                  <a:gd name="connsiteY3" fmla="*/ 224632 h 377032"/>
                  <a:gd name="connsiteX4" fmla="*/ 74612 w 74642"/>
                  <a:gd name="connsiteY4" fmla="*/ 313532 h 377032"/>
                  <a:gd name="connsiteX5" fmla="*/ 58737 w 74642"/>
                  <a:gd name="connsiteY5" fmla="*/ 342107 h 377032"/>
                  <a:gd name="connsiteX6" fmla="*/ 68262 w 74642"/>
                  <a:gd name="connsiteY6" fmla="*/ 377032 h 377032"/>
                  <a:gd name="connsiteX0" fmla="*/ 2401 w 77043"/>
                  <a:gd name="connsiteY0" fmla="*/ 0 h 377032"/>
                  <a:gd name="connsiteX1" fmla="*/ 26213 w 77043"/>
                  <a:gd name="connsiteY1" fmla="*/ 69057 h 377032"/>
                  <a:gd name="connsiteX2" fmla="*/ 35738 w 77043"/>
                  <a:gd name="connsiteY2" fmla="*/ 161132 h 377032"/>
                  <a:gd name="connsiteX3" fmla="*/ 64313 w 77043"/>
                  <a:gd name="connsiteY3" fmla="*/ 224632 h 377032"/>
                  <a:gd name="connsiteX4" fmla="*/ 77013 w 77043"/>
                  <a:gd name="connsiteY4" fmla="*/ 313532 h 377032"/>
                  <a:gd name="connsiteX5" fmla="*/ 61138 w 77043"/>
                  <a:gd name="connsiteY5" fmla="*/ 342107 h 377032"/>
                  <a:gd name="connsiteX6" fmla="*/ 70663 w 77043"/>
                  <a:gd name="connsiteY6" fmla="*/ 377032 h 377032"/>
                  <a:gd name="connsiteX0" fmla="*/ 4967 w 79609"/>
                  <a:gd name="connsiteY0" fmla="*/ 0 h 377032"/>
                  <a:gd name="connsiteX1" fmla="*/ 28779 w 79609"/>
                  <a:gd name="connsiteY1" fmla="*/ 69057 h 377032"/>
                  <a:gd name="connsiteX2" fmla="*/ 38304 w 79609"/>
                  <a:gd name="connsiteY2" fmla="*/ 161132 h 377032"/>
                  <a:gd name="connsiteX3" fmla="*/ 66879 w 79609"/>
                  <a:gd name="connsiteY3" fmla="*/ 224632 h 377032"/>
                  <a:gd name="connsiteX4" fmla="*/ 79579 w 79609"/>
                  <a:gd name="connsiteY4" fmla="*/ 313532 h 377032"/>
                  <a:gd name="connsiteX5" fmla="*/ 63704 w 79609"/>
                  <a:gd name="connsiteY5" fmla="*/ 342107 h 377032"/>
                  <a:gd name="connsiteX6" fmla="*/ 73229 w 79609"/>
                  <a:gd name="connsiteY6" fmla="*/ 377032 h 377032"/>
                  <a:gd name="connsiteX0" fmla="*/ 6567 w 66922"/>
                  <a:gd name="connsiteY0" fmla="*/ 0 h 365126"/>
                  <a:gd name="connsiteX1" fmla="*/ 16092 w 66922"/>
                  <a:gd name="connsiteY1" fmla="*/ 57151 h 365126"/>
                  <a:gd name="connsiteX2" fmla="*/ 25617 w 66922"/>
                  <a:gd name="connsiteY2" fmla="*/ 149226 h 365126"/>
                  <a:gd name="connsiteX3" fmla="*/ 54192 w 66922"/>
                  <a:gd name="connsiteY3" fmla="*/ 212726 h 365126"/>
                  <a:gd name="connsiteX4" fmla="*/ 66892 w 66922"/>
                  <a:gd name="connsiteY4" fmla="*/ 301626 h 365126"/>
                  <a:gd name="connsiteX5" fmla="*/ 51017 w 66922"/>
                  <a:gd name="connsiteY5" fmla="*/ 330201 h 365126"/>
                  <a:gd name="connsiteX6" fmla="*/ 60542 w 66922"/>
                  <a:gd name="connsiteY6" fmla="*/ 365126 h 365126"/>
                  <a:gd name="connsiteX0" fmla="*/ 3868 w 95179"/>
                  <a:gd name="connsiteY0" fmla="*/ 0 h 400845"/>
                  <a:gd name="connsiteX1" fmla="*/ 44349 w 95179"/>
                  <a:gd name="connsiteY1" fmla="*/ 92870 h 400845"/>
                  <a:gd name="connsiteX2" fmla="*/ 53874 w 95179"/>
                  <a:gd name="connsiteY2" fmla="*/ 184945 h 400845"/>
                  <a:gd name="connsiteX3" fmla="*/ 82449 w 95179"/>
                  <a:gd name="connsiteY3" fmla="*/ 248445 h 400845"/>
                  <a:gd name="connsiteX4" fmla="*/ 95149 w 95179"/>
                  <a:gd name="connsiteY4" fmla="*/ 337345 h 400845"/>
                  <a:gd name="connsiteX5" fmla="*/ 79274 w 95179"/>
                  <a:gd name="connsiteY5" fmla="*/ 365920 h 400845"/>
                  <a:gd name="connsiteX6" fmla="*/ 88799 w 95179"/>
                  <a:gd name="connsiteY6" fmla="*/ 400845 h 400845"/>
                  <a:gd name="connsiteX0" fmla="*/ 3868 w 95179"/>
                  <a:gd name="connsiteY0" fmla="*/ 0 h 407989"/>
                  <a:gd name="connsiteX1" fmla="*/ 44349 w 95179"/>
                  <a:gd name="connsiteY1" fmla="*/ 100014 h 407989"/>
                  <a:gd name="connsiteX2" fmla="*/ 53874 w 95179"/>
                  <a:gd name="connsiteY2" fmla="*/ 192089 h 407989"/>
                  <a:gd name="connsiteX3" fmla="*/ 82449 w 95179"/>
                  <a:gd name="connsiteY3" fmla="*/ 255589 h 407989"/>
                  <a:gd name="connsiteX4" fmla="*/ 95149 w 95179"/>
                  <a:gd name="connsiteY4" fmla="*/ 344489 h 407989"/>
                  <a:gd name="connsiteX5" fmla="*/ 79274 w 95179"/>
                  <a:gd name="connsiteY5" fmla="*/ 373064 h 407989"/>
                  <a:gd name="connsiteX6" fmla="*/ 88799 w 95179"/>
                  <a:gd name="connsiteY6" fmla="*/ 407989 h 407989"/>
                  <a:gd name="connsiteX0" fmla="*/ 6328 w 97639"/>
                  <a:gd name="connsiteY0" fmla="*/ 0 h 407989"/>
                  <a:gd name="connsiteX1" fmla="*/ 46809 w 97639"/>
                  <a:gd name="connsiteY1" fmla="*/ 100014 h 407989"/>
                  <a:gd name="connsiteX2" fmla="*/ 56334 w 97639"/>
                  <a:gd name="connsiteY2" fmla="*/ 192089 h 407989"/>
                  <a:gd name="connsiteX3" fmla="*/ 84909 w 97639"/>
                  <a:gd name="connsiteY3" fmla="*/ 255589 h 407989"/>
                  <a:gd name="connsiteX4" fmla="*/ 97609 w 97639"/>
                  <a:gd name="connsiteY4" fmla="*/ 344489 h 407989"/>
                  <a:gd name="connsiteX5" fmla="*/ 81734 w 97639"/>
                  <a:gd name="connsiteY5" fmla="*/ 373064 h 407989"/>
                  <a:gd name="connsiteX6" fmla="*/ 91259 w 97639"/>
                  <a:gd name="connsiteY6" fmla="*/ 407989 h 407989"/>
                  <a:gd name="connsiteX0" fmla="*/ 6595 w 94281"/>
                  <a:gd name="connsiteY0" fmla="*/ 0 h 410406"/>
                  <a:gd name="connsiteX1" fmla="*/ 43451 w 94281"/>
                  <a:gd name="connsiteY1" fmla="*/ 102431 h 410406"/>
                  <a:gd name="connsiteX2" fmla="*/ 52976 w 94281"/>
                  <a:gd name="connsiteY2" fmla="*/ 194506 h 410406"/>
                  <a:gd name="connsiteX3" fmla="*/ 81551 w 94281"/>
                  <a:gd name="connsiteY3" fmla="*/ 258006 h 410406"/>
                  <a:gd name="connsiteX4" fmla="*/ 94251 w 94281"/>
                  <a:gd name="connsiteY4" fmla="*/ 346906 h 410406"/>
                  <a:gd name="connsiteX5" fmla="*/ 78376 w 94281"/>
                  <a:gd name="connsiteY5" fmla="*/ 375481 h 410406"/>
                  <a:gd name="connsiteX6" fmla="*/ 87901 w 94281"/>
                  <a:gd name="connsiteY6" fmla="*/ 410406 h 410406"/>
                  <a:gd name="connsiteX0" fmla="*/ 3845 w 153159"/>
                  <a:gd name="connsiteY0" fmla="*/ 0 h 438199"/>
                  <a:gd name="connsiteX1" fmla="*/ 102329 w 153159"/>
                  <a:gd name="connsiteY1" fmla="*/ 130224 h 438199"/>
                  <a:gd name="connsiteX2" fmla="*/ 111854 w 153159"/>
                  <a:gd name="connsiteY2" fmla="*/ 222299 h 438199"/>
                  <a:gd name="connsiteX3" fmla="*/ 140429 w 153159"/>
                  <a:gd name="connsiteY3" fmla="*/ 285799 h 438199"/>
                  <a:gd name="connsiteX4" fmla="*/ 153129 w 153159"/>
                  <a:gd name="connsiteY4" fmla="*/ 374699 h 438199"/>
                  <a:gd name="connsiteX5" fmla="*/ 137254 w 153159"/>
                  <a:gd name="connsiteY5" fmla="*/ 403274 h 438199"/>
                  <a:gd name="connsiteX6" fmla="*/ 146779 w 153159"/>
                  <a:gd name="connsiteY6" fmla="*/ 438199 h 438199"/>
                  <a:gd name="connsiteX0" fmla="*/ 3528 w 166134"/>
                  <a:gd name="connsiteY0" fmla="*/ 0 h 412822"/>
                  <a:gd name="connsiteX1" fmla="*/ 115304 w 166134"/>
                  <a:gd name="connsiteY1" fmla="*/ 104847 h 412822"/>
                  <a:gd name="connsiteX2" fmla="*/ 124829 w 166134"/>
                  <a:gd name="connsiteY2" fmla="*/ 196922 h 412822"/>
                  <a:gd name="connsiteX3" fmla="*/ 153404 w 166134"/>
                  <a:gd name="connsiteY3" fmla="*/ 260422 h 412822"/>
                  <a:gd name="connsiteX4" fmla="*/ 166104 w 166134"/>
                  <a:gd name="connsiteY4" fmla="*/ 349322 h 412822"/>
                  <a:gd name="connsiteX5" fmla="*/ 150229 w 166134"/>
                  <a:gd name="connsiteY5" fmla="*/ 377897 h 412822"/>
                  <a:gd name="connsiteX6" fmla="*/ 159754 w 166134"/>
                  <a:gd name="connsiteY6" fmla="*/ 412822 h 412822"/>
                  <a:gd name="connsiteX0" fmla="*/ 4540 w 167146"/>
                  <a:gd name="connsiteY0" fmla="*/ 0 h 412822"/>
                  <a:gd name="connsiteX1" fmla="*/ 86106 w 167146"/>
                  <a:gd name="connsiteY1" fmla="*/ 127807 h 412822"/>
                  <a:gd name="connsiteX2" fmla="*/ 125841 w 167146"/>
                  <a:gd name="connsiteY2" fmla="*/ 196922 h 412822"/>
                  <a:gd name="connsiteX3" fmla="*/ 154416 w 167146"/>
                  <a:gd name="connsiteY3" fmla="*/ 260422 h 412822"/>
                  <a:gd name="connsiteX4" fmla="*/ 167116 w 167146"/>
                  <a:gd name="connsiteY4" fmla="*/ 349322 h 412822"/>
                  <a:gd name="connsiteX5" fmla="*/ 151241 w 167146"/>
                  <a:gd name="connsiteY5" fmla="*/ 377897 h 412822"/>
                  <a:gd name="connsiteX6" fmla="*/ 160766 w 167146"/>
                  <a:gd name="connsiteY6" fmla="*/ 412822 h 412822"/>
                  <a:gd name="connsiteX0" fmla="*/ 4298 w 167028"/>
                  <a:gd name="connsiteY0" fmla="*/ 0 h 412822"/>
                  <a:gd name="connsiteX1" fmla="*/ 85864 w 167028"/>
                  <a:gd name="connsiteY1" fmla="*/ 127807 h 412822"/>
                  <a:gd name="connsiteX2" fmla="*/ 88139 w 167028"/>
                  <a:gd name="connsiteY2" fmla="*/ 219882 h 412822"/>
                  <a:gd name="connsiteX3" fmla="*/ 154174 w 167028"/>
                  <a:gd name="connsiteY3" fmla="*/ 260422 h 412822"/>
                  <a:gd name="connsiteX4" fmla="*/ 166874 w 167028"/>
                  <a:gd name="connsiteY4" fmla="*/ 349322 h 412822"/>
                  <a:gd name="connsiteX5" fmla="*/ 150999 w 167028"/>
                  <a:gd name="connsiteY5" fmla="*/ 377897 h 412822"/>
                  <a:gd name="connsiteX6" fmla="*/ 160524 w 167028"/>
                  <a:gd name="connsiteY6" fmla="*/ 412822 h 412822"/>
                  <a:gd name="connsiteX0" fmla="*/ 4880 w 167610"/>
                  <a:gd name="connsiteY0" fmla="*/ 0 h 412822"/>
                  <a:gd name="connsiteX1" fmla="*/ 73154 w 167610"/>
                  <a:gd name="connsiteY1" fmla="*/ 129015 h 412822"/>
                  <a:gd name="connsiteX2" fmla="*/ 88721 w 167610"/>
                  <a:gd name="connsiteY2" fmla="*/ 219882 h 412822"/>
                  <a:gd name="connsiteX3" fmla="*/ 154756 w 167610"/>
                  <a:gd name="connsiteY3" fmla="*/ 260422 h 412822"/>
                  <a:gd name="connsiteX4" fmla="*/ 167456 w 167610"/>
                  <a:gd name="connsiteY4" fmla="*/ 349322 h 412822"/>
                  <a:gd name="connsiteX5" fmla="*/ 151581 w 167610"/>
                  <a:gd name="connsiteY5" fmla="*/ 377897 h 412822"/>
                  <a:gd name="connsiteX6" fmla="*/ 161106 w 167610"/>
                  <a:gd name="connsiteY6" fmla="*/ 412822 h 412822"/>
                  <a:gd name="connsiteX0" fmla="*/ 4880 w 169130"/>
                  <a:gd name="connsiteY0" fmla="*/ 0 h 412822"/>
                  <a:gd name="connsiteX1" fmla="*/ 73154 w 169130"/>
                  <a:gd name="connsiteY1" fmla="*/ 129015 h 412822"/>
                  <a:gd name="connsiteX2" fmla="*/ 88721 w 169130"/>
                  <a:gd name="connsiteY2" fmla="*/ 219882 h 412822"/>
                  <a:gd name="connsiteX3" fmla="*/ 104003 w 169130"/>
                  <a:gd name="connsiteY3" fmla="*/ 307550 h 412822"/>
                  <a:gd name="connsiteX4" fmla="*/ 167456 w 169130"/>
                  <a:gd name="connsiteY4" fmla="*/ 349322 h 412822"/>
                  <a:gd name="connsiteX5" fmla="*/ 151581 w 169130"/>
                  <a:gd name="connsiteY5" fmla="*/ 377897 h 412822"/>
                  <a:gd name="connsiteX6" fmla="*/ 161106 w 169130"/>
                  <a:gd name="connsiteY6" fmla="*/ 412822 h 412822"/>
                  <a:gd name="connsiteX0" fmla="*/ 6467 w 170717"/>
                  <a:gd name="connsiteY0" fmla="*/ 0 h 412822"/>
                  <a:gd name="connsiteX1" fmla="*/ 50573 w 170717"/>
                  <a:gd name="connsiteY1" fmla="*/ 141099 h 412822"/>
                  <a:gd name="connsiteX2" fmla="*/ 90308 w 170717"/>
                  <a:gd name="connsiteY2" fmla="*/ 219882 h 412822"/>
                  <a:gd name="connsiteX3" fmla="*/ 105590 w 170717"/>
                  <a:gd name="connsiteY3" fmla="*/ 307550 h 412822"/>
                  <a:gd name="connsiteX4" fmla="*/ 169043 w 170717"/>
                  <a:gd name="connsiteY4" fmla="*/ 349322 h 412822"/>
                  <a:gd name="connsiteX5" fmla="*/ 153168 w 170717"/>
                  <a:gd name="connsiteY5" fmla="*/ 377897 h 412822"/>
                  <a:gd name="connsiteX6" fmla="*/ 162693 w 170717"/>
                  <a:gd name="connsiteY6" fmla="*/ 412822 h 412822"/>
                  <a:gd name="connsiteX0" fmla="*/ 8342 w 172592"/>
                  <a:gd name="connsiteY0" fmla="*/ 0 h 412822"/>
                  <a:gd name="connsiteX1" fmla="*/ 35530 w 172592"/>
                  <a:gd name="connsiteY1" fmla="*/ 148349 h 412822"/>
                  <a:gd name="connsiteX2" fmla="*/ 92183 w 172592"/>
                  <a:gd name="connsiteY2" fmla="*/ 219882 h 412822"/>
                  <a:gd name="connsiteX3" fmla="*/ 107465 w 172592"/>
                  <a:gd name="connsiteY3" fmla="*/ 307550 h 412822"/>
                  <a:gd name="connsiteX4" fmla="*/ 170918 w 172592"/>
                  <a:gd name="connsiteY4" fmla="*/ 349322 h 412822"/>
                  <a:gd name="connsiteX5" fmla="*/ 155043 w 172592"/>
                  <a:gd name="connsiteY5" fmla="*/ 377897 h 412822"/>
                  <a:gd name="connsiteX6" fmla="*/ 164568 w 172592"/>
                  <a:gd name="connsiteY6" fmla="*/ 412822 h 412822"/>
                  <a:gd name="connsiteX0" fmla="*/ 7828 w 172078"/>
                  <a:gd name="connsiteY0" fmla="*/ 0 h 412822"/>
                  <a:gd name="connsiteX1" fmla="*/ 35016 w 172078"/>
                  <a:gd name="connsiteY1" fmla="*/ 148349 h 412822"/>
                  <a:gd name="connsiteX2" fmla="*/ 66293 w 172078"/>
                  <a:gd name="connsiteY2" fmla="*/ 231966 h 412822"/>
                  <a:gd name="connsiteX3" fmla="*/ 106951 w 172078"/>
                  <a:gd name="connsiteY3" fmla="*/ 307550 h 412822"/>
                  <a:gd name="connsiteX4" fmla="*/ 170404 w 172078"/>
                  <a:gd name="connsiteY4" fmla="*/ 349322 h 412822"/>
                  <a:gd name="connsiteX5" fmla="*/ 154529 w 172078"/>
                  <a:gd name="connsiteY5" fmla="*/ 377897 h 412822"/>
                  <a:gd name="connsiteX6" fmla="*/ 164054 w 172078"/>
                  <a:gd name="connsiteY6" fmla="*/ 412822 h 412822"/>
                  <a:gd name="connsiteX0" fmla="*/ 7828 w 164054"/>
                  <a:gd name="connsiteY0" fmla="*/ 0 h 412822"/>
                  <a:gd name="connsiteX1" fmla="*/ 35016 w 164054"/>
                  <a:gd name="connsiteY1" fmla="*/ 148349 h 412822"/>
                  <a:gd name="connsiteX2" fmla="*/ 66293 w 164054"/>
                  <a:gd name="connsiteY2" fmla="*/ 231966 h 412822"/>
                  <a:gd name="connsiteX3" fmla="*/ 106951 w 164054"/>
                  <a:gd name="connsiteY3" fmla="*/ 307550 h 412822"/>
                  <a:gd name="connsiteX4" fmla="*/ 147444 w 164054"/>
                  <a:gd name="connsiteY4" fmla="*/ 348114 h 412822"/>
                  <a:gd name="connsiteX5" fmla="*/ 154529 w 164054"/>
                  <a:gd name="connsiteY5" fmla="*/ 377897 h 412822"/>
                  <a:gd name="connsiteX6" fmla="*/ 164054 w 164054"/>
                  <a:gd name="connsiteY6" fmla="*/ 412822 h 412822"/>
                  <a:gd name="connsiteX0" fmla="*/ 7828 w 164054"/>
                  <a:gd name="connsiteY0" fmla="*/ 0 h 412822"/>
                  <a:gd name="connsiteX1" fmla="*/ 35016 w 164054"/>
                  <a:gd name="connsiteY1" fmla="*/ 148349 h 412822"/>
                  <a:gd name="connsiteX2" fmla="*/ 66293 w 164054"/>
                  <a:gd name="connsiteY2" fmla="*/ 231966 h 412822"/>
                  <a:gd name="connsiteX3" fmla="*/ 99701 w 164054"/>
                  <a:gd name="connsiteY3" fmla="*/ 309966 h 412822"/>
                  <a:gd name="connsiteX4" fmla="*/ 147444 w 164054"/>
                  <a:gd name="connsiteY4" fmla="*/ 348114 h 412822"/>
                  <a:gd name="connsiteX5" fmla="*/ 154529 w 164054"/>
                  <a:gd name="connsiteY5" fmla="*/ 377897 h 412822"/>
                  <a:gd name="connsiteX6" fmla="*/ 164054 w 164054"/>
                  <a:gd name="connsiteY6" fmla="*/ 412822 h 412822"/>
                  <a:gd name="connsiteX0" fmla="*/ 7624 w 163850"/>
                  <a:gd name="connsiteY0" fmla="*/ 0 h 412822"/>
                  <a:gd name="connsiteX1" fmla="*/ 34812 w 163850"/>
                  <a:gd name="connsiteY1" fmla="*/ 148349 h 412822"/>
                  <a:gd name="connsiteX2" fmla="*/ 55213 w 163850"/>
                  <a:gd name="connsiteY2" fmla="*/ 235591 h 412822"/>
                  <a:gd name="connsiteX3" fmla="*/ 99497 w 163850"/>
                  <a:gd name="connsiteY3" fmla="*/ 309966 h 412822"/>
                  <a:gd name="connsiteX4" fmla="*/ 147240 w 163850"/>
                  <a:gd name="connsiteY4" fmla="*/ 348114 h 412822"/>
                  <a:gd name="connsiteX5" fmla="*/ 154325 w 163850"/>
                  <a:gd name="connsiteY5" fmla="*/ 377897 h 412822"/>
                  <a:gd name="connsiteX6" fmla="*/ 163850 w 163850"/>
                  <a:gd name="connsiteY6" fmla="*/ 412822 h 412822"/>
                  <a:gd name="connsiteX0" fmla="*/ 10108 w 166334"/>
                  <a:gd name="connsiteY0" fmla="*/ 0 h 412822"/>
                  <a:gd name="connsiteX1" fmla="*/ 21587 w 166334"/>
                  <a:gd name="connsiteY1" fmla="*/ 148349 h 412822"/>
                  <a:gd name="connsiteX2" fmla="*/ 57697 w 166334"/>
                  <a:gd name="connsiteY2" fmla="*/ 235591 h 412822"/>
                  <a:gd name="connsiteX3" fmla="*/ 101981 w 166334"/>
                  <a:gd name="connsiteY3" fmla="*/ 309966 h 412822"/>
                  <a:gd name="connsiteX4" fmla="*/ 149724 w 166334"/>
                  <a:gd name="connsiteY4" fmla="*/ 348114 h 412822"/>
                  <a:gd name="connsiteX5" fmla="*/ 156809 w 166334"/>
                  <a:gd name="connsiteY5" fmla="*/ 377897 h 412822"/>
                  <a:gd name="connsiteX6" fmla="*/ 166334 w 166334"/>
                  <a:gd name="connsiteY6" fmla="*/ 412822 h 412822"/>
                  <a:gd name="connsiteX0" fmla="*/ 9140 w 171408"/>
                  <a:gd name="connsiteY0" fmla="*/ 0 h 422489"/>
                  <a:gd name="connsiteX1" fmla="*/ 26661 w 171408"/>
                  <a:gd name="connsiteY1" fmla="*/ 158016 h 422489"/>
                  <a:gd name="connsiteX2" fmla="*/ 62771 w 171408"/>
                  <a:gd name="connsiteY2" fmla="*/ 245258 h 422489"/>
                  <a:gd name="connsiteX3" fmla="*/ 107055 w 171408"/>
                  <a:gd name="connsiteY3" fmla="*/ 319633 h 422489"/>
                  <a:gd name="connsiteX4" fmla="*/ 154798 w 171408"/>
                  <a:gd name="connsiteY4" fmla="*/ 357781 h 422489"/>
                  <a:gd name="connsiteX5" fmla="*/ 161883 w 171408"/>
                  <a:gd name="connsiteY5" fmla="*/ 387564 h 422489"/>
                  <a:gd name="connsiteX6" fmla="*/ 171408 w 171408"/>
                  <a:gd name="connsiteY6" fmla="*/ 422489 h 422489"/>
                  <a:gd name="connsiteX0" fmla="*/ 9140 w 171408"/>
                  <a:gd name="connsiteY0" fmla="*/ 0 h 422489"/>
                  <a:gd name="connsiteX1" fmla="*/ 26661 w 171408"/>
                  <a:gd name="connsiteY1" fmla="*/ 158016 h 422489"/>
                  <a:gd name="connsiteX2" fmla="*/ 62771 w 171408"/>
                  <a:gd name="connsiteY2" fmla="*/ 245258 h 422489"/>
                  <a:gd name="connsiteX3" fmla="*/ 107055 w 171408"/>
                  <a:gd name="connsiteY3" fmla="*/ 319633 h 422489"/>
                  <a:gd name="connsiteX4" fmla="*/ 154798 w 171408"/>
                  <a:gd name="connsiteY4" fmla="*/ 357781 h 422489"/>
                  <a:gd name="connsiteX5" fmla="*/ 161883 w 171408"/>
                  <a:gd name="connsiteY5" fmla="*/ 387564 h 422489"/>
                  <a:gd name="connsiteX6" fmla="*/ 171408 w 171408"/>
                  <a:gd name="connsiteY6" fmla="*/ 422489 h 422489"/>
                  <a:gd name="connsiteX0" fmla="*/ 10384 w 172652"/>
                  <a:gd name="connsiteY0" fmla="*/ 0 h 422489"/>
                  <a:gd name="connsiteX1" fmla="*/ 27905 w 172652"/>
                  <a:gd name="connsiteY1" fmla="*/ 158016 h 422489"/>
                  <a:gd name="connsiteX2" fmla="*/ 108299 w 172652"/>
                  <a:gd name="connsiteY2" fmla="*/ 319633 h 422489"/>
                  <a:gd name="connsiteX3" fmla="*/ 156042 w 172652"/>
                  <a:gd name="connsiteY3" fmla="*/ 357781 h 422489"/>
                  <a:gd name="connsiteX4" fmla="*/ 163127 w 172652"/>
                  <a:gd name="connsiteY4" fmla="*/ 387564 h 422489"/>
                  <a:gd name="connsiteX5" fmla="*/ 172652 w 172652"/>
                  <a:gd name="connsiteY5" fmla="*/ 422489 h 422489"/>
                  <a:gd name="connsiteX0" fmla="*/ 10384 w 175069"/>
                  <a:gd name="connsiteY0" fmla="*/ 0 h 430948"/>
                  <a:gd name="connsiteX1" fmla="*/ 27905 w 175069"/>
                  <a:gd name="connsiteY1" fmla="*/ 158016 h 430948"/>
                  <a:gd name="connsiteX2" fmla="*/ 108299 w 175069"/>
                  <a:gd name="connsiteY2" fmla="*/ 319633 h 430948"/>
                  <a:gd name="connsiteX3" fmla="*/ 156042 w 175069"/>
                  <a:gd name="connsiteY3" fmla="*/ 357781 h 430948"/>
                  <a:gd name="connsiteX4" fmla="*/ 163127 w 175069"/>
                  <a:gd name="connsiteY4" fmla="*/ 387564 h 430948"/>
                  <a:gd name="connsiteX5" fmla="*/ 175069 w 175069"/>
                  <a:gd name="connsiteY5" fmla="*/ 430948 h 430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5069" h="430948">
                    <a:moveTo>
                      <a:pt x="10384" y="0"/>
                    </a:moveTo>
                    <a:cubicBezTo>
                      <a:pt x="-14750" y="25400"/>
                      <a:pt x="11586" y="104744"/>
                      <a:pt x="27905" y="158016"/>
                    </a:cubicBezTo>
                    <a:cubicBezTo>
                      <a:pt x="44224" y="211288"/>
                      <a:pt x="86943" y="286339"/>
                      <a:pt x="108299" y="319633"/>
                    </a:cubicBezTo>
                    <a:cubicBezTo>
                      <a:pt x="129655" y="352927"/>
                      <a:pt x="146904" y="346459"/>
                      <a:pt x="156042" y="357781"/>
                    </a:cubicBezTo>
                    <a:cubicBezTo>
                      <a:pt x="165180" y="369103"/>
                      <a:pt x="164185" y="376981"/>
                      <a:pt x="163127" y="387564"/>
                    </a:cubicBezTo>
                    <a:cubicBezTo>
                      <a:pt x="162069" y="398147"/>
                      <a:pt x="169777" y="418777"/>
                      <a:pt x="175069" y="430948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4" name="Самара-Сагарчин"/>
              <p:cNvSpPr/>
              <p:nvPr/>
            </p:nvSpPr>
            <p:spPr>
              <a:xfrm>
                <a:off x="2346924" y="4638675"/>
                <a:ext cx="322979" cy="473976"/>
              </a:xfrm>
              <a:custGeom>
                <a:avLst/>
                <a:gdLst>
                  <a:gd name="connsiteX0" fmla="*/ 8937 w 310562"/>
                  <a:gd name="connsiteY0" fmla="*/ 0 h 466725"/>
                  <a:gd name="connsiteX1" fmla="*/ 5762 w 310562"/>
                  <a:gd name="connsiteY1" fmla="*/ 79375 h 466725"/>
                  <a:gd name="connsiteX2" fmla="*/ 75612 w 310562"/>
                  <a:gd name="connsiteY2" fmla="*/ 149225 h 466725"/>
                  <a:gd name="connsiteX3" fmla="*/ 132762 w 310562"/>
                  <a:gd name="connsiteY3" fmla="*/ 269875 h 466725"/>
                  <a:gd name="connsiteX4" fmla="*/ 186737 w 310562"/>
                  <a:gd name="connsiteY4" fmla="*/ 342900 h 466725"/>
                  <a:gd name="connsiteX5" fmla="*/ 234362 w 310562"/>
                  <a:gd name="connsiteY5" fmla="*/ 419100 h 466725"/>
                  <a:gd name="connsiteX6" fmla="*/ 310562 w 310562"/>
                  <a:gd name="connsiteY6" fmla="*/ 466725 h 466725"/>
                  <a:gd name="connsiteX0" fmla="*/ 5751 w 307376"/>
                  <a:gd name="connsiteY0" fmla="*/ 0 h 466725"/>
                  <a:gd name="connsiteX1" fmla="*/ 2576 w 307376"/>
                  <a:gd name="connsiteY1" fmla="*/ 79375 h 466725"/>
                  <a:gd name="connsiteX2" fmla="*/ 72426 w 307376"/>
                  <a:gd name="connsiteY2" fmla="*/ 149225 h 466725"/>
                  <a:gd name="connsiteX3" fmla="*/ 129576 w 307376"/>
                  <a:gd name="connsiteY3" fmla="*/ 269875 h 466725"/>
                  <a:gd name="connsiteX4" fmla="*/ 183551 w 307376"/>
                  <a:gd name="connsiteY4" fmla="*/ 342900 h 466725"/>
                  <a:gd name="connsiteX5" fmla="*/ 231176 w 307376"/>
                  <a:gd name="connsiteY5" fmla="*/ 419100 h 466725"/>
                  <a:gd name="connsiteX6" fmla="*/ 307376 w 307376"/>
                  <a:gd name="connsiteY6" fmla="*/ 466725 h 466725"/>
                  <a:gd name="connsiteX0" fmla="*/ 5751 w 314520"/>
                  <a:gd name="connsiteY0" fmla="*/ 0 h 466725"/>
                  <a:gd name="connsiteX1" fmla="*/ 2576 w 314520"/>
                  <a:gd name="connsiteY1" fmla="*/ 79375 h 466725"/>
                  <a:gd name="connsiteX2" fmla="*/ 72426 w 314520"/>
                  <a:gd name="connsiteY2" fmla="*/ 149225 h 466725"/>
                  <a:gd name="connsiteX3" fmla="*/ 129576 w 314520"/>
                  <a:gd name="connsiteY3" fmla="*/ 269875 h 466725"/>
                  <a:gd name="connsiteX4" fmla="*/ 183551 w 314520"/>
                  <a:gd name="connsiteY4" fmla="*/ 342900 h 466725"/>
                  <a:gd name="connsiteX5" fmla="*/ 231176 w 314520"/>
                  <a:gd name="connsiteY5" fmla="*/ 419100 h 466725"/>
                  <a:gd name="connsiteX6" fmla="*/ 314520 w 314520"/>
                  <a:gd name="connsiteY6" fmla="*/ 466725 h 466725"/>
                  <a:gd name="connsiteX0" fmla="*/ 5751 w 322979"/>
                  <a:gd name="connsiteY0" fmla="*/ 0 h 473976"/>
                  <a:gd name="connsiteX1" fmla="*/ 2576 w 322979"/>
                  <a:gd name="connsiteY1" fmla="*/ 79375 h 473976"/>
                  <a:gd name="connsiteX2" fmla="*/ 72426 w 322979"/>
                  <a:gd name="connsiteY2" fmla="*/ 149225 h 473976"/>
                  <a:gd name="connsiteX3" fmla="*/ 129576 w 322979"/>
                  <a:gd name="connsiteY3" fmla="*/ 269875 h 473976"/>
                  <a:gd name="connsiteX4" fmla="*/ 183551 w 322979"/>
                  <a:gd name="connsiteY4" fmla="*/ 342900 h 473976"/>
                  <a:gd name="connsiteX5" fmla="*/ 231176 w 322979"/>
                  <a:gd name="connsiteY5" fmla="*/ 419100 h 473976"/>
                  <a:gd name="connsiteX6" fmla="*/ 322979 w 322979"/>
                  <a:gd name="connsiteY6" fmla="*/ 473976 h 473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2979" h="473976">
                    <a:moveTo>
                      <a:pt x="5751" y="0"/>
                    </a:moveTo>
                    <a:cubicBezTo>
                      <a:pt x="20832" y="39952"/>
                      <a:pt x="-8536" y="54504"/>
                      <a:pt x="2576" y="79375"/>
                    </a:cubicBezTo>
                    <a:cubicBezTo>
                      <a:pt x="13688" y="104246"/>
                      <a:pt x="51259" y="117475"/>
                      <a:pt x="72426" y="149225"/>
                    </a:cubicBezTo>
                    <a:cubicBezTo>
                      <a:pt x="93593" y="180975"/>
                      <a:pt x="111055" y="237596"/>
                      <a:pt x="129576" y="269875"/>
                    </a:cubicBezTo>
                    <a:cubicBezTo>
                      <a:pt x="148097" y="302154"/>
                      <a:pt x="166618" y="318029"/>
                      <a:pt x="183551" y="342900"/>
                    </a:cubicBezTo>
                    <a:cubicBezTo>
                      <a:pt x="200484" y="367771"/>
                      <a:pt x="209348" y="398463"/>
                      <a:pt x="231176" y="419100"/>
                    </a:cubicBezTo>
                    <a:cubicBezTo>
                      <a:pt x="253004" y="439737"/>
                      <a:pt x="295197" y="460482"/>
                      <a:pt x="322979" y="473976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8" name="Казань-Екатеринбург"/>
              <p:cNvSpPr/>
              <p:nvPr/>
            </p:nvSpPr>
            <p:spPr>
              <a:xfrm>
                <a:off x="2454547" y="4354476"/>
                <a:ext cx="720453" cy="214861"/>
              </a:xfrm>
              <a:custGeom>
                <a:avLst/>
                <a:gdLst>
                  <a:gd name="connsiteX0" fmla="*/ 0 w 654050"/>
                  <a:gd name="connsiteY0" fmla="*/ 0 h 171963"/>
                  <a:gd name="connsiteX1" fmla="*/ 101600 w 654050"/>
                  <a:gd name="connsiteY1" fmla="*/ 31750 h 171963"/>
                  <a:gd name="connsiteX2" fmla="*/ 171450 w 654050"/>
                  <a:gd name="connsiteY2" fmla="*/ 50800 h 171963"/>
                  <a:gd name="connsiteX3" fmla="*/ 263525 w 654050"/>
                  <a:gd name="connsiteY3" fmla="*/ 95250 h 171963"/>
                  <a:gd name="connsiteX4" fmla="*/ 311150 w 654050"/>
                  <a:gd name="connsiteY4" fmla="*/ 120650 h 171963"/>
                  <a:gd name="connsiteX5" fmla="*/ 403225 w 654050"/>
                  <a:gd name="connsiteY5" fmla="*/ 158750 h 171963"/>
                  <a:gd name="connsiteX6" fmla="*/ 492125 w 654050"/>
                  <a:gd name="connsiteY6" fmla="*/ 158750 h 171963"/>
                  <a:gd name="connsiteX7" fmla="*/ 609600 w 654050"/>
                  <a:gd name="connsiteY7" fmla="*/ 171450 h 171963"/>
                  <a:gd name="connsiteX8" fmla="*/ 654050 w 654050"/>
                  <a:gd name="connsiteY8" fmla="*/ 168275 h 171963"/>
                  <a:gd name="connsiteX0" fmla="*/ 0 w 641350"/>
                  <a:gd name="connsiteY0" fmla="*/ 0 h 178313"/>
                  <a:gd name="connsiteX1" fmla="*/ 88900 w 641350"/>
                  <a:gd name="connsiteY1" fmla="*/ 38100 h 178313"/>
                  <a:gd name="connsiteX2" fmla="*/ 158750 w 641350"/>
                  <a:gd name="connsiteY2" fmla="*/ 57150 h 178313"/>
                  <a:gd name="connsiteX3" fmla="*/ 250825 w 641350"/>
                  <a:gd name="connsiteY3" fmla="*/ 101600 h 178313"/>
                  <a:gd name="connsiteX4" fmla="*/ 298450 w 641350"/>
                  <a:gd name="connsiteY4" fmla="*/ 127000 h 178313"/>
                  <a:gd name="connsiteX5" fmla="*/ 390525 w 641350"/>
                  <a:gd name="connsiteY5" fmla="*/ 165100 h 178313"/>
                  <a:gd name="connsiteX6" fmla="*/ 479425 w 641350"/>
                  <a:gd name="connsiteY6" fmla="*/ 165100 h 178313"/>
                  <a:gd name="connsiteX7" fmla="*/ 596900 w 641350"/>
                  <a:gd name="connsiteY7" fmla="*/ 177800 h 178313"/>
                  <a:gd name="connsiteX8" fmla="*/ 641350 w 641350"/>
                  <a:gd name="connsiteY8" fmla="*/ 174625 h 178313"/>
                  <a:gd name="connsiteX0" fmla="*/ 0 w 641350"/>
                  <a:gd name="connsiteY0" fmla="*/ 0 h 178313"/>
                  <a:gd name="connsiteX1" fmla="*/ 88900 w 641350"/>
                  <a:gd name="connsiteY1" fmla="*/ 38100 h 178313"/>
                  <a:gd name="connsiteX2" fmla="*/ 158750 w 641350"/>
                  <a:gd name="connsiteY2" fmla="*/ 57150 h 178313"/>
                  <a:gd name="connsiteX3" fmla="*/ 250825 w 641350"/>
                  <a:gd name="connsiteY3" fmla="*/ 101600 h 178313"/>
                  <a:gd name="connsiteX4" fmla="*/ 298450 w 641350"/>
                  <a:gd name="connsiteY4" fmla="*/ 127000 h 178313"/>
                  <a:gd name="connsiteX5" fmla="*/ 390525 w 641350"/>
                  <a:gd name="connsiteY5" fmla="*/ 165100 h 178313"/>
                  <a:gd name="connsiteX6" fmla="*/ 479425 w 641350"/>
                  <a:gd name="connsiteY6" fmla="*/ 165100 h 178313"/>
                  <a:gd name="connsiteX7" fmla="*/ 596900 w 641350"/>
                  <a:gd name="connsiteY7" fmla="*/ 177800 h 178313"/>
                  <a:gd name="connsiteX8" fmla="*/ 641350 w 641350"/>
                  <a:gd name="connsiteY8" fmla="*/ 174625 h 178313"/>
                  <a:gd name="connsiteX0" fmla="*/ 0 w 619125"/>
                  <a:gd name="connsiteY0" fmla="*/ 0 h 171963"/>
                  <a:gd name="connsiteX1" fmla="*/ 66675 w 619125"/>
                  <a:gd name="connsiteY1" fmla="*/ 31750 h 171963"/>
                  <a:gd name="connsiteX2" fmla="*/ 136525 w 619125"/>
                  <a:gd name="connsiteY2" fmla="*/ 50800 h 171963"/>
                  <a:gd name="connsiteX3" fmla="*/ 228600 w 619125"/>
                  <a:gd name="connsiteY3" fmla="*/ 95250 h 171963"/>
                  <a:gd name="connsiteX4" fmla="*/ 276225 w 619125"/>
                  <a:gd name="connsiteY4" fmla="*/ 120650 h 171963"/>
                  <a:gd name="connsiteX5" fmla="*/ 368300 w 619125"/>
                  <a:gd name="connsiteY5" fmla="*/ 158750 h 171963"/>
                  <a:gd name="connsiteX6" fmla="*/ 457200 w 619125"/>
                  <a:gd name="connsiteY6" fmla="*/ 158750 h 171963"/>
                  <a:gd name="connsiteX7" fmla="*/ 574675 w 619125"/>
                  <a:gd name="connsiteY7" fmla="*/ 171450 h 171963"/>
                  <a:gd name="connsiteX8" fmla="*/ 619125 w 619125"/>
                  <a:gd name="connsiteY8" fmla="*/ 168275 h 171963"/>
                  <a:gd name="connsiteX0" fmla="*/ 0 w 619125"/>
                  <a:gd name="connsiteY0" fmla="*/ 0 h 171963"/>
                  <a:gd name="connsiteX1" fmla="*/ 66675 w 619125"/>
                  <a:gd name="connsiteY1" fmla="*/ 31750 h 171963"/>
                  <a:gd name="connsiteX2" fmla="*/ 136525 w 619125"/>
                  <a:gd name="connsiteY2" fmla="*/ 50800 h 171963"/>
                  <a:gd name="connsiteX3" fmla="*/ 228600 w 619125"/>
                  <a:gd name="connsiteY3" fmla="*/ 95250 h 171963"/>
                  <a:gd name="connsiteX4" fmla="*/ 276225 w 619125"/>
                  <a:gd name="connsiteY4" fmla="*/ 120650 h 171963"/>
                  <a:gd name="connsiteX5" fmla="*/ 368300 w 619125"/>
                  <a:gd name="connsiteY5" fmla="*/ 158750 h 171963"/>
                  <a:gd name="connsiteX6" fmla="*/ 457200 w 619125"/>
                  <a:gd name="connsiteY6" fmla="*/ 158750 h 171963"/>
                  <a:gd name="connsiteX7" fmla="*/ 574675 w 619125"/>
                  <a:gd name="connsiteY7" fmla="*/ 171450 h 171963"/>
                  <a:gd name="connsiteX8" fmla="*/ 619125 w 619125"/>
                  <a:gd name="connsiteY8" fmla="*/ 168275 h 171963"/>
                  <a:gd name="connsiteX0" fmla="*/ 0 w 628650"/>
                  <a:gd name="connsiteY0" fmla="*/ 0 h 175138"/>
                  <a:gd name="connsiteX1" fmla="*/ 76200 w 628650"/>
                  <a:gd name="connsiteY1" fmla="*/ 34925 h 175138"/>
                  <a:gd name="connsiteX2" fmla="*/ 146050 w 628650"/>
                  <a:gd name="connsiteY2" fmla="*/ 53975 h 175138"/>
                  <a:gd name="connsiteX3" fmla="*/ 238125 w 628650"/>
                  <a:gd name="connsiteY3" fmla="*/ 98425 h 175138"/>
                  <a:gd name="connsiteX4" fmla="*/ 285750 w 628650"/>
                  <a:gd name="connsiteY4" fmla="*/ 123825 h 175138"/>
                  <a:gd name="connsiteX5" fmla="*/ 377825 w 628650"/>
                  <a:gd name="connsiteY5" fmla="*/ 161925 h 175138"/>
                  <a:gd name="connsiteX6" fmla="*/ 466725 w 628650"/>
                  <a:gd name="connsiteY6" fmla="*/ 161925 h 175138"/>
                  <a:gd name="connsiteX7" fmla="*/ 584200 w 628650"/>
                  <a:gd name="connsiteY7" fmla="*/ 174625 h 175138"/>
                  <a:gd name="connsiteX8" fmla="*/ 628650 w 628650"/>
                  <a:gd name="connsiteY8" fmla="*/ 171450 h 175138"/>
                  <a:gd name="connsiteX0" fmla="*/ 0 w 628650"/>
                  <a:gd name="connsiteY0" fmla="*/ 0 h 175138"/>
                  <a:gd name="connsiteX1" fmla="*/ 76200 w 628650"/>
                  <a:gd name="connsiteY1" fmla="*/ 34925 h 175138"/>
                  <a:gd name="connsiteX2" fmla="*/ 146050 w 628650"/>
                  <a:gd name="connsiteY2" fmla="*/ 53975 h 175138"/>
                  <a:gd name="connsiteX3" fmla="*/ 238125 w 628650"/>
                  <a:gd name="connsiteY3" fmla="*/ 98425 h 175138"/>
                  <a:gd name="connsiteX4" fmla="*/ 285750 w 628650"/>
                  <a:gd name="connsiteY4" fmla="*/ 123825 h 175138"/>
                  <a:gd name="connsiteX5" fmla="*/ 377825 w 628650"/>
                  <a:gd name="connsiteY5" fmla="*/ 161925 h 175138"/>
                  <a:gd name="connsiteX6" fmla="*/ 466725 w 628650"/>
                  <a:gd name="connsiteY6" fmla="*/ 161925 h 175138"/>
                  <a:gd name="connsiteX7" fmla="*/ 584200 w 628650"/>
                  <a:gd name="connsiteY7" fmla="*/ 174625 h 175138"/>
                  <a:gd name="connsiteX8" fmla="*/ 628650 w 628650"/>
                  <a:gd name="connsiteY8" fmla="*/ 171450 h 175138"/>
                  <a:gd name="connsiteX0" fmla="*/ 0 w 597694"/>
                  <a:gd name="connsiteY0" fmla="*/ 0 h 167994"/>
                  <a:gd name="connsiteX1" fmla="*/ 45244 w 597694"/>
                  <a:gd name="connsiteY1" fmla="*/ 27781 h 167994"/>
                  <a:gd name="connsiteX2" fmla="*/ 115094 w 597694"/>
                  <a:gd name="connsiteY2" fmla="*/ 46831 h 167994"/>
                  <a:gd name="connsiteX3" fmla="*/ 207169 w 597694"/>
                  <a:gd name="connsiteY3" fmla="*/ 91281 h 167994"/>
                  <a:gd name="connsiteX4" fmla="*/ 254794 w 597694"/>
                  <a:gd name="connsiteY4" fmla="*/ 116681 h 167994"/>
                  <a:gd name="connsiteX5" fmla="*/ 346869 w 597694"/>
                  <a:gd name="connsiteY5" fmla="*/ 154781 h 167994"/>
                  <a:gd name="connsiteX6" fmla="*/ 435769 w 597694"/>
                  <a:gd name="connsiteY6" fmla="*/ 154781 h 167994"/>
                  <a:gd name="connsiteX7" fmla="*/ 553244 w 597694"/>
                  <a:gd name="connsiteY7" fmla="*/ 167481 h 167994"/>
                  <a:gd name="connsiteX8" fmla="*/ 597694 w 597694"/>
                  <a:gd name="connsiteY8" fmla="*/ 164306 h 167994"/>
                  <a:gd name="connsiteX0" fmla="*/ 0 w 597694"/>
                  <a:gd name="connsiteY0" fmla="*/ 0 h 167994"/>
                  <a:gd name="connsiteX1" fmla="*/ 45244 w 597694"/>
                  <a:gd name="connsiteY1" fmla="*/ 27781 h 167994"/>
                  <a:gd name="connsiteX2" fmla="*/ 115094 w 597694"/>
                  <a:gd name="connsiteY2" fmla="*/ 46831 h 167994"/>
                  <a:gd name="connsiteX3" fmla="*/ 207169 w 597694"/>
                  <a:gd name="connsiteY3" fmla="*/ 91281 h 167994"/>
                  <a:gd name="connsiteX4" fmla="*/ 254794 w 597694"/>
                  <a:gd name="connsiteY4" fmla="*/ 116681 h 167994"/>
                  <a:gd name="connsiteX5" fmla="*/ 346869 w 597694"/>
                  <a:gd name="connsiteY5" fmla="*/ 154781 h 167994"/>
                  <a:gd name="connsiteX6" fmla="*/ 435769 w 597694"/>
                  <a:gd name="connsiteY6" fmla="*/ 154781 h 167994"/>
                  <a:gd name="connsiteX7" fmla="*/ 553244 w 597694"/>
                  <a:gd name="connsiteY7" fmla="*/ 167481 h 167994"/>
                  <a:gd name="connsiteX8" fmla="*/ 597694 w 597694"/>
                  <a:gd name="connsiteY8" fmla="*/ 164306 h 167994"/>
                  <a:gd name="connsiteX0" fmla="*/ 0 w 597694"/>
                  <a:gd name="connsiteY0" fmla="*/ 0 h 167994"/>
                  <a:gd name="connsiteX1" fmla="*/ 45244 w 597694"/>
                  <a:gd name="connsiteY1" fmla="*/ 27781 h 167994"/>
                  <a:gd name="connsiteX2" fmla="*/ 115094 w 597694"/>
                  <a:gd name="connsiteY2" fmla="*/ 46831 h 167994"/>
                  <a:gd name="connsiteX3" fmla="*/ 207169 w 597694"/>
                  <a:gd name="connsiteY3" fmla="*/ 91281 h 167994"/>
                  <a:gd name="connsiteX4" fmla="*/ 254794 w 597694"/>
                  <a:gd name="connsiteY4" fmla="*/ 116681 h 167994"/>
                  <a:gd name="connsiteX5" fmla="*/ 346869 w 597694"/>
                  <a:gd name="connsiteY5" fmla="*/ 154781 h 167994"/>
                  <a:gd name="connsiteX6" fmla="*/ 435769 w 597694"/>
                  <a:gd name="connsiteY6" fmla="*/ 154781 h 167994"/>
                  <a:gd name="connsiteX7" fmla="*/ 553244 w 597694"/>
                  <a:gd name="connsiteY7" fmla="*/ 167481 h 167994"/>
                  <a:gd name="connsiteX8" fmla="*/ 597694 w 597694"/>
                  <a:gd name="connsiteY8" fmla="*/ 164306 h 167994"/>
                  <a:gd name="connsiteX0" fmla="*/ 2744 w 600438"/>
                  <a:gd name="connsiteY0" fmla="*/ 0 h 167994"/>
                  <a:gd name="connsiteX1" fmla="*/ 3538 w 600438"/>
                  <a:gd name="connsiteY1" fmla="*/ 8731 h 167994"/>
                  <a:gd name="connsiteX2" fmla="*/ 47988 w 600438"/>
                  <a:gd name="connsiteY2" fmla="*/ 27781 h 167994"/>
                  <a:gd name="connsiteX3" fmla="*/ 117838 w 600438"/>
                  <a:gd name="connsiteY3" fmla="*/ 46831 h 167994"/>
                  <a:gd name="connsiteX4" fmla="*/ 209913 w 600438"/>
                  <a:gd name="connsiteY4" fmla="*/ 91281 h 167994"/>
                  <a:gd name="connsiteX5" fmla="*/ 257538 w 600438"/>
                  <a:gd name="connsiteY5" fmla="*/ 116681 h 167994"/>
                  <a:gd name="connsiteX6" fmla="*/ 349613 w 600438"/>
                  <a:gd name="connsiteY6" fmla="*/ 154781 h 167994"/>
                  <a:gd name="connsiteX7" fmla="*/ 438513 w 600438"/>
                  <a:gd name="connsiteY7" fmla="*/ 154781 h 167994"/>
                  <a:gd name="connsiteX8" fmla="*/ 555988 w 600438"/>
                  <a:gd name="connsiteY8" fmla="*/ 167481 h 167994"/>
                  <a:gd name="connsiteX9" fmla="*/ 600438 w 600438"/>
                  <a:gd name="connsiteY9" fmla="*/ 164306 h 167994"/>
                  <a:gd name="connsiteX0" fmla="*/ 22678 w 620372"/>
                  <a:gd name="connsiteY0" fmla="*/ 0 h 167994"/>
                  <a:gd name="connsiteX1" fmla="*/ 1247 w 620372"/>
                  <a:gd name="connsiteY1" fmla="*/ 30956 h 167994"/>
                  <a:gd name="connsiteX2" fmla="*/ 67922 w 620372"/>
                  <a:gd name="connsiteY2" fmla="*/ 27781 h 167994"/>
                  <a:gd name="connsiteX3" fmla="*/ 137772 w 620372"/>
                  <a:gd name="connsiteY3" fmla="*/ 46831 h 167994"/>
                  <a:gd name="connsiteX4" fmla="*/ 229847 w 620372"/>
                  <a:gd name="connsiteY4" fmla="*/ 91281 h 167994"/>
                  <a:gd name="connsiteX5" fmla="*/ 277472 w 620372"/>
                  <a:gd name="connsiteY5" fmla="*/ 116681 h 167994"/>
                  <a:gd name="connsiteX6" fmla="*/ 369547 w 620372"/>
                  <a:gd name="connsiteY6" fmla="*/ 154781 h 167994"/>
                  <a:gd name="connsiteX7" fmla="*/ 458447 w 620372"/>
                  <a:gd name="connsiteY7" fmla="*/ 154781 h 167994"/>
                  <a:gd name="connsiteX8" fmla="*/ 575922 w 620372"/>
                  <a:gd name="connsiteY8" fmla="*/ 167481 h 167994"/>
                  <a:gd name="connsiteX9" fmla="*/ 620372 w 620372"/>
                  <a:gd name="connsiteY9" fmla="*/ 164306 h 167994"/>
                  <a:gd name="connsiteX0" fmla="*/ 0 w 705644"/>
                  <a:gd name="connsiteY0" fmla="*/ 0 h 212444"/>
                  <a:gd name="connsiteX1" fmla="*/ 86519 w 705644"/>
                  <a:gd name="connsiteY1" fmla="*/ 75406 h 212444"/>
                  <a:gd name="connsiteX2" fmla="*/ 153194 w 705644"/>
                  <a:gd name="connsiteY2" fmla="*/ 72231 h 212444"/>
                  <a:gd name="connsiteX3" fmla="*/ 223044 w 705644"/>
                  <a:gd name="connsiteY3" fmla="*/ 91281 h 212444"/>
                  <a:gd name="connsiteX4" fmla="*/ 315119 w 705644"/>
                  <a:gd name="connsiteY4" fmla="*/ 135731 h 212444"/>
                  <a:gd name="connsiteX5" fmla="*/ 362744 w 705644"/>
                  <a:gd name="connsiteY5" fmla="*/ 161131 h 212444"/>
                  <a:gd name="connsiteX6" fmla="*/ 454819 w 705644"/>
                  <a:gd name="connsiteY6" fmla="*/ 199231 h 212444"/>
                  <a:gd name="connsiteX7" fmla="*/ 543719 w 705644"/>
                  <a:gd name="connsiteY7" fmla="*/ 199231 h 212444"/>
                  <a:gd name="connsiteX8" fmla="*/ 661194 w 705644"/>
                  <a:gd name="connsiteY8" fmla="*/ 211931 h 212444"/>
                  <a:gd name="connsiteX9" fmla="*/ 705644 w 705644"/>
                  <a:gd name="connsiteY9" fmla="*/ 208756 h 212444"/>
                  <a:gd name="connsiteX0" fmla="*/ 0 w 705644"/>
                  <a:gd name="connsiteY0" fmla="*/ 0 h 212444"/>
                  <a:gd name="connsiteX1" fmla="*/ 80169 w 705644"/>
                  <a:gd name="connsiteY1" fmla="*/ 24606 h 212444"/>
                  <a:gd name="connsiteX2" fmla="*/ 153194 w 705644"/>
                  <a:gd name="connsiteY2" fmla="*/ 72231 h 212444"/>
                  <a:gd name="connsiteX3" fmla="*/ 223044 w 705644"/>
                  <a:gd name="connsiteY3" fmla="*/ 91281 h 212444"/>
                  <a:gd name="connsiteX4" fmla="*/ 315119 w 705644"/>
                  <a:gd name="connsiteY4" fmla="*/ 135731 h 212444"/>
                  <a:gd name="connsiteX5" fmla="*/ 362744 w 705644"/>
                  <a:gd name="connsiteY5" fmla="*/ 161131 h 212444"/>
                  <a:gd name="connsiteX6" fmla="*/ 454819 w 705644"/>
                  <a:gd name="connsiteY6" fmla="*/ 199231 h 212444"/>
                  <a:gd name="connsiteX7" fmla="*/ 543719 w 705644"/>
                  <a:gd name="connsiteY7" fmla="*/ 199231 h 212444"/>
                  <a:gd name="connsiteX8" fmla="*/ 661194 w 705644"/>
                  <a:gd name="connsiteY8" fmla="*/ 211931 h 212444"/>
                  <a:gd name="connsiteX9" fmla="*/ 705644 w 705644"/>
                  <a:gd name="connsiteY9" fmla="*/ 208756 h 212444"/>
                  <a:gd name="connsiteX0" fmla="*/ 0 w 711994"/>
                  <a:gd name="connsiteY0" fmla="*/ 0 h 212444"/>
                  <a:gd name="connsiteX1" fmla="*/ 86519 w 711994"/>
                  <a:gd name="connsiteY1" fmla="*/ 24606 h 212444"/>
                  <a:gd name="connsiteX2" fmla="*/ 159544 w 711994"/>
                  <a:gd name="connsiteY2" fmla="*/ 72231 h 212444"/>
                  <a:gd name="connsiteX3" fmla="*/ 229394 w 711994"/>
                  <a:gd name="connsiteY3" fmla="*/ 91281 h 212444"/>
                  <a:gd name="connsiteX4" fmla="*/ 321469 w 711994"/>
                  <a:gd name="connsiteY4" fmla="*/ 135731 h 212444"/>
                  <a:gd name="connsiteX5" fmla="*/ 369094 w 711994"/>
                  <a:gd name="connsiteY5" fmla="*/ 161131 h 212444"/>
                  <a:gd name="connsiteX6" fmla="*/ 461169 w 711994"/>
                  <a:gd name="connsiteY6" fmla="*/ 199231 h 212444"/>
                  <a:gd name="connsiteX7" fmla="*/ 550069 w 711994"/>
                  <a:gd name="connsiteY7" fmla="*/ 199231 h 212444"/>
                  <a:gd name="connsiteX8" fmla="*/ 667544 w 711994"/>
                  <a:gd name="connsiteY8" fmla="*/ 211931 h 212444"/>
                  <a:gd name="connsiteX9" fmla="*/ 711994 w 711994"/>
                  <a:gd name="connsiteY9" fmla="*/ 208756 h 212444"/>
                  <a:gd name="connsiteX0" fmla="*/ 0 w 720453"/>
                  <a:gd name="connsiteY0" fmla="*/ 0 h 214861"/>
                  <a:gd name="connsiteX1" fmla="*/ 94978 w 720453"/>
                  <a:gd name="connsiteY1" fmla="*/ 27023 h 214861"/>
                  <a:gd name="connsiteX2" fmla="*/ 168003 w 720453"/>
                  <a:gd name="connsiteY2" fmla="*/ 74648 h 214861"/>
                  <a:gd name="connsiteX3" fmla="*/ 237853 w 720453"/>
                  <a:gd name="connsiteY3" fmla="*/ 93698 h 214861"/>
                  <a:gd name="connsiteX4" fmla="*/ 329928 w 720453"/>
                  <a:gd name="connsiteY4" fmla="*/ 138148 h 214861"/>
                  <a:gd name="connsiteX5" fmla="*/ 377553 w 720453"/>
                  <a:gd name="connsiteY5" fmla="*/ 163548 h 214861"/>
                  <a:gd name="connsiteX6" fmla="*/ 469628 w 720453"/>
                  <a:gd name="connsiteY6" fmla="*/ 201648 h 214861"/>
                  <a:gd name="connsiteX7" fmla="*/ 558528 w 720453"/>
                  <a:gd name="connsiteY7" fmla="*/ 201648 h 214861"/>
                  <a:gd name="connsiteX8" fmla="*/ 676003 w 720453"/>
                  <a:gd name="connsiteY8" fmla="*/ 214348 h 214861"/>
                  <a:gd name="connsiteX9" fmla="*/ 720453 w 720453"/>
                  <a:gd name="connsiteY9" fmla="*/ 211173 h 21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0453" h="214861">
                    <a:moveTo>
                      <a:pt x="0" y="0"/>
                    </a:moveTo>
                    <a:cubicBezTo>
                      <a:pt x="132" y="1455"/>
                      <a:pt x="66978" y="14582"/>
                      <a:pt x="94978" y="27023"/>
                    </a:cubicBezTo>
                    <a:cubicBezTo>
                      <a:pt x="122979" y="39464"/>
                      <a:pt x="144191" y="63536"/>
                      <a:pt x="168003" y="74648"/>
                    </a:cubicBezTo>
                    <a:cubicBezTo>
                      <a:pt x="191816" y="85761"/>
                      <a:pt x="210866" y="83115"/>
                      <a:pt x="237853" y="93698"/>
                    </a:cubicBezTo>
                    <a:cubicBezTo>
                      <a:pt x="264840" y="104281"/>
                      <a:pt x="306645" y="126506"/>
                      <a:pt x="329928" y="138148"/>
                    </a:cubicBezTo>
                    <a:cubicBezTo>
                      <a:pt x="353211" y="149790"/>
                      <a:pt x="354270" y="152965"/>
                      <a:pt x="377553" y="163548"/>
                    </a:cubicBezTo>
                    <a:cubicBezTo>
                      <a:pt x="400836" y="174131"/>
                      <a:pt x="439466" y="195298"/>
                      <a:pt x="469628" y="201648"/>
                    </a:cubicBezTo>
                    <a:cubicBezTo>
                      <a:pt x="499790" y="207998"/>
                      <a:pt x="524132" y="199531"/>
                      <a:pt x="558528" y="201648"/>
                    </a:cubicBezTo>
                    <a:cubicBezTo>
                      <a:pt x="592924" y="203765"/>
                      <a:pt x="649016" y="212761"/>
                      <a:pt x="676003" y="214348"/>
                    </a:cubicBezTo>
                    <a:cubicBezTo>
                      <a:pt x="702990" y="215935"/>
                      <a:pt x="711721" y="213554"/>
                      <a:pt x="720453" y="21117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31" name="Крымск-Абинск"/>
              <p:cNvSpPr/>
              <p:nvPr/>
            </p:nvSpPr>
            <p:spPr>
              <a:xfrm>
                <a:off x="996950" y="4743450"/>
                <a:ext cx="50226" cy="146050"/>
              </a:xfrm>
              <a:custGeom>
                <a:avLst/>
                <a:gdLst>
                  <a:gd name="connsiteX0" fmla="*/ 0 w 50226"/>
                  <a:gd name="connsiteY0" fmla="*/ 0 h 146050"/>
                  <a:gd name="connsiteX1" fmla="*/ 44450 w 50226"/>
                  <a:gd name="connsiteY1" fmla="*/ 50800 h 146050"/>
                  <a:gd name="connsiteX2" fmla="*/ 47625 w 50226"/>
                  <a:gd name="connsiteY2" fmla="*/ 92075 h 146050"/>
                  <a:gd name="connsiteX3" fmla="*/ 25400 w 50226"/>
                  <a:gd name="connsiteY3" fmla="*/ 120650 h 146050"/>
                  <a:gd name="connsiteX4" fmla="*/ 34925 w 50226"/>
                  <a:gd name="connsiteY4" fmla="*/ 146050 h 146050"/>
                  <a:gd name="connsiteX0" fmla="*/ 0 w 50226"/>
                  <a:gd name="connsiteY0" fmla="*/ 0 h 146050"/>
                  <a:gd name="connsiteX1" fmla="*/ 44450 w 50226"/>
                  <a:gd name="connsiteY1" fmla="*/ 50800 h 146050"/>
                  <a:gd name="connsiteX2" fmla="*/ 47625 w 50226"/>
                  <a:gd name="connsiteY2" fmla="*/ 92075 h 146050"/>
                  <a:gd name="connsiteX3" fmla="*/ 25400 w 50226"/>
                  <a:gd name="connsiteY3" fmla="*/ 120650 h 146050"/>
                  <a:gd name="connsiteX4" fmla="*/ 34925 w 50226"/>
                  <a:gd name="connsiteY4" fmla="*/ 146050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26" h="146050">
                    <a:moveTo>
                      <a:pt x="0" y="0"/>
                    </a:moveTo>
                    <a:cubicBezTo>
                      <a:pt x="18256" y="17727"/>
                      <a:pt x="36513" y="35454"/>
                      <a:pt x="44450" y="50800"/>
                    </a:cubicBezTo>
                    <a:cubicBezTo>
                      <a:pt x="52387" y="66146"/>
                      <a:pt x="50800" y="80433"/>
                      <a:pt x="47625" y="92075"/>
                    </a:cubicBezTo>
                    <a:cubicBezTo>
                      <a:pt x="44450" y="103717"/>
                      <a:pt x="27517" y="111654"/>
                      <a:pt x="25400" y="120650"/>
                    </a:cubicBezTo>
                    <a:cubicBezTo>
                      <a:pt x="23283" y="129646"/>
                      <a:pt x="41188" y="133014"/>
                      <a:pt x="34925" y="14605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108" name="Полилиния 107"/>
            <p:cNvSpPr/>
            <p:nvPr/>
          </p:nvSpPr>
          <p:spPr>
            <a:xfrm>
              <a:off x="1549678" y="5167799"/>
              <a:ext cx="60264" cy="67847"/>
            </a:xfrm>
            <a:custGeom>
              <a:avLst/>
              <a:gdLst>
                <a:gd name="connsiteX0" fmla="*/ 0 w 35719"/>
                <a:gd name="connsiteY0" fmla="*/ 0 h 38100"/>
                <a:gd name="connsiteX1" fmla="*/ 35719 w 35719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719" h="38100">
                  <a:moveTo>
                    <a:pt x="0" y="0"/>
                  </a:moveTo>
                  <a:lnTo>
                    <a:pt x="35719" y="38100"/>
                  </a:lnTo>
                </a:path>
              </a:pathLst>
            </a:custGeom>
            <a:noFill/>
            <a:ln w="28575" cmpd="dbl">
              <a:solidFill>
                <a:schemeClr val="accent1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33" name="Овал 132"/>
          <p:cNvSpPr/>
          <p:nvPr/>
        </p:nvSpPr>
        <p:spPr>
          <a:xfrm>
            <a:off x="5764424" y="2793656"/>
            <a:ext cx="92223" cy="90093"/>
          </a:xfrm>
          <a:prstGeom prst="ellipse">
            <a:avLst/>
          </a:prstGeom>
          <a:solidFill>
            <a:srgbClr val="A0A0A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4" name="Овал 133"/>
          <p:cNvSpPr/>
          <p:nvPr/>
        </p:nvSpPr>
        <p:spPr>
          <a:xfrm>
            <a:off x="5804932" y="1467911"/>
            <a:ext cx="92223" cy="90065"/>
          </a:xfrm>
          <a:prstGeom prst="ellipse">
            <a:avLst/>
          </a:prstGeom>
          <a:solidFill>
            <a:srgbClr val="A0A0A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Овал 134"/>
          <p:cNvSpPr/>
          <p:nvPr/>
        </p:nvSpPr>
        <p:spPr>
          <a:xfrm>
            <a:off x="5542159" y="3023303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Овал 135"/>
          <p:cNvSpPr/>
          <p:nvPr/>
        </p:nvSpPr>
        <p:spPr>
          <a:xfrm>
            <a:off x="5272923" y="3680420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7" name="Овал 136"/>
          <p:cNvSpPr/>
          <p:nvPr/>
        </p:nvSpPr>
        <p:spPr>
          <a:xfrm>
            <a:off x="4721862" y="4350661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8" name="Овал 137"/>
          <p:cNvSpPr/>
          <p:nvPr/>
        </p:nvSpPr>
        <p:spPr>
          <a:xfrm>
            <a:off x="4297486" y="478333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9" name="Овал 138"/>
          <p:cNvSpPr/>
          <p:nvPr/>
        </p:nvSpPr>
        <p:spPr>
          <a:xfrm>
            <a:off x="6054553" y="4250063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0" name="Овал 139"/>
          <p:cNvSpPr/>
          <p:nvPr/>
        </p:nvSpPr>
        <p:spPr>
          <a:xfrm>
            <a:off x="6708119" y="4142332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1" name="Овал 140"/>
          <p:cNvSpPr/>
          <p:nvPr/>
        </p:nvSpPr>
        <p:spPr>
          <a:xfrm>
            <a:off x="6896971" y="360482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2" name="Овал 141"/>
          <p:cNvSpPr/>
          <p:nvPr/>
        </p:nvSpPr>
        <p:spPr>
          <a:xfrm>
            <a:off x="7510803" y="365215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4" name="Овал 143"/>
          <p:cNvSpPr/>
          <p:nvPr/>
        </p:nvSpPr>
        <p:spPr>
          <a:xfrm>
            <a:off x="7586774" y="431550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5" name="Овал 144"/>
          <p:cNvSpPr/>
          <p:nvPr/>
        </p:nvSpPr>
        <p:spPr>
          <a:xfrm>
            <a:off x="8139467" y="4609434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6" name="Овал 145"/>
          <p:cNvSpPr/>
          <p:nvPr/>
        </p:nvSpPr>
        <p:spPr>
          <a:xfrm>
            <a:off x="8390061" y="4025084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Овал 146"/>
          <p:cNvSpPr/>
          <p:nvPr/>
        </p:nvSpPr>
        <p:spPr>
          <a:xfrm>
            <a:off x="4099979" y="470321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8" name="Овал 147"/>
          <p:cNvSpPr/>
          <p:nvPr/>
        </p:nvSpPr>
        <p:spPr>
          <a:xfrm>
            <a:off x="6063450" y="2900822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1" name="Овал 150"/>
          <p:cNvSpPr/>
          <p:nvPr/>
        </p:nvSpPr>
        <p:spPr>
          <a:xfrm>
            <a:off x="5473332" y="4688753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2" name="Овал 151"/>
          <p:cNvSpPr/>
          <p:nvPr/>
        </p:nvSpPr>
        <p:spPr>
          <a:xfrm>
            <a:off x="5555963" y="3838652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3" name="Шали-Бавлы-Сагарчин"/>
          <p:cNvSpPr/>
          <p:nvPr/>
        </p:nvSpPr>
        <p:spPr>
          <a:xfrm>
            <a:off x="6943047" y="3705590"/>
            <a:ext cx="453030" cy="1437680"/>
          </a:xfrm>
          <a:custGeom>
            <a:avLst/>
            <a:gdLst>
              <a:gd name="connsiteX0" fmla="*/ 0 w 238125"/>
              <a:gd name="connsiteY0" fmla="*/ 0 h 726281"/>
              <a:gd name="connsiteX1" fmla="*/ 11907 w 238125"/>
              <a:gd name="connsiteY1" fmla="*/ 61912 h 726281"/>
              <a:gd name="connsiteX2" fmla="*/ 45244 w 238125"/>
              <a:gd name="connsiteY2" fmla="*/ 59531 h 726281"/>
              <a:gd name="connsiteX3" fmla="*/ 40482 w 238125"/>
              <a:gd name="connsiteY3" fmla="*/ 92868 h 726281"/>
              <a:gd name="connsiteX4" fmla="*/ 85725 w 238125"/>
              <a:gd name="connsiteY4" fmla="*/ 140493 h 726281"/>
              <a:gd name="connsiteX5" fmla="*/ 119063 w 238125"/>
              <a:gd name="connsiteY5" fmla="*/ 142875 h 726281"/>
              <a:gd name="connsiteX6" fmla="*/ 111919 w 238125"/>
              <a:gd name="connsiteY6" fmla="*/ 195262 h 726281"/>
              <a:gd name="connsiteX7" fmla="*/ 147638 w 238125"/>
              <a:gd name="connsiteY7" fmla="*/ 238125 h 726281"/>
              <a:gd name="connsiteX8" fmla="*/ 140494 w 238125"/>
              <a:gd name="connsiteY8" fmla="*/ 292893 h 726281"/>
              <a:gd name="connsiteX9" fmla="*/ 180975 w 238125"/>
              <a:gd name="connsiteY9" fmla="*/ 419100 h 726281"/>
              <a:gd name="connsiteX10" fmla="*/ 219075 w 238125"/>
              <a:gd name="connsiteY10" fmla="*/ 492918 h 726281"/>
              <a:gd name="connsiteX11" fmla="*/ 209550 w 238125"/>
              <a:gd name="connsiteY11" fmla="*/ 635793 h 726281"/>
              <a:gd name="connsiteX12" fmla="*/ 238125 w 238125"/>
              <a:gd name="connsiteY12" fmla="*/ 726281 h 726281"/>
              <a:gd name="connsiteX0" fmla="*/ 0 w 233362"/>
              <a:gd name="connsiteY0" fmla="*/ 0 h 740568"/>
              <a:gd name="connsiteX1" fmla="*/ 11907 w 233362"/>
              <a:gd name="connsiteY1" fmla="*/ 61912 h 740568"/>
              <a:gd name="connsiteX2" fmla="*/ 45244 w 233362"/>
              <a:gd name="connsiteY2" fmla="*/ 59531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9550 w 233362"/>
              <a:gd name="connsiteY11" fmla="*/ 635793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61912 h 740568"/>
              <a:gd name="connsiteX2" fmla="*/ 45244 w 233362"/>
              <a:gd name="connsiteY2" fmla="*/ 59531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61912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33350 w 233362"/>
              <a:gd name="connsiteY8" fmla="*/ 309562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33350 w 233362"/>
              <a:gd name="connsiteY8" fmla="*/ 309562 h 740568"/>
              <a:gd name="connsiteX9" fmla="*/ 150019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26207 w 233362"/>
              <a:gd name="connsiteY8" fmla="*/ 309562 h 740568"/>
              <a:gd name="connsiteX9" fmla="*/ 150019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26207 w 233362"/>
              <a:gd name="connsiteY8" fmla="*/ 309562 h 740568"/>
              <a:gd name="connsiteX9" fmla="*/ 150019 w 233362"/>
              <a:gd name="connsiteY9" fmla="*/ 419100 h 740568"/>
              <a:gd name="connsiteX10" fmla="*/ 214312 w 233362"/>
              <a:gd name="connsiteY10" fmla="*/ 542925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3362" h="740568">
                <a:moveTo>
                  <a:pt x="0" y="0"/>
                </a:moveTo>
                <a:cubicBezTo>
                  <a:pt x="2183" y="25995"/>
                  <a:pt x="6351" y="41275"/>
                  <a:pt x="11907" y="52387"/>
                </a:cubicBezTo>
                <a:cubicBezTo>
                  <a:pt x="17463" y="63500"/>
                  <a:pt x="28576" y="59928"/>
                  <a:pt x="33338" y="66675"/>
                </a:cubicBezTo>
                <a:cubicBezTo>
                  <a:pt x="38100" y="73422"/>
                  <a:pt x="31751" y="80565"/>
                  <a:pt x="40482" y="92868"/>
                </a:cubicBezTo>
                <a:cubicBezTo>
                  <a:pt x="49213" y="105171"/>
                  <a:pt x="73819" y="130174"/>
                  <a:pt x="85725" y="140493"/>
                </a:cubicBezTo>
                <a:cubicBezTo>
                  <a:pt x="97631" y="150812"/>
                  <a:pt x="107554" y="145653"/>
                  <a:pt x="111920" y="154781"/>
                </a:cubicBezTo>
                <a:cubicBezTo>
                  <a:pt x="116286" y="163909"/>
                  <a:pt x="107554" y="178196"/>
                  <a:pt x="111919" y="195262"/>
                </a:cubicBezTo>
                <a:cubicBezTo>
                  <a:pt x="116285" y="212328"/>
                  <a:pt x="135732" y="238125"/>
                  <a:pt x="138113" y="257175"/>
                </a:cubicBezTo>
                <a:cubicBezTo>
                  <a:pt x="140494" y="276225"/>
                  <a:pt x="124223" y="282575"/>
                  <a:pt x="126207" y="309562"/>
                </a:cubicBezTo>
                <a:cubicBezTo>
                  <a:pt x="128191" y="336549"/>
                  <a:pt x="135335" y="380206"/>
                  <a:pt x="150019" y="419100"/>
                </a:cubicBezTo>
                <a:cubicBezTo>
                  <a:pt x="164703" y="457994"/>
                  <a:pt x="205581" y="502444"/>
                  <a:pt x="214312" y="542925"/>
                </a:cubicBezTo>
                <a:cubicBezTo>
                  <a:pt x="223043" y="583406"/>
                  <a:pt x="199232" y="629046"/>
                  <a:pt x="202407" y="661987"/>
                </a:cubicBezTo>
                <a:cubicBezTo>
                  <a:pt x="205582" y="694928"/>
                  <a:pt x="220662" y="714771"/>
                  <a:pt x="233362" y="740568"/>
                </a:cubicBezTo>
              </a:path>
            </a:pathLst>
          </a:custGeom>
          <a:noFill/>
          <a:ln w="57150" cmpd="dbl">
            <a:solidFill>
              <a:schemeClr val="accent1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6458283" y="3193868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5" name="Овал 154"/>
          <p:cNvSpPr/>
          <p:nvPr/>
        </p:nvSpPr>
        <p:spPr>
          <a:xfrm>
            <a:off x="7170896" y="486230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6" name="Овал 155"/>
          <p:cNvSpPr/>
          <p:nvPr/>
        </p:nvSpPr>
        <p:spPr>
          <a:xfrm>
            <a:off x="7375928" y="5121313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7" name="Овал 156"/>
          <p:cNvSpPr/>
          <p:nvPr/>
        </p:nvSpPr>
        <p:spPr>
          <a:xfrm>
            <a:off x="7444769" y="3844315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9" name="Озинки"/>
          <p:cNvSpPr/>
          <p:nvPr/>
        </p:nvSpPr>
        <p:spPr>
          <a:xfrm>
            <a:off x="6397786" y="4528163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0" name="Смоленск"/>
          <p:cNvSpPr/>
          <p:nvPr/>
        </p:nvSpPr>
        <p:spPr>
          <a:xfrm>
            <a:off x="5075372" y="2376421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1" name="Брянс"/>
          <p:cNvSpPr/>
          <p:nvPr/>
        </p:nvSpPr>
        <p:spPr>
          <a:xfrm>
            <a:off x="5056693" y="273269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2" name="Усть-Луга"/>
          <p:cNvSpPr/>
          <p:nvPr/>
        </p:nvSpPr>
        <p:spPr>
          <a:xfrm>
            <a:off x="5658926" y="1287004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3" name="Джигинка"/>
          <p:cNvSpPr/>
          <p:nvPr/>
        </p:nvSpPr>
        <p:spPr>
          <a:xfrm>
            <a:off x="4140727" y="4502106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4" name="Тольятти"/>
          <p:cNvSpPr/>
          <p:nvPr/>
        </p:nvSpPr>
        <p:spPr>
          <a:xfrm>
            <a:off x="6701192" y="4024682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5071883" y="1431199"/>
            <a:ext cx="78098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анкт-Петербург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8306779" y="3862312"/>
            <a:ext cx="667169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Екатеринбург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6500298" y="3067164"/>
            <a:ext cx="824266" cy="184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Нижний Новгород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8160542" y="4547758"/>
            <a:ext cx="559769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Челябинск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7527113" y="4147404"/>
            <a:ext cx="32733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Уф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4097853" y="4188414"/>
            <a:ext cx="734496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Ростов-на-Дону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4304978" y="4668143"/>
            <a:ext cx="561373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Краснодар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5609854" y="4187462"/>
            <a:ext cx="47160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аратов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6716088" y="4053423"/>
            <a:ext cx="444352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амар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5537613" y="4675797"/>
            <a:ext cx="54694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Волгоград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7378798" y="3494319"/>
            <a:ext cx="445956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Ижевск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6906176" y="3478824"/>
            <a:ext cx="428321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Казань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225207" y="2960195"/>
            <a:ext cx="351378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Тул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4839644" y="3650674"/>
            <a:ext cx="495650" cy="184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Воронеж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3491409" y="4592987"/>
            <a:ext cx="67518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Новороссийск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6083999" y="2801906"/>
            <a:ext cx="520540" cy="13246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600" i="1" dirty="0" smtClean="0">
                <a:solidFill>
                  <a:schemeClr val="bg1">
                    <a:lumMod val="50000"/>
                  </a:schemeClr>
                </a:solidFill>
              </a:rPr>
              <a:t>Владимир</a:t>
            </a:r>
            <a:endParaRPr lang="ru-RU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5448050" y="3684753"/>
            <a:ext cx="580071" cy="16254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500" i="1" dirty="0" smtClean="0">
                <a:solidFill>
                  <a:schemeClr val="bg1">
                    <a:lumMod val="50000"/>
                  </a:schemeClr>
                </a:solidFill>
              </a:rPr>
              <a:t>Борисоглебск</a:t>
            </a:r>
            <a:endParaRPr lang="ru-RU" sz="5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6723720" y="4808741"/>
            <a:ext cx="521297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ренбург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7356914" y="5052120"/>
            <a:ext cx="461986" cy="1692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5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агарчин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6906877" y="3797886"/>
            <a:ext cx="550150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500" dirty="0"/>
              <a:t>Нижнекамск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6281660" y="4381566"/>
            <a:ext cx="790344" cy="3335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00" i="1" dirty="0" smtClean="0">
                <a:solidFill>
                  <a:schemeClr val="bg1">
                    <a:lumMod val="50000"/>
                  </a:schemeClr>
                </a:solidFill>
              </a:rPr>
              <a:t>Озинки</a:t>
            </a:r>
            <a:endParaRPr lang="ru-RU" sz="5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5078399" y="2188221"/>
            <a:ext cx="522899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моленск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4910661" y="2579229"/>
            <a:ext cx="42992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Брянск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5192306" y="1245273"/>
            <a:ext cx="529311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Усть-Луг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3655836" y="4415448"/>
            <a:ext cx="478015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Джигинка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6289808" y="3971904"/>
            <a:ext cx="455574" cy="1692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5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Тольятти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5827639" y="2590497"/>
            <a:ext cx="43954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Москв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51528" y="1232161"/>
            <a:ext cx="4353094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/>
              <a:t>начало реализации проектов в 2021-22 гг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трассирование и выбор оптимального местоположения объе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учет ограничений территории и исключение рисков изменения трассы на следующих стадиях</a:t>
            </a:r>
          </a:p>
          <a:p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одготовка транспортной модели и расчет финансовой модели, схемы реализации (для платных участков)</a:t>
            </a:r>
          </a:p>
          <a:p>
            <a:r>
              <a:rPr lang="ru-RU" sz="14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граниченность средств на </a:t>
            </a:r>
          </a:p>
          <a:p>
            <a:r>
              <a:rPr lang="ru-RU" sz="1600" dirty="0"/>
              <a:t> </a:t>
            </a:r>
            <a:r>
              <a:rPr lang="ru-RU" sz="1600" dirty="0" smtClean="0"/>
              <a:t>    подготовку проек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еобходимость определения предельной стоимости </a:t>
            </a:r>
          </a:p>
          <a:p>
            <a:r>
              <a:rPr lang="ru-RU" sz="1600" dirty="0"/>
              <a:t> </a:t>
            </a:r>
            <a:r>
              <a:rPr lang="ru-RU" sz="1600" dirty="0" smtClean="0"/>
              <a:t>    создания объекта для включения в </a:t>
            </a:r>
          </a:p>
          <a:p>
            <a:r>
              <a:rPr lang="ru-RU" sz="1600" dirty="0"/>
              <a:t> </a:t>
            </a:r>
            <a:r>
              <a:rPr lang="ru-RU" sz="1600" dirty="0" smtClean="0"/>
              <a:t>    программные документы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128273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СУЩЕСТВУЮЩАЯ СХЕМА РЕАЛИЗАЦИИ ПРОЕКТОВ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4160839249"/>
              </p:ext>
            </p:extLst>
          </p:nvPr>
        </p:nvGraphicFramePr>
        <p:xfrm>
          <a:off x="971600" y="1268760"/>
          <a:ext cx="7080448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55576" y="2852936"/>
            <a:ext cx="806489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а разработку проектной документации «крупного» объекта требуется 5-7 л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мега-проекты (например </a:t>
            </a:r>
            <a:r>
              <a:rPr lang="ru-RU" sz="1600" dirty="0" err="1" smtClean="0"/>
              <a:t>ск.а</a:t>
            </a:r>
            <a:r>
              <a:rPr lang="ru-RU" sz="1600" dirty="0" smtClean="0"/>
              <a:t>/д Москва-</a:t>
            </a:r>
            <a:r>
              <a:rPr lang="ru-RU" sz="1600" dirty="0" err="1" smtClean="0"/>
              <a:t>Н.Новгород</a:t>
            </a:r>
            <a:r>
              <a:rPr lang="ru-RU" sz="1600" dirty="0" smtClean="0"/>
              <a:t> – Казань – 725 км) </a:t>
            </a:r>
          </a:p>
          <a:p>
            <a:r>
              <a:rPr lang="ru-RU" sz="1600" dirty="0"/>
              <a:t> </a:t>
            </a:r>
            <a:r>
              <a:rPr lang="ru-RU" sz="1600" dirty="0" smtClean="0"/>
              <a:t>    требуется сегментировать для разработки проектной документ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ет обоснования инвестиций по новым проект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ет финансирования объекта для подтверждения в </a:t>
            </a:r>
            <a:r>
              <a:rPr lang="ru-RU" sz="1600" dirty="0" err="1" smtClean="0"/>
              <a:t>Главгосэкспертизе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остоянное перепроектирование (изменение трассы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е учитываются планы развития территор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формление земельных участков полосы отвода возможно только после проектирования</a:t>
            </a:r>
            <a:endParaRPr lang="ru-RU" sz="1600" dirty="0"/>
          </a:p>
        </p:txBody>
      </p:sp>
      <p:sp>
        <p:nvSpPr>
          <p:cNvPr id="11" name="Кольцо 10"/>
          <p:cNvSpPr/>
          <p:nvPr/>
        </p:nvSpPr>
        <p:spPr>
          <a:xfrm>
            <a:off x="2492386" y="1406247"/>
            <a:ext cx="3888432" cy="3672409"/>
          </a:xfrm>
          <a:prstGeom prst="donut">
            <a:avLst>
              <a:gd name="adj" fmla="val 86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462617" y="1323280"/>
            <a:ext cx="1947969" cy="39395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olas" panose="020B0609020204030204" pitchFamily="49" charset="0"/>
                <a:cs typeface="Consolas" panose="020B0609020204030204" pitchFamily="49" charset="0"/>
              </a:rPr>
              <a:t>!</a:t>
            </a:r>
            <a:endParaRPr lang="ru-RU" sz="25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92738" y="5279107"/>
            <a:ext cx="30877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</a:rPr>
              <a:t>не подходит</a:t>
            </a:r>
            <a:endParaRPr lang="ru-RU" sz="36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67761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 animBg="1"/>
      <p:bldP spid="17" grpId="0"/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/>
          <p:cNvSpPr/>
          <p:nvPr/>
        </p:nvSpPr>
        <p:spPr>
          <a:xfrm>
            <a:off x="6012160" y="1052736"/>
            <a:ext cx="2232248" cy="2952328"/>
          </a:xfrm>
          <a:prstGeom prst="rect">
            <a:avLst/>
          </a:prstGeom>
          <a:ln w="9525">
            <a:prstDash val="lg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ПРЕДЛАГАЕМАЯ СХЕМА РЕАЛИЗАЦИИ ПРОЕКТОВ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866342" y="1223919"/>
            <a:ext cx="2083558" cy="966517"/>
            <a:chOff x="9221" y="1316941"/>
            <a:chExt cx="1791493" cy="966517"/>
          </a:xfrm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9221" y="1316941"/>
              <a:ext cx="1791493" cy="96651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Скругленный прямоугольник 4"/>
            <p:cNvSpPr/>
            <p:nvPr/>
          </p:nvSpPr>
          <p:spPr>
            <a:xfrm>
              <a:off x="37529" y="1345249"/>
              <a:ext cx="1734877" cy="9099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Схема территориального планирования РФ</a:t>
              </a:r>
              <a:endParaRPr lang="ru-RU" sz="1600" kern="1200" dirty="0"/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3110828" y="1507626"/>
            <a:ext cx="341169" cy="399103"/>
            <a:chOff x="1961643" y="1600648"/>
            <a:chExt cx="341169" cy="399103"/>
          </a:xfrm>
        </p:grpSpPr>
        <p:sp>
          <p:nvSpPr>
            <p:cNvPr id="28" name="Стрелка вправо 27"/>
            <p:cNvSpPr/>
            <p:nvPr/>
          </p:nvSpPr>
          <p:spPr>
            <a:xfrm>
              <a:off x="1961643" y="1600648"/>
              <a:ext cx="341169" cy="399103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dk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Стрелка вправо 6"/>
            <p:cNvSpPr/>
            <p:nvPr/>
          </p:nvSpPr>
          <p:spPr>
            <a:xfrm>
              <a:off x="1961643" y="1680469"/>
              <a:ext cx="238818" cy="2394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800" kern="1200"/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530441" y="1223919"/>
            <a:ext cx="1888291" cy="966517"/>
            <a:chOff x="2444430" y="1316941"/>
            <a:chExt cx="1609289" cy="966517"/>
          </a:xfrm>
        </p:grpSpPr>
        <p:sp>
          <p:nvSpPr>
            <p:cNvPr id="26" name="Скругленный прямоугольник 25"/>
            <p:cNvSpPr/>
            <p:nvPr/>
          </p:nvSpPr>
          <p:spPr>
            <a:xfrm>
              <a:off x="2444430" y="1316941"/>
              <a:ext cx="1609289" cy="96651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Скругленный прямоугольник 8"/>
            <p:cNvSpPr/>
            <p:nvPr/>
          </p:nvSpPr>
          <p:spPr>
            <a:xfrm>
              <a:off x="2519951" y="1345249"/>
              <a:ext cx="1458245" cy="9099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Документация по планировке территории</a:t>
              </a:r>
              <a:endParaRPr lang="ru-RU" sz="1600" kern="1200" dirty="0"/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579661" y="1507626"/>
            <a:ext cx="341169" cy="399103"/>
            <a:chOff x="4214648" y="1600648"/>
            <a:chExt cx="341169" cy="399103"/>
          </a:xfrm>
        </p:grpSpPr>
        <p:sp>
          <p:nvSpPr>
            <p:cNvPr id="24" name="Стрелка вправо 23"/>
            <p:cNvSpPr/>
            <p:nvPr/>
          </p:nvSpPr>
          <p:spPr>
            <a:xfrm>
              <a:off x="4214648" y="1600648"/>
              <a:ext cx="341169" cy="399103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dk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Стрелка вправо 10"/>
            <p:cNvSpPr/>
            <p:nvPr/>
          </p:nvSpPr>
          <p:spPr>
            <a:xfrm>
              <a:off x="4214648" y="1680469"/>
              <a:ext cx="238818" cy="2394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800" kern="1200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6062448" y="1223919"/>
            <a:ext cx="2076505" cy="966517"/>
            <a:chOff x="4697435" y="1316941"/>
            <a:chExt cx="1609289" cy="966517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4697435" y="1316941"/>
              <a:ext cx="1609289" cy="96651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Скругленный прямоугольник 12"/>
            <p:cNvSpPr/>
            <p:nvPr/>
          </p:nvSpPr>
          <p:spPr>
            <a:xfrm>
              <a:off x="4725743" y="1345249"/>
              <a:ext cx="1552673" cy="9099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>
                  <a:latin typeface="+mn-lt"/>
                </a:rPr>
                <a:t>Проектная документация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6098976" y="2861464"/>
            <a:ext cx="2076505" cy="966517"/>
            <a:chOff x="4680518" y="2448269"/>
            <a:chExt cx="1609289" cy="966517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4680518" y="2448269"/>
              <a:ext cx="1609289" cy="96651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Скругленный прямоугольник 16"/>
            <p:cNvSpPr/>
            <p:nvPr/>
          </p:nvSpPr>
          <p:spPr>
            <a:xfrm>
              <a:off x="4708826" y="2476577"/>
              <a:ext cx="1552673" cy="9099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Подготовка территории и строительство</a:t>
              </a:r>
              <a:endParaRPr lang="ru-RU" sz="1600" kern="1200" dirty="0"/>
            </a:p>
          </p:txBody>
        </p:sp>
      </p:grpSp>
      <p:sp>
        <p:nvSpPr>
          <p:cNvPr id="2" name="Двойная стрелка вверх/вниз 1"/>
          <p:cNvSpPr/>
          <p:nvPr/>
        </p:nvSpPr>
        <p:spPr>
          <a:xfrm>
            <a:off x="6955418" y="2244823"/>
            <a:ext cx="290565" cy="524854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Левая фигурная скобка 5"/>
          <p:cNvSpPr/>
          <p:nvPr/>
        </p:nvSpPr>
        <p:spPr>
          <a:xfrm rot="16200000">
            <a:off x="4366575" y="1501495"/>
            <a:ext cx="216024" cy="1888291"/>
          </a:xfrm>
          <a:prstGeom prst="leftBrace">
            <a:avLst>
              <a:gd name="adj1" fmla="val 8333"/>
              <a:gd name="adj2" fmla="val 2677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98" y="4363232"/>
            <a:ext cx="847055" cy="847055"/>
          </a:xfrm>
          <a:prstGeom prst="rect">
            <a:avLst/>
          </a:prstGeom>
        </p:spPr>
      </p:pic>
      <p:sp>
        <p:nvSpPr>
          <p:cNvPr id="34" name="Скругленная прямоугольная выноска 33"/>
          <p:cNvSpPr/>
          <p:nvPr/>
        </p:nvSpPr>
        <p:spPr>
          <a:xfrm>
            <a:off x="830826" y="2848229"/>
            <a:ext cx="4317238" cy="1300851"/>
          </a:xfrm>
          <a:prstGeom prst="wedgeRoundRectCallout">
            <a:avLst>
              <a:gd name="adj1" fmla="val -39746"/>
              <a:gd name="adj2" fmla="val 65376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ыполнение инженерных изыска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азработка планировочных и проектных </a:t>
            </a:r>
            <a:r>
              <a:rPr lang="ru-RU" sz="1200" dirty="0" smtClean="0"/>
              <a:t>реш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пределение зоны размещения (полосы отвода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огласование с органами местного </a:t>
            </a:r>
            <a:r>
              <a:rPr lang="ru-RU" sz="1200" dirty="0" smtClean="0"/>
              <a:t>самоуправл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определение стоимостных параметров строительства и содержания </a:t>
            </a:r>
            <a:r>
              <a:rPr lang="ru-RU" sz="1200" dirty="0" smtClean="0"/>
              <a:t>объекта</a:t>
            </a:r>
            <a:endParaRPr lang="ru-RU" sz="1200" dirty="0"/>
          </a:p>
        </p:txBody>
      </p:sp>
      <p:sp>
        <p:nvSpPr>
          <p:cNvPr id="36" name="Скругленная прямоугольная выноска 35"/>
          <p:cNvSpPr/>
          <p:nvPr/>
        </p:nvSpPr>
        <p:spPr>
          <a:xfrm>
            <a:off x="1400131" y="4581128"/>
            <a:ext cx="3747933" cy="1656184"/>
          </a:xfrm>
          <a:prstGeom prst="wedgeRoundRectCallout">
            <a:avLst>
              <a:gd name="adj1" fmla="val 56657"/>
              <a:gd name="adj2" fmla="val 33828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дготовка </a:t>
            </a:r>
            <a:r>
              <a:rPr lang="ru-RU" sz="1200" dirty="0"/>
              <a:t>финансово-экономического </a:t>
            </a:r>
            <a:r>
              <a:rPr lang="ru-RU" sz="1200" dirty="0" smtClean="0"/>
              <a:t>обосн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пределение </a:t>
            </a:r>
            <a:r>
              <a:rPr lang="ru-RU" sz="1200" dirty="0"/>
              <a:t>организационно-правовой схемы реализации </a:t>
            </a:r>
            <a:r>
              <a:rPr lang="ru-RU" sz="1200" dirty="0" smtClean="0"/>
              <a:t>проек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разработка </a:t>
            </a:r>
            <a:r>
              <a:rPr lang="ru-RU" sz="1200" dirty="0"/>
              <a:t>конкурсной документации для заключения </a:t>
            </a:r>
            <a:r>
              <a:rPr lang="ru-RU" sz="1200" dirty="0" err="1" smtClean="0"/>
              <a:t>инвестсоглашения</a:t>
            </a:r>
            <a:r>
              <a:rPr lang="ru-RU" sz="1200" dirty="0" smtClean="0"/>
              <a:t> </a:t>
            </a:r>
            <a:r>
              <a:rPr lang="ru-RU" sz="1200" dirty="0"/>
              <a:t>на проектирование либо проектирование и строительство объекта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733" y="5409220"/>
            <a:ext cx="980728" cy="980728"/>
          </a:xfrm>
          <a:prstGeom prst="rect">
            <a:avLst/>
          </a:prstGeom>
        </p:spPr>
      </p:pic>
      <p:sp>
        <p:nvSpPr>
          <p:cNvPr id="39" name="Левая фигурная скобка 38"/>
          <p:cNvSpPr/>
          <p:nvPr/>
        </p:nvSpPr>
        <p:spPr>
          <a:xfrm rot="16200000">
            <a:off x="7044388" y="3204935"/>
            <a:ext cx="216024" cy="1888291"/>
          </a:xfrm>
          <a:prstGeom prst="leftBrace">
            <a:avLst>
              <a:gd name="adj1" fmla="val 8333"/>
              <a:gd name="adj2" fmla="val 2677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ая прямоугольная выноска 39"/>
          <p:cNvSpPr/>
          <p:nvPr/>
        </p:nvSpPr>
        <p:spPr>
          <a:xfrm>
            <a:off x="6012160" y="4557598"/>
            <a:ext cx="2304256" cy="851622"/>
          </a:xfrm>
          <a:prstGeom prst="wedgeRoundRectCallout">
            <a:avLst>
              <a:gd name="adj1" fmla="val -30912"/>
              <a:gd name="adj2" fmla="val 70307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200" dirty="0" smtClean="0"/>
              <a:t>DBFO  (design-build-finance-transfer-operate)  - </a:t>
            </a:r>
            <a:r>
              <a:rPr lang="ru-RU" sz="1200" dirty="0" smtClean="0"/>
              <a:t>участие инвестора уже на проектной стадии реализации проекта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0763966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6" grpId="0" animBg="1"/>
      <p:bldP spid="34" grpId="0" animBg="1"/>
      <p:bldP spid="36" grpId="0" animBg="1"/>
      <p:bldP spid="39" grpId="0" animBg="1"/>
      <p:bldP spid="4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Скругленный прямоугольник 41"/>
          <p:cNvSpPr/>
          <p:nvPr/>
        </p:nvSpPr>
        <p:spPr>
          <a:xfrm>
            <a:off x="5074197" y="3018877"/>
            <a:ext cx="3386242" cy="136817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27584" y="2935101"/>
            <a:ext cx="3386242" cy="1451955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078439" y="1037472"/>
            <a:ext cx="3386242" cy="141503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27584" y="1037472"/>
            <a:ext cx="3386242" cy="141503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/>
          <p:cNvGrpSpPr/>
          <p:nvPr/>
        </p:nvGrpSpPr>
        <p:grpSpPr>
          <a:xfrm>
            <a:off x="3102243" y="1225155"/>
            <a:ext cx="1472265" cy="1472265"/>
            <a:chOff x="2922224" y="193808"/>
            <a:chExt cx="1472265" cy="1472265"/>
          </a:xfrm>
        </p:grpSpPr>
        <p:sp>
          <p:nvSpPr>
            <p:cNvPr id="37" name="Пирог 36"/>
            <p:cNvSpPr/>
            <p:nvPr/>
          </p:nvSpPr>
          <p:spPr>
            <a:xfrm>
              <a:off x="2922224" y="193808"/>
              <a:ext cx="1472265" cy="1472265"/>
            </a:xfrm>
            <a:prstGeom prst="pieWedg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ирог 4"/>
            <p:cNvSpPr/>
            <p:nvPr/>
          </p:nvSpPr>
          <p:spPr>
            <a:xfrm>
              <a:off x="3353440" y="625024"/>
              <a:ext cx="1041049" cy="10410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lvl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200" kern="1200" dirty="0"/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4642512" y="1225155"/>
            <a:ext cx="1472265" cy="1472265"/>
            <a:chOff x="4462493" y="193808"/>
            <a:chExt cx="1472265" cy="1472265"/>
          </a:xfrm>
        </p:grpSpPr>
        <p:sp>
          <p:nvSpPr>
            <p:cNvPr id="34" name="Пирог 33"/>
            <p:cNvSpPr/>
            <p:nvPr/>
          </p:nvSpPr>
          <p:spPr>
            <a:xfrm rot="5400000">
              <a:off x="4462493" y="193808"/>
              <a:ext cx="1472265" cy="1472265"/>
            </a:xfrm>
            <a:prstGeom prst="pieWedg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ирог 6"/>
            <p:cNvSpPr/>
            <p:nvPr/>
          </p:nvSpPr>
          <p:spPr>
            <a:xfrm>
              <a:off x="4462493" y="625024"/>
              <a:ext cx="1041049" cy="10410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lvl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200" kern="1200" dirty="0"/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4642512" y="2765424"/>
            <a:ext cx="1472265" cy="1472265"/>
            <a:chOff x="4462493" y="1734077"/>
            <a:chExt cx="1472265" cy="1472265"/>
          </a:xfrm>
        </p:grpSpPr>
        <p:sp>
          <p:nvSpPr>
            <p:cNvPr id="32" name="Пирог 31"/>
            <p:cNvSpPr/>
            <p:nvPr/>
          </p:nvSpPr>
          <p:spPr>
            <a:xfrm rot="10800000">
              <a:off x="4462493" y="1734077"/>
              <a:ext cx="1472265" cy="1472265"/>
            </a:xfrm>
            <a:prstGeom prst="pieWedg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Пирог 8"/>
            <p:cNvSpPr/>
            <p:nvPr/>
          </p:nvSpPr>
          <p:spPr>
            <a:xfrm rot="21600000">
              <a:off x="4462493" y="1734077"/>
              <a:ext cx="1041049" cy="10410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lvl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200" kern="1200" dirty="0" smtClean="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3102243" y="2765424"/>
            <a:ext cx="1472265" cy="1472265"/>
            <a:chOff x="2922224" y="1734077"/>
            <a:chExt cx="1472265" cy="1472265"/>
          </a:xfrm>
        </p:grpSpPr>
        <p:sp>
          <p:nvSpPr>
            <p:cNvPr id="29" name="Пирог 28"/>
            <p:cNvSpPr/>
            <p:nvPr/>
          </p:nvSpPr>
          <p:spPr>
            <a:xfrm rot="16200000">
              <a:off x="2922224" y="1734077"/>
              <a:ext cx="1472265" cy="1472265"/>
            </a:xfrm>
            <a:prstGeom prst="pieWedg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ирог 10"/>
            <p:cNvSpPr/>
            <p:nvPr/>
          </p:nvSpPr>
          <p:spPr>
            <a:xfrm rot="21600000">
              <a:off x="3353440" y="1734077"/>
              <a:ext cx="1041049" cy="10410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lvl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200" kern="1200" dirty="0" smtClean="0"/>
            </a:p>
          </p:txBody>
        </p:sp>
      </p:grpSp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ОБЕСПЕЧИВАЕМЫЕ РЕЗУЛЬТАТЫ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Подзаголовок 2"/>
          <p:cNvSpPr txBox="1">
            <a:spLocks/>
          </p:cNvSpPr>
          <p:nvPr/>
        </p:nvSpPr>
        <p:spPr>
          <a:xfrm>
            <a:off x="1190132" y="5310129"/>
            <a:ext cx="7846364" cy="9271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ct val="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rPr>
              <a:t>Риски:</a:t>
            </a:r>
          </a:p>
          <a:p>
            <a:pPr marL="285750" indent="-285750" algn="just">
              <a:spcBef>
                <a:spcPct val="0"/>
              </a:spcBef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rPr>
              <a:t>требование ПРФ о необходимости заключения ГГЭ для заключения КС/ДИС – определение предельной стоимости объекта</a:t>
            </a:r>
          </a:p>
          <a:p>
            <a:pPr marL="285750" indent="-285750" algn="just">
              <a:spcBef>
                <a:spcPct val="0"/>
              </a:spcBef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rPr>
              <a:t>риски существенных изменений проектных решений при прохождении ГГЭ по сравнению с решениями заложенными в ДПТ/ТЭО (в случае необоснованных/</a:t>
            </a:r>
            <a:r>
              <a:rPr lang="ru-RU" sz="1400" dirty="0" err="1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rPr>
              <a:t>неквалифированных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rPr>
              <a:t> проектных решений в ДПТ)</a:t>
            </a:r>
            <a:endParaRPr lang="ru-RU" sz="1400" dirty="0">
              <a:solidFill>
                <a:schemeClr val="tx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55624" y="1774832"/>
            <a:ext cx="12241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/>
              <a:t>Основания для земельно-кадастровых работ</a:t>
            </a:r>
          </a:p>
          <a:p>
            <a:endParaRPr lang="ru-RU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3519324" y="1805634"/>
            <a:ext cx="1080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/>
              <a:t>Срок </a:t>
            </a:r>
            <a:r>
              <a:rPr lang="ru-RU" sz="1200" dirty="0" smtClean="0"/>
              <a:t>подготовки </a:t>
            </a:r>
            <a:r>
              <a:rPr lang="ru-RU" sz="1200" dirty="0"/>
              <a:t>1,5-2 </a:t>
            </a:r>
            <a:r>
              <a:rPr lang="ru-RU" sz="1200" dirty="0" smtClean="0"/>
              <a:t>года</a:t>
            </a:r>
            <a:endParaRPr lang="ru-RU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3422380" y="2845225"/>
            <a:ext cx="11521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/>
              <a:t>Оптимальная трасса и проектные </a:t>
            </a:r>
            <a:r>
              <a:rPr lang="ru-RU" sz="1200" dirty="0" smtClean="0"/>
              <a:t>решения</a:t>
            </a:r>
            <a:endParaRPr lang="ru-RU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4642511" y="2855225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/>
              <a:t>Предельная стоимость </a:t>
            </a:r>
            <a:r>
              <a:rPr lang="ru-RU" sz="1200" dirty="0" smtClean="0"/>
              <a:t>строительства</a:t>
            </a:r>
            <a:endParaRPr lang="ru-RU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1003588" y="1064743"/>
            <a:ext cx="2583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окращение </a:t>
            </a:r>
            <a:r>
              <a:rPr lang="ru-RU" sz="1200" dirty="0"/>
              <a:t>периода </a:t>
            </a:r>
            <a:r>
              <a:rPr lang="ru-RU" sz="1200" dirty="0" err="1"/>
              <a:t>прединвестиционной</a:t>
            </a:r>
            <a:r>
              <a:rPr lang="ru-RU" sz="1200" dirty="0"/>
              <a:t> </a:t>
            </a:r>
            <a:r>
              <a:rPr lang="ru-RU" sz="1200" dirty="0" smtClean="0"/>
              <a:t>стади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окращение сроков проектирования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окращение общего срока реализации проекта</a:t>
            </a:r>
            <a:endParaRPr lang="ru-RU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5754023" y="1144823"/>
            <a:ext cx="25806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ru-RU" sz="1200" dirty="0" smtClean="0"/>
              <a:t>исходные данные для формирования земельных участков  </a:t>
            </a:r>
          </a:p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ru-RU" sz="1200" dirty="0" smtClean="0"/>
              <a:t>начало мероприятий по изъятию до разработки проектной документации </a:t>
            </a:r>
            <a:endParaRPr lang="ru-RU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879413" y="2988797"/>
            <a:ext cx="295896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исключены риски и издержки перепроектир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едмет инвестиционного соглаш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исходные данные для проектир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пределена </a:t>
            </a:r>
            <a:r>
              <a:rPr lang="ru-RU" sz="1200" dirty="0" err="1" smtClean="0"/>
              <a:t>этапность</a:t>
            </a:r>
            <a:r>
              <a:rPr lang="ru-RU" sz="1200" dirty="0" smtClean="0"/>
              <a:t> реализации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66114" y="3081129"/>
            <a:ext cx="31740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ru-RU" sz="1200" dirty="0"/>
              <a:t>параметры финансирования в программных </a:t>
            </a:r>
            <a:r>
              <a:rPr lang="ru-RU" sz="1200" dirty="0" smtClean="0"/>
              <a:t>документах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ru-RU" sz="1200" dirty="0" smtClean="0"/>
              <a:t>переход </a:t>
            </a:r>
            <a:r>
              <a:rPr lang="ru-RU" sz="1200" dirty="0"/>
              <a:t>на </a:t>
            </a:r>
            <a:r>
              <a:rPr lang="ru-RU" sz="1200" dirty="0" err="1"/>
              <a:t>постадийную</a:t>
            </a:r>
            <a:r>
              <a:rPr lang="ru-RU" sz="1200" dirty="0"/>
              <a:t> схему финансирования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ru-RU" sz="1200" dirty="0" smtClean="0"/>
              <a:t>стоимость проектной документации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ru-RU" sz="1200" dirty="0" smtClean="0"/>
              <a:t>параметры </a:t>
            </a:r>
            <a:r>
              <a:rPr lang="ru-RU" sz="1200" dirty="0" err="1" smtClean="0"/>
              <a:t>инвест</a:t>
            </a:r>
            <a:r>
              <a:rPr lang="ru-RU" sz="1200" dirty="0" smtClean="0"/>
              <a:t>. соглашения/КЖЦ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10721" y="4679186"/>
            <a:ext cx="30963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Определены </a:t>
            </a:r>
            <a:r>
              <a:rPr lang="ru-RU" sz="1400" dirty="0"/>
              <a:t>параметры требуемого государству </a:t>
            </a:r>
            <a:r>
              <a:rPr lang="ru-RU" sz="1400" dirty="0" smtClean="0"/>
              <a:t>объекта:</a:t>
            </a:r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3838375" y="4679186"/>
            <a:ext cx="44803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ое соглашение (</a:t>
            </a:r>
            <a:r>
              <a:rPr lang="en-US" sz="1400" dirty="0" smtClean="0"/>
              <a:t>DBFO, </a:t>
            </a:r>
            <a:r>
              <a:rPr lang="ru-RU" sz="1400" dirty="0" smtClean="0"/>
              <a:t>корп. ГЧП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контракт жизненного цикла</a:t>
            </a:r>
            <a:endParaRPr lang="ru-RU" sz="1400" dirty="0"/>
          </a:p>
        </p:txBody>
      </p:sp>
      <p:pic>
        <p:nvPicPr>
          <p:cNvPr id="3075" name="Picture 3" descr="C:\Users\biktimirov_rs\Desktop\Форум Сочи\sign-15928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516" y="5445224"/>
            <a:ext cx="648072" cy="589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Прямая соединительная линия 20"/>
          <p:cNvCxnSpPr/>
          <p:nvPr/>
        </p:nvCxnSpPr>
        <p:spPr>
          <a:xfrm>
            <a:off x="539552" y="4558457"/>
            <a:ext cx="84969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539552" y="5297121"/>
            <a:ext cx="84969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63432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Блок-схема: несколько документов 14"/>
          <p:cNvSpPr/>
          <p:nvPr/>
        </p:nvSpPr>
        <p:spPr>
          <a:xfrm>
            <a:off x="765900" y="4220092"/>
            <a:ext cx="1656184" cy="576064"/>
          </a:xfrm>
          <a:prstGeom prst="flowChartMultidocumen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Блок-схема: несколько документов 13"/>
          <p:cNvSpPr/>
          <p:nvPr/>
        </p:nvSpPr>
        <p:spPr>
          <a:xfrm>
            <a:off x="755576" y="2450504"/>
            <a:ext cx="1656184" cy="906487"/>
          </a:xfrm>
          <a:prstGeom prst="flowChartMultidocumen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Блок-схема: несколько документов 2"/>
          <p:cNvSpPr/>
          <p:nvPr/>
        </p:nvSpPr>
        <p:spPr>
          <a:xfrm>
            <a:off x="755576" y="1268760"/>
            <a:ext cx="1656184" cy="576064"/>
          </a:xfrm>
          <a:prstGeom prst="flowChartMultidocumen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СОСТАВ ДОКУМЕНТАЦИИ ПО ПЛАНИРОВКЕ ТЕРРИТОРИИ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5576" y="1387515"/>
            <a:ext cx="12299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ст.41 </a:t>
            </a:r>
            <a:r>
              <a:rPr lang="ru-RU" sz="1400" dirty="0" err="1" smtClean="0"/>
              <a:t>ГрК</a:t>
            </a:r>
            <a:r>
              <a:rPr lang="ru-RU" sz="1400" dirty="0" smtClean="0"/>
              <a:t> РФ</a:t>
            </a:r>
            <a:endParaRPr lang="ru-RU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2915816" y="1141293"/>
            <a:ext cx="419941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иды документации по планировке территори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оект планировки территор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оект межевания территории</a:t>
            </a:r>
            <a:endParaRPr lang="ru-RU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755576" y="2611070"/>
            <a:ext cx="16561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Постановление Правительства РФ от 31.03.17 №402</a:t>
            </a:r>
            <a:endParaRPr lang="ru-RU" sz="1000" dirty="0"/>
          </a:p>
        </p:txBody>
      </p:sp>
      <p:sp>
        <p:nvSpPr>
          <p:cNvPr id="11" name="TextBox 10"/>
          <p:cNvSpPr txBox="1"/>
          <p:nvPr/>
        </p:nvSpPr>
        <p:spPr>
          <a:xfrm>
            <a:off x="2915816" y="2318971"/>
            <a:ext cx="4524444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иды изыскания для подготовки ДПТ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инженерно-геодезические изыск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инженерно-геологические изыск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инженерно-гидрометеорологические изыск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инженерно-экологические изыскания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27584" y="4354235"/>
            <a:ext cx="13790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ст.41.2 </a:t>
            </a:r>
            <a:r>
              <a:rPr lang="ru-RU" sz="1400" dirty="0" err="1" smtClean="0"/>
              <a:t>ГрК</a:t>
            </a:r>
            <a:r>
              <a:rPr lang="ru-RU" sz="1400" dirty="0" smtClean="0"/>
              <a:t> РФ</a:t>
            </a:r>
            <a:endParaRPr lang="ru-RU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2815583" y="4005064"/>
            <a:ext cx="6068905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Инженерные изыскания в ДПТ выполняются в целях получения:</a:t>
            </a:r>
          </a:p>
          <a:p>
            <a:r>
              <a:rPr lang="ru-RU" sz="1100" dirty="0" smtClean="0"/>
              <a:t>1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материалов о природных условиях территор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факторах </a:t>
            </a:r>
            <a:r>
              <a:rPr lang="ru-RU" sz="1100" dirty="0"/>
              <a:t>техногенного воздействия на окружающую среду, прогнозов их </a:t>
            </a:r>
            <a:r>
              <a:rPr lang="ru-RU" sz="1100" dirty="0" smtClean="0"/>
              <a:t>изменения</a:t>
            </a:r>
          </a:p>
          <a:p>
            <a:endParaRPr lang="ru-RU" sz="500" dirty="0" smtClean="0"/>
          </a:p>
          <a:p>
            <a:r>
              <a:rPr lang="ru-RU" sz="1100" dirty="0" smtClean="0"/>
              <a:t>2</a:t>
            </a:r>
            <a:r>
              <a:rPr lang="ru-RU" sz="1100" dirty="0"/>
              <a:t>) </a:t>
            </a:r>
            <a:r>
              <a:rPr lang="ru-RU" sz="1100" dirty="0" smtClean="0"/>
              <a:t>материалов</a:t>
            </a:r>
            <a:r>
              <a:rPr lang="ru-RU" sz="1100" dirty="0"/>
              <a:t>, необходимых для </a:t>
            </a:r>
            <a:r>
              <a:rPr lang="ru-RU" sz="1100" b="1" dirty="0"/>
              <a:t>установления границ зон</a:t>
            </a:r>
            <a:r>
              <a:rPr lang="ru-RU" sz="1100" dirty="0"/>
              <a:t> планируемого размещения объектов капитального строительства, уточнения их </a:t>
            </a:r>
            <a:r>
              <a:rPr lang="ru-RU" sz="1100" b="1" dirty="0"/>
              <a:t>предельных параметров</a:t>
            </a:r>
            <a:r>
              <a:rPr lang="ru-RU" sz="1100" dirty="0"/>
              <a:t>, установления </a:t>
            </a:r>
            <a:r>
              <a:rPr lang="ru-RU" sz="1100" b="1" dirty="0"/>
              <a:t>границ земельных </a:t>
            </a:r>
            <a:r>
              <a:rPr lang="ru-RU" sz="1100" b="1" dirty="0" smtClean="0"/>
              <a:t>участков</a:t>
            </a:r>
            <a:endParaRPr lang="ru-RU" sz="1100" dirty="0"/>
          </a:p>
          <a:p>
            <a:r>
              <a:rPr lang="ru-RU" sz="1100" dirty="0"/>
              <a:t>3) материалов, необходимых для обоснования проведения мероприятий по организации поверхностного стока вод, частичному или полному осушению территории и других подобных мероприятий (далее - инженерная подготовка), инженерной защите и благоустройству территории.</a:t>
            </a:r>
          </a:p>
          <a:p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2113317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ИНЖЕНЕРНЫЕ ИЗЫСКАНИЯ В ДОКУМЕНТАЦИИ ПО ПЛАНИРОВКЕ ТЕРРИТОРИИ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98219" y="1140242"/>
            <a:ext cx="6336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u="sng" dirty="0" smtClean="0"/>
              <a:t>СП 47.13330.2016 «Инженерные изыскания для строительства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195736" y="1478796"/>
            <a:ext cx="640871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4.25 Инженерные изыскания выполняются для:</a:t>
            </a:r>
          </a:p>
          <a:p>
            <a:r>
              <a:rPr lang="ru-RU" sz="1200" dirty="0"/>
              <a:t>- подготовки документов территориального </a:t>
            </a:r>
            <a:r>
              <a:rPr lang="ru-RU" sz="1200" dirty="0" smtClean="0"/>
              <a:t>планирования</a:t>
            </a:r>
            <a:endParaRPr lang="ru-RU" sz="1200" dirty="0"/>
          </a:p>
          <a:p>
            <a:r>
              <a:rPr lang="ru-RU" sz="1200" b="1" dirty="0"/>
              <a:t>- подготовки документации по планировке </a:t>
            </a:r>
            <a:r>
              <a:rPr lang="ru-RU" sz="1200" b="1" dirty="0" smtClean="0"/>
              <a:t>территории</a:t>
            </a:r>
            <a:endParaRPr lang="ru-RU" sz="1200" b="1" dirty="0"/>
          </a:p>
          <a:p>
            <a:r>
              <a:rPr lang="ru-RU" sz="1200" b="1" dirty="0"/>
              <a:t>- выбора площадок (трасс) </a:t>
            </a:r>
            <a:r>
              <a:rPr lang="ru-RU" sz="1200" b="1" dirty="0" smtClean="0"/>
              <a:t>строительства</a:t>
            </a:r>
            <a:endParaRPr lang="ru-RU" sz="1200" b="1" dirty="0"/>
          </a:p>
          <a:p>
            <a:r>
              <a:rPr lang="ru-RU" sz="1200" b="1" dirty="0"/>
              <a:t>- архитектурно-строительного </a:t>
            </a:r>
            <a:r>
              <a:rPr lang="ru-RU" sz="1200" b="1" dirty="0" smtClean="0"/>
              <a:t>проектирования</a:t>
            </a:r>
            <a:endParaRPr lang="ru-RU" sz="1200" b="1" dirty="0"/>
          </a:p>
          <a:p>
            <a:r>
              <a:rPr lang="ru-RU" sz="1200" dirty="0"/>
              <a:t>- строительства и реконструкции объектов капитального </a:t>
            </a:r>
            <a:r>
              <a:rPr lang="ru-RU" sz="1200" dirty="0" smtClean="0"/>
              <a:t>строительства</a:t>
            </a:r>
            <a:endParaRPr lang="ru-RU" sz="1200" dirty="0"/>
          </a:p>
          <a:p>
            <a:r>
              <a:rPr lang="ru-RU" sz="1200" dirty="0"/>
              <a:t>- капитального ремонта автомобильных дорог общего пользования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27584" y="2964894"/>
            <a:ext cx="42735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Цели выполнения инженерных изысканий:</a:t>
            </a:r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41068" y="3303448"/>
            <a:ext cx="276827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4.28 Инженерные </a:t>
            </a:r>
            <a:r>
              <a:rPr lang="ru-RU" sz="1200" dirty="0"/>
              <a:t>изыскания </a:t>
            </a:r>
            <a:r>
              <a:rPr lang="ru-RU" sz="1200" dirty="0" smtClean="0"/>
              <a:t>для документации по планировке территории:</a:t>
            </a:r>
            <a:endParaRPr lang="ru-RU" sz="1200" dirty="0"/>
          </a:p>
          <a:p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лучение материалов</a:t>
            </a:r>
            <a:r>
              <a:rPr lang="ru-RU" sz="1200" dirty="0"/>
              <a:t>, необходимых для установления границ зон планируемого размещения объектов капитального строительства, уточнения их предельных параметров, установления границ земельных </a:t>
            </a:r>
            <a:r>
              <a:rPr lang="ru-RU" sz="1200" dirty="0" smtClean="0"/>
              <a:t>участк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275856" y="3303448"/>
            <a:ext cx="266429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4.29 Инженерные </a:t>
            </a:r>
            <a:r>
              <a:rPr lang="ru-RU" sz="1200" dirty="0"/>
              <a:t>изыскания для выбора площадки (трассы) </a:t>
            </a:r>
            <a:r>
              <a:rPr lang="ru-RU" sz="1200" dirty="0" smtClean="0"/>
              <a:t>строительства:</a:t>
            </a:r>
          </a:p>
          <a:p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ыбор </a:t>
            </a:r>
            <a:r>
              <a:rPr lang="ru-RU" sz="1200" dirty="0"/>
              <a:t>оптимального (по топографическим, инженерно-геологическим, инженерно-гидрометеорологическим и инженерно-экологическим условиям) варианта площадки (трассы) строительства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044128" y="3303448"/>
            <a:ext cx="284835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4.31 Инженерные </a:t>
            </a:r>
            <a:r>
              <a:rPr lang="ru-RU" sz="1200" dirty="0"/>
              <a:t>изыскания для подготовки проектной </a:t>
            </a:r>
            <a:r>
              <a:rPr lang="ru-RU" sz="1200" dirty="0" smtClean="0"/>
              <a:t>документации:</a:t>
            </a:r>
          </a:p>
          <a:p>
            <a:endParaRPr lang="ru-RU" sz="1200" dirty="0"/>
          </a:p>
          <a:p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боснование </a:t>
            </a:r>
            <a:r>
              <a:rPr lang="ru-RU" sz="1200" dirty="0"/>
              <a:t>компоновки зданий и </a:t>
            </a:r>
            <a:r>
              <a:rPr lang="ru-RU" sz="1200" dirty="0" smtClean="0"/>
              <a:t>сооруж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инятия </a:t>
            </a:r>
            <a:r>
              <a:rPr lang="ru-RU" sz="1200" dirty="0"/>
              <a:t>конструктивных и объемно-планировочных решений в отношении </a:t>
            </a:r>
            <a:r>
              <a:rPr lang="ru-RU" sz="1200" dirty="0" smtClean="0"/>
              <a:t>этих сооружений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оставление </a:t>
            </a:r>
            <a:r>
              <a:rPr lang="ru-RU" sz="1200" dirty="0"/>
              <a:t>ситуационного плана и/или схемы генерального плана проектируемого </a:t>
            </a:r>
            <a:r>
              <a:rPr lang="ru-RU" sz="1200" dirty="0" smtClean="0"/>
              <a:t>объекта</a:t>
            </a:r>
            <a:endParaRPr lang="ru-RU" sz="12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068" y="1244470"/>
            <a:ext cx="1344977" cy="126163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952" y="5427106"/>
            <a:ext cx="814400" cy="8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97871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7" grpId="0"/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Овал 31"/>
          <p:cNvSpPr/>
          <p:nvPr/>
        </p:nvSpPr>
        <p:spPr>
          <a:xfrm>
            <a:off x="2318825" y="1085253"/>
            <a:ext cx="4464495" cy="3132348"/>
          </a:xfrm>
          <a:prstGeom prst="ellipse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432" y="1801786"/>
            <a:ext cx="1699283" cy="169928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827868" y="5445224"/>
            <a:ext cx="39267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/>
            </a:lvl1pPr>
          </a:lstStyle>
          <a:p>
            <a:r>
              <a:rPr lang="ru-RU" dirty="0" smtClean="0"/>
              <a:t>Распоряжение Федерального дорожного агентства об </a:t>
            </a:r>
            <a:r>
              <a:rPr lang="ru-RU" dirty="0"/>
              <a:t>утверждении </a:t>
            </a:r>
            <a:r>
              <a:rPr lang="ru-RU" dirty="0" smtClean="0"/>
              <a:t>документации по планировке территории</a:t>
            </a:r>
            <a:endParaRPr lang="ru-RU" dirty="0"/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ИНЖЕНЕРНЫЕ ИЗЫСКАНИЯ И ПРОЕКТНЫЕ РЕШЕНИЯ В ДОКУМЕНТАЦИИ ПО ПЛАНИРОВКЕ ТЕРРИТОРИИ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2" name="Прямоугольник с двумя вырезанными противолежащими углами 21"/>
          <p:cNvSpPr/>
          <p:nvPr/>
        </p:nvSpPr>
        <p:spPr>
          <a:xfrm>
            <a:off x="2375757" y="1081706"/>
            <a:ext cx="1368152" cy="720080"/>
          </a:xfrm>
          <a:prstGeom prst="snip2Diag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Инженерные изыскания</a:t>
            </a:r>
          </a:p>
        </p:txBody>
      </p:sp>
      <p:sp>
        <p:nvSpPr>
          <p:cNvPr id="24" name="Прямоугольник с двумя вырезанными противолежащими углами 23"/>
          <p:cNvSpPr/>
          <p:nvPr/>
        </p:nvSpPr>
        <p:spPr>
          <a:xfrm>
            <a:off x="1736279" y="3284984"/>
            <a:ext cx="2160241" cy="551032"/>
          </a:xfrm>
          <a:prstGeom prst="snip2Diag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ТУ на переустройство основных сетей</a:t>
            </a:r>
          </a:p>
        </p:txBody>
      </p:sp>
      <p:sp>
        <p:nvSpPr>
          <p:cNvPr id="25" name="Прямоугольник с двумя вырезанными противолежащими углами 24"/>
          <p:cNvSpPr/>
          <p:nvPr/>
        </p:nvSpPr>
        <p:spPr>
          <a:xfrm>
            <a:off x="1501231" y="2131051"/>
            <a:ext cx="1581903" cy="743366"/>
          </a:xfrm>
          <a:prstGeom prst="snip2Diag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Историко-культурное обследование</a:t>
            </a:r>
          </a:p>
        </p:txBody>
      </p:sp>
      <p:sp>
        <p:nvSpPr>
          <p:cNvPr id="26" name="Прямоугольник с двумя вырезанными противолежащими углами 25"/>
          <p:cNvSpPr/>
          <p:nvPr/>
        </p:nvSpPr>
        <p:spPr>
          <a:xfrm>
            <a:off x="5318820" y="1081706"/>
            <a:ext cx="1728192" cy="720080"/>
          </a:xfrm>
          <a:prstGeom prst="snip2Diag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Окончательный вариант трассы</a:t>
            </a:r>
          </a:p>
        </p:txBody>
      </p:sp>
      <p:sp>
        <p:nvSpPr>
          <p:cNvPr id="27" name="Прямоугольник с двумя вырезанными противолежащими углами 26"/>
          <p:cNvSpPr/>
          <p:nvPr/>
        </p:nvSpPr>
        <p:spPr>
          <a:xfrm>
            <a:off x="6084168" y="2142694"/>
            <a:ext cx="2376264" cy="720080"/>
          </a:xfrm>
          <a:prstGeom prst="snip2Diag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Определение основных технических (</a:t>
            </a:r>
            <a:r>
              <a:rPr lang="ru-RU" sz="1400" dirty="0" smtClean="0"/>
              <a:t>проектных) решений</a:t>
            </a:r>
            <a:endParaRPr lang="ru-RU" sz="1400" dirty="0"/>
          </a:p>
        </p:txBody>
      </p:sp>
      <p:sp>
        <p:nvSpPr>
          <p:cNvPr id="28" name="Прямоугольник с двумя вырезанными противолежащими углами 27"/>
          <p:cNvSpPr/>
          <p:nvPr/>
        </p:nvSpPr>
        <p:spPr>
          <a:xfrm>
            <a:off x="5278413" y="3284984"/>
            <a:ext cx="2952328" cy="551032"/>
          </a:xfrm>
          <a:prstGeom prst="snip2Diag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Расчет полосы отвода, проектирование красных линий</a:t>
            </a:r>
          </a:p>
        </p:txBody>
      </p:sp>
      <p:sp>
        <p:nvSpPr>
          <p:cNvPr id="29" name="Прямоугольник с двумя вырезанными противолежащими углами 28"/>
          <p:cNvSpPr/>
          <p:nvPr/>
        </p:nvSpPr>
        <p:spPr>
          <a:xfrm>
            <a:off x="2691461" y="4005064"/>
            <a:ext cx="3715034" cy="648072"/>
          </a:xfrm>
          <a:prstGeom prst="snip2Diag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Технико-экономическое обоснование</a:t>
            </a:r>
          </a:p>
          <a:p>
            <a:pPr algn="ctr"/>
            <a:r>
              <a:rPr lang="ru-RU" sz="1200" dirty="0"/>
              <a:t>(обоснование инвестиций) в обосновывающей</a:t>
            </a:r>
          </a:p>
          <a:p>
            <a:pPr algn="ctr"/>
            <a:r>
              <a:rPr lang="ru-RU" sz="1200" dirty="0"/>
              <a:t>части проекта планировки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444" y="5306464"/>
            <a:ext cx="877424" cy="877424"/>
          </a:xfrm>
          <a:prstGeom prst="rect">
            <a:avLst/>
          </a:prstGeom>
        </p:spPr>
      </p:pic>
      <p:sp>
        <p:nvSpPr>
          <p:cNvPr id="23" name="Стрелка вниз 22"/>
          <p:cNvSpPr/>
          <p:nvPr/>
        </p:nvSpPr>
        <p:spPr>
          <a:xfrm>
            <a:off x="4355976" y="4797152"/>
            <a:ext cx="360040" cy="648072"/>
          </a:xfrm>
          <a:prstGeom prst="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с двумя вырезанными противолежащими углами 32"/>
          <p:cNvSpPr/>
          <p:nvPr/>
        </p:nvSpPr>
        <p:spPr>
          <a:xfrm>
            <a:off x="6617517" y="4941168"/>
            <a:ext cx="1842915" cy="360040"/>
          </a:xfrm>
          <a:prstGeom prst="snip2Diag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Проведение ТЦА</a:t>
            </a:r>
          </a:p>
        </p:txBody>
      </p:sp>
      <p:cxnSp>
        <p:nvCxnSpPr>
          <p:cNvPr id="35" name="Прямая со стрелкой 34"/>
          <p:cNvCxnSpPr>
            <a:stCxn id="33" idx="2"/>
          </p:cNvCxnSpPr>
          <p:nvPr/>
        </p:nvCxnSpPr>
        <p:spPr>
          <a:xfrm flipH="1">
            <a:off x="4716016" y="5121188"/>
            <a:ext cx="1901501" cy="0"/>
          </a:xfrm>
          <a:prstGeom prst="straightConnector1">
            <a:avLst/>
          </a:prstGeom>
          <a:ln>
            <a:prstDash val="lgDash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Прямоугольник с двумя вырезанными противолежащими углами 16"/>
          <p:cNvSpPr/>
          <p:nvPr/>
        </p:nvSpPr>
        <p:spPr>
          <a:xfrm>
            <a:off x="270808" y="1124368"/>
            <a:ext cx="1060831" cy="634755"/>
          </a:xfrm>
          <a:prstGeom prst="snip2Diag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Контроль качества</a:t>
            </a:r>
          </a:p>
          <a:p>
            <a:pPr algn="ctr"/>
            <a:r>
              <a:rPr lang="ru-RU" sz="1200" dirty="0" smtClean="0"/>
              <a:t>изысканий</a:t>
            </a:r>
            <a:endParaRPr lang="ru-RU" sz="1200" dirty="0"/>
          </a:p>
        </p:txBody>
      </p:sp>
      <p:cxnSp>
        <p:nvCxnSpPr>
          <p:cNvPr id="18" name="Прямая со стрелкой 17"/>
          <p:cNvCxnSpPr>
            <a:stCxn id="17" idx="0"/>
            <a:endCxn id="22" idx="2"/>
          </p:cNvCxnSpPr>
          <p:nvPr/>
        </p:nvCxnSpPr>
        <p:spPr>
          <a:xfrm>
            <a:off x="1331639" y="1441746"/>
            <a:ext cx="1044118" cy="0"/>
          </a:xfrm>
          <a:prstGeom prst="straightConnector1">
            <a:avLst/>
          </a:prstGeom>
          <a:ln>
            <a:prstDash val="lgDash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06532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833686" y="1207203"/>
            <a:ext cx="2160355" cy="504706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67544" y="1268760"/>
            <a:ext cx="3672408" cy="403403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539552" y="899428"/>
            <a:ext cx="60489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Последствия не выполнения инженерных изысканий на стадии ДПТ:</a:t>
            </a:r>
          </a:p>
        </p:txBody>
      </p:sp>
      <p:pic>
        <p:nvPicPr>
          <p:cNvPr id="2051" name="Picture 3" descr="R:\Проекты\Документация по планировке территории\01_М-1 Беларусь\км 84 - км 456\01_Документация по планировке территории\01_Утверждаемая часть\02_Графические материалы JPEG\1_Основной чертеж\Часть_3\04_Вяземский\Отчет 47__550-60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45" t="11756" r="6027" b="11755"/>
          <a:stretch/>
        </p:blipFill>
        <p:spPr bwMode="auto">
          <a:xfrm>
            <a:off x="539552" y="1357425"/>
            <a:ext cx="3500936" cy="3885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2" r="14389"/>
          <a:stretch/>
        </p:blipFill>
        <p:spPr>
          <a:xfrm rot="5400000">
            <a:off x="3474681" y="2654111"/>
            <a:ext cx="4844239" cy="207353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4576992"/>
            <a:ext cx="1300280" cy="1300280"/>
          </a:xfrm>
          <a:prstGeom prst="rect">
            <a:avLst/>
          </a:prstGeom>
        </p:spPr>
      </p:pic>
      <p:sp>
        <p:nvSpPr>
          <p:cNvPr id="5" name="Стрелка вправо 4"/>
          <p:cNvSpPr/>
          <p:nvPr/>
        </p:nvSpPr>
        <p:spPr>
          <a:xfrm>
            <a:off x="4283968" y="3033748"/>
            <a:ext cx="432048" cy="504056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ИНЖЕНЕРНЫЕ ИЗЫСКАНИЯ И ПРОЕКТНЫЕ РЕШЕНИЯ В ДОКУМЕНТАЦИИ ПО ПЛАНИРОВКЕ ТЕРРИТОРИИ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2004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0922" y="960983"/>
            <a:ext cx="86663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Детализация планировочных решений, принятых на основании достаточных инженерных изысканий: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14" t="7478" r="15318" b="10970"/>
          <a:stretch/>
        </p:blipFill>
        <p:spPr bwMode="auto">
          <a:xfrm>
            <a:off x="399909" y="1340767"/>
            <a:ext cx="4014457" cy="2489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0" t="9048" r="16984" b="7848"/>
          <a:stretch/>
        </p:blipFill>
        <p:spPr bwMode="auto">
          <a:xfrm>
            <a:off x="399908" y="3942484"/>
            <a:ext cx="3074674" cy="2150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0" t="9612" r="30159" b="12646"/>
          <a:stretch/>
        </p:blipFill>
        <p:spPr bwMode="auto">
          <a:xfrm>
            <a:off x="4623443" y="1340767"/>
            <a:ext cx="3831625" cy="2489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ИНЖЕНЕРНЫЕ ИЗЫСКАНИЯ </a:t>
            </a:r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И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ПРОЕКТНЫЕ РЕШЕНИЯ В ДОКУМЕНТАЦИИ ПО ПЛАНИРОВКЕ ТЕРРИТОРИИ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75" t="9961" r="33039" b="10945"/>
          <a:stretch/>
        </p:blipFill>
        <p:spPr bwMode="auto">
          <a:xfrm>
            <a:off x="4067944" y="3957704"/>
            <a:ext cx="1536618" cy="2150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599" y="4653136"/>
            <a:ext cx="1304735" cy="978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9828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88640"/>
            <a:ext cx="6192688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ПЛАН-ГРАФИК ПОДГОТОВКИ ПРОЕКТА МОСКВА – НИЖНИЙ НОВГОРОД - КАЗАНЬ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609527" y="2621949"/>
            <a:ext cx="6190702" cy="3612004"/>
            <a:chOff x="352425" y="1519709"/>
            <a:chExt cx="8578851" cy="5005388"/>
          </a:xfrm>
          <a:pattFill prst="dkUpDiag">
            <a:fgClr>
              <a:schemeClr val="accent6">
                <a:lumMod val="40000"/>
                <a:lumOff val="60000"/>
              </a:schemeClr>
            </a:fgClr>
            <a:bgClr>
              <a:schemeClr val="bg1"/>
            </a:bgClr>
          </a:pattFill>
          <a:effectLst/>
        </p:grpSpPr>
        <p:sp>
          <p:nvSpPr>
            <p:cNvPr id="5" name="Freeform 72"/>
            <p:cNvSpPr>
              <a:spLocks/>
            </p:cNvSpPr>
            <p:nvPr/>
          </p:nvSpPr>
          <p:spPr bwMode="auto">
            <a:xfrm>
              <a:off x="1203325" y="4385147"/>
              <a:ext cx="1574800" cy="1519238"/>
            </a:xfrm>
            <a:custGeom>
              <a:avLst/>
              <a:gdLst>
                <a:gd name="T0" fmla="*/ 376 w 495"/>
                <a:gd name="T1" fmla="*/ 451 h 477"/>
                <a:gd name="T2" fmla="*/ 338 w 495"/>
                <a:gd name="T3" fmla="*/ 460 h 477"/>
                <a:gd name="T4" fmla="*/ 303 w 495"/>
                <a:gd name="T5" fmla="*/ 434 h 477"/>
                <a:gd name="T6" fmla="*/ 259 w 495"/>
                <a:gd name="T7" fmla="*/ 420 h 477"/>
                <a:gd name="T8" fmla="*/ 217 w 495"/>
                <a:gd name="T9" fmla="*/ 407 h 477"/>
                <a:gd name="T10" fmla="*/ 196 w 495"/>
                <a:gd name="T11" fmla="*/ 351 h 477"/>
                <a:gd name="T12" fmla="*/ 152 w 495"/>
                <a:gd name="T13" fmla="*/ 336 h 477"/>
                <a:gd name="T14" fmla="*/ 93 w 495"/>
                <a:gd name="T15" fmla="*/ 357 h 477"/>
                <a:gd name="T16" fmla="*/ 64 w 495"/>
                <a:gd name="T17" fmla="*/ 320 h 477"/>
                <a:gd name="T18" fmla="*/ 48 w 495"/>
                <a:gd name="T19" fmla="*/ 305 h 477"/>
                <a:gd name="T20" fmla="*/ 31 w 495"/>
                <a:gd name="T21" fmla="*/ 292 h 477"/>
                <a:gd name="T22" fmla="*/ 19 w 495"/>
                <a:gd name="T23" fmla="*/ 263 h 477"/>
                <a:gd name="T24" fmla="*/ 1 w 495"/>
                <a:gd name="T25" fmla="*/ 235 h 477"/>
                <a:gd name="T26" fmla="*/ 10 w 495"/>
                <a:gd name="T27" fmla="*/ 221 h 477"/>
                <a:gd name="T28" fmla="*/ 41 w 495"/>
                <a:gd name="T29" fmla="*/ 189 h 477"/>
                <a:gd name="T30" fmla="*/ 47 w 495"/>
                <a:gd name="T31" fmla="*/ 155 h 477"/>
                <a:gd name="T32" fmla="*/ 66 w 495"/>
                <a:gd name="T33" fmla="*/ 146 h 477"/>
                <a:gd name="T34" fmla="*/ 73 w 495"/>
                <a:gd name="T35" fmla="*/ 119 h 477"/>
                <a:gd name="T36" fmla="*/ 91 w 495"/>
                <a:gd name="T37" fmla="*/ 100 h 477"/>
                <a:gd name="T38" fmla="*/ 125 w 495"/>
                <a:gd name="T39" fmla="*/ 89 h 477"/>
                <a:gd name="T40" fmla="*/ 149 w 495"/>
                <a:gd name="T41" fmla="*/ 80 h 477"/>
                <a:gd name="T42" fmla="*/ 173 w 495"/>
                <a:gd name="T43" fmla="*/ 71 h 477"/>
                <a:gd name="T44" fmla="*/ 201 w 495"/>
                <a:gd name="T45" fmla="*/ 77 h 477"/>
                <a:gd name="T46" fmla="*/ 231 w 495"/>
                <a:gd name="T47" fmla="*/ 71 h 477"/>
                <a:gd name="T48" fmla="*/ 256 w 495"/>
                <a:gd name="T49" fmla="*/ 47 h 477"/>
                <a:gd name="T50" fmla="*/ 258 w 495"/>
                <a:gd name="T51" fmla="*/ 20 h 477"/>
                <a:gd name="T52" fmla="*/ 304 w 495"/>
                <a:gd name="T53" fmla="*/ 10 h 477"/>
                <a:gd name="T54" fmla="*/ 301 w 495"/>
                <a:gd name="T55" fmla="*/ 37 h 477"/>
                <a:gd name="T56" fmla="*/ 287 w 495"/>
                <a:gd name="T57" fmla="*/ 58 h 477"/>
                <a:gd name="T58" fmla="*/ 295 w 495"/>
                <a:gd name="T59" fmla="*/ 84 h 477"/>
                <a:gd name="T60" fmla="*/ 320 w 495"/>
                <a:gd name="T61" fmla="*/ 73 h 477"/>
                <a:gd name="T62" fmla="*/ 341 w 495"/>
                <a:gd name="T63" fmla="*/ 78 h 477"/>
                <a:gd name="T64" fmla="*/ 359 w 495"/>
                <a:gd name="T65" fmla="*/ 65 h 477"/>
                <a:gd name="T66" fmla="*/ 372 w 495"/>
                <a:gd name="T67" fmla="*/ 56 h 477"/>
                <a:gd name="T68" fmla="*/ 385 w 495"/>
                <a:gd name="T69" fmla="*/ 67 h 477"/>
                <a:gd name="T70" fmla="*/ 417 w 495"/>
                <a:gd name="T71" fmla="*/ 75 h 477"/>
                <a:gd name="T72" fmla="*/ 438 w 495"/>
                <a:gd name="T73" fmla="*/ 78 h 477"/>
                <a:gd name="T74" fmla="*/ 493 w 495"/>
                <a:gd name="T75" fmla="*/ 89 h 477"/>
                <a:gd name="T76" fmla="*/ 480 w 495"/>
                <a:gd name="T77" fmla="*/ 121 h 477"/>
                <a:gd name="T78" fmla="*/ 445 w 495"/>
                <a:gd name="T79" fmla="*/ 163 h 477"/>
                <a:gd name="T80" fmla="*/ 448 w 495"/>
                <a:gd name="T81" fmla="*/ 193 h 477"/>
                <a:gd name="T82" fmla="*/ 427 w 495"/>
                <a:gd name="T83" fmla="*/ 215 h 477"/>
                <a:gd name="T84" fmla="*/ 401 w 495"/>
                <a:gd name="T85" fmla="*/ 229 h 477"/>
                <a:gd name="T86" fmla="*/ 371 w 495"/>
                <a:gd name="T87" fmla="*/ 253 h 477"/>
                <a:gd name="T88" fmla="*/ 404 w 495"/>
                <a:gd name="T89" fmla="*/ 270 h 477"/>
                <a:gd name="T90" fmla="*/ 386 w 495"/>
                <a:gd name="T91" fmla="*/ 302 h 477"/>
                <a:gd name="T92" fmla="*/ 365 w 495"/>
                <a:gd name="T93" fmla="*/ 293 h 477"/>
                <a:gd name="T94" fmla="*/ 350 w 495"/>
                <a:gd name="T95" fmla="*/ 308 h 477"/>
                <a:gd name="T96" fmla="*/ 369 w 495"/>
                <a:gd name="T97" fmla="*/ 329 h 477"/>
                <a:gd name="T98" fmla="*/ 387 w 495"/>
                <a:gd name="T99" fmla="*/ 340 h 477"/>
                <a:gd name="T100" fmla="*/ 369 w 495"/>
                <a:gd name="T101" fmla="*/ 343 h 477"/>
                <a:gd name="T102" fmla="*/ 349 w 495"/>
                <a:gd name="T103" fmla="*/ 372 h 477"/>
                <a:gd name="T104" fmla="*/ 335 w 495"/>
                <a:gd name="T105" fmla="*/ 396 h 477"/>
                <a:gd name="T106" fmla="*/ 359 w 495"/>
                <a:gd name="T107" fmla="*/ 405 h 477"/>
                <a:gd name="T108" fmla="*/ 358 w 495"/>
                <a:gd name="T109" fmla="*/ 422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5" h="477">
                  <a:moveTo>
                    <a:pt x="358" y="422"/>
                  </a:moveTo>
                  <a:cubicBezTo>
                    <a:pt x="358" y="422"/>
                    <a:pt x="357" y="422"/>
                    <a:pt x="357" y="422"/>
                  </a:cubicBezTo>
                  <a:cubicBezTo>
                    <a:pt x="353" y="425"/>
                    <a:pt x="363" y="433"/>
                    <a:pt x="365" y="438"/>
                  </a:cubicBezTo>
                  <a:cubicBezTo>
                    <a:pt x="368" y="443"/>
                    <a:pt x="371" y="446"/>
                    <a:pt x="376" y="451"/>
                  </a:cubicBezTo>
                  <a:cubicBezTo>
                    <a:pt x="381" y="456"/>
                    <a:pt x="378" y="459"/>
                    <a:pt x="375" y="465"/>
                  </a:cubicBezTo>
                  <a:cubicBezTo>
                    <a:pt x="372" y="471"/>
                    <a:pt x="371" y="477"/>
                    <a:pt x="362" y="476"/>
                  </a:cubicBezTo>
                  <a:cubicBezTo>
                    <a:pt x="353" y="474"/>
                    <a:pt x="343" y="470"/>
                    <a:pt x="343" y="467"/>
                  </a:cubicBezTo>
                  <a:cubicBezTo>
                    <a:pt x="343" y="464"/>
                    <a:pt x="339" y="460"/>
                    <a:pt x="338" y="460"/>
                  </a:cubicBezTo>
                  <a:cubicBezTo>
                    <a:pt x="336" y="460"/>
                    <a:pt x="333" y="465"/>
                    <a:pt x="330" y="465"/>
                  </a:cubicBezTo>
                  <a:cubicBezTo>
                    <a:pt x="327" y="465"/>
                    <a:pt x="317" y="457"/>
                    <a:pt x="315" y="453"/>
                  </a:cubicBezTo>
                  <a:cubicBezTo>
                    <a:pt x="312" y="449"/>
                    <a:pt x="309" y="447"/>
                    <a:pt x="312" y="441"/>
                  </a:cubicBezTo>
                  <a:cubicBezTo>
                    <a:pt x="315" y="435"/>
                    <a:pt x="307" y="438"/>
                    <a:pt x="303" y="434"/>
                  </a:cubicBezTo>
                  <a:cubicBezTo>
                    <a:pt x="299" y="429"/>
                    <a:pt x="297" y="429"/>
                    <a:pt x="295" y="432"/>
                  </a:cubicBezTo>
                  <a:cubicBezTo>
                    <a:pt x="294" y="435"/>
                    <a:pt x="283" y="440"/>
                    <a:pt x="282" y="436"/>
                  </a:cubicBezTo>
                  <a:cubicBezTo>
                    <a:pt x="282" y="432"/>
                    <a:pt x="280" y="426"/>
                    <a:pt x="277" y="422"/>
                  </a:cubicBezTo>
                  <a:cubicBezTo>
                    <a:pt x="273" y="417"/>
                    <a:pt x="266" y="415"/>
                    <a:pt x="259" y="420"/>
                  </a:cubicBezTo>
                  <a:cubicBezTo>
                    <a:pt x="253" y="425"/>
                    <a:pt x="241" y="428"/>
                    <a:pt x="241" y="424"/>
                  </a:cubicBezTo>
                  <a:cubicBezTo>
                    <a:pt x="241" y="420"/>
                    <a:pt x="233" y="410"/>
                    <a:pt x="232" y="405"/>
                  </a:cubicBezTo>
                  <a:cubicBezTo>
                    <a:pt x="231" y="400"/>
                    <a:pt x="225" y="400"/>
                    <a:pt x="224" y="406"/>
                  </a:cubicBezTo>
                  <a:cubicBezTo>
                    <a:pt x="224" y="412"/>
                    <a:pt x="214" y="415"/>
                    <a:pt x="217" y="407"/>
                  </a:cubicBezTo>
                  <a:cubicBezTo>
                    <a:pt x="219" y="400"/>
                    <a:pt x="220" y="398"/>
                    <a:pt x="219" y="395"/>
                  </a:cubicBezTo>
                  <a:cubicBezTo>
                    <a:pt x="218" y="391"/>
                    <a:pt x="215" y="384"/>
                    <a:pt x="214" y="377"/>
                  </a:cubicBezTo>
                  <a:cubicBezTo>
                    <a:pt x="214" y="370"/>
                    <a:pt x="210" y="369"/>
                    <a:pt x="201" y="364"/>
                  </a:cubicBezTo>
                  <a:cubicBezTo>
                    <a:pt x="191" y="358"/>
                    <a:pt x="196" y="357"/>
                    <a:pt x="196" y="351"/>
                  </a:cubicBezTo>
                  <a:cubicBezTo>
                    <a:pt x="196" y="346"/>
                    <a:pt x="189" y="345"/>
                    <a:pt x="185" y="346"/>
                  </a:cubicBezTo>
                  <a:cubicBezTo>
                    <a:pt x="180" y="347"/>
                    <a:pt x="175" y="349"/>
                    <a:pt x="174" y="346"/>
                  </a:cubicBezTo>
                  <a:cubicBezTo>
                    <a:pt x="173" y="343"/>
                    <a:pt x="174" y="340"/>
                    <a:pt x="169" y="333"/>
                  </a:cubicBezTo>
                  <a:cubicBezTo>
                    <a:pt x="163" y="327"/>
                    <a:pt x="158" y="333"/>
                    <a:pt x="152" y="336"/>
                  </a:cubicBezTo>
                  <a:cubicBezTo>
                    <a:pt x="146" y="339"/>
                    <a:pt x="132" y="338"/>
                    <a:pt x="131" y="336"/>
                  </a:cubicBezTo>
                  <a:cubicBezTo>
                    <a:pt x="130" y="334"/>
                    <a:pt x="125" y="331"/>
                    <a:pt x="122" y="337"/>
                  </a:cubicBezTo>
                  <a:cubicBezTo>
                    <a:pt x="119" y="342"/>
                    <a:pt x="115" y="340"/>
                    <a:pt x="106" y="338"/>
                  </a:cubicBezTo>
                  <a:cubicBezTo>
                    <a:pt x="98" y="337"/>
                    <a:pt x="95" y="345"/>
                    <a:pt x="93" y="357"/>
                  </a:cubicBezTo>
                  <a:cubicBezTo>
                    <a:pt x="91" y="368"/>
                    <a:pt x="74" y="360"/>
                    <a:pt x="75" y="354"/>
                  </a:cubicBezTo>
                  <a:cubicBezTo>
                    <a:pt x="76" y="349"/>
                    <a:pt x="76" y="337"/>
                    <a:pt x="74" y="330"/>
                  </a:cubicBezTo>
                  <a:cubicBezTo>
                    <a:pt x="73" y="325"/>
                    <a:pt x="69" y="328"/>
                    <a:pt x="65" y="333"/>
                  </a:cubicBezTo>
                  <a:cubicBezTo>
                    <a:pt x="64" y="320"/>
                    <a:pt x="64" y="320"/>
                    <a:pt x="64" y="320"/>
                  </a:cubicBezTo>
                  <a:cubicBezTo>
                    <a:pt x="59" y="316"/>
                    <a:pt x="59" y="316"/>
                    <a:pt x="59" y="316"/>
                  </a:cubicBezTo>
                  <a:cubicBezTo>
                    <a:pt x="58" y="309"/>
                    <a:pt x="58" y="309"/>
                    <a:pt x="58" y="309"/>
                  </a:cubicBezTo>
                  <a:cubicBezTo>
                    <a:pt x="52" y="308"/>
                    <a:pt x="52" y="308"/>
                    <a:pt x="52" y="308"/>
                  </a:cubicBezTo>
                  <a:cubicBezTo>
                    <a:pt x="48" y="305"/>
                    <a:pt x="48" y="305"/>
                    <a:pt x="48" y="305"/>
                  </a:cubicBezTo>
                  <a:cubicBezTo>
                    <a:pt x="47" y="298"/>
                    <a:pt x="47" y="298"/>
                    <a:pt x="47" y="298"/>
                  </a:cubicBezTo>
                  <a:cubicBezTo>
                    <a:pt x="41" y="295"/>
                    <a:pt x="41" y="295"/>
                    <a:pt x="41" y="295"/>
                  </a:cubicBezTo>
                  <a:cubicBezTo>
                    <a:pt x="37" y="298"/>
                    <a:pt x="37" y="298"/>
                    <a:pt x="37" y="298"/>
                  </a:cubicBezTo>
                  <a:cubicBezTo>
                    <a:pt x="31" y="292"/>
                    <a:pt x="31" y="292"/>
                    <a:pt x="31" y="292"/>
                  </a:cubicBezTo>
                  <a:cubicBezTo>
                    <a:pt x="38" y="284"/>
                    <a:pt x="38" y="284"/>
                    <a:pt x="38" y="284"/>
                  </a:cubicBezTo>
                  <a:cubicBezTo>
                    <a:pt x="38" y="273"/>
                    <a:pt x="38" y="273"/>
                    <a:pt x="38" y="273"/>
                  </a:cubicBezTo>
                  <a:cubicBezTo>
                    <a:pt x="25" y="261"/>
                    <a:pt x="25" y="261"/>
                    <a:pt x="25" y="261"/>
                  </a:cubicBezTo>
                  <a:cubicBezTo>
                    <a:pt x="19" y="263"/>
                    <a:pt x="19" y="263"/>
                    <a:pt x="19" y="263"/>
                  </a:cubicBezTo>
                  <a:cubicBezTo>
                    <a:pt x="19" y="258"/>
                    <a:pt x="19" y="258"/>
                    <a:pt x="19" y="258"/>
                  </a:cubicBezTo>
                  <a:cubicBezTo>
                    <a:pt x="19" y="258"/>
                    <a:pt x="15" y="257"/>
                    <a:pt x="11" y="254"/>
                  </a:cubicBezTo>
                  <a:cubicBezTo>
                    <a:pt x="8" y="252"/>
                    <a:pt x="3" y="253"/>
                    <a:pt x="3" y="253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1" y="224"/>
                    <a:pt x="1" y="224"/>
                    <a:pt x="1" y="224"/>
                  </a:cubicBezTo>
                  <a:cubicBezTo>
                    <a:pt x="10" y="221"/>
                    <a:pt x="10" y="221"/>
                    <a:pt x="10" y="221"/>
                  </a:cubicBezTo>
                  <a:cubicBezTo>
                    <a:pt x="29" y="208"/>
                    <a:pt x="29" y="208"/>
                    <a:pt x="29" y="208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41" y="203"/>
                    <a:pt x="41" y="203"/>
                    <a:pt x="41" y="203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55" y="155"/>
                    <a:pt x="55" y="155"/>
                    <a:pt x="55" y="155"/>
                  </a:cubicBezTo>
                  <a:cubicBezTo>
                    <a:pt x="60" y="150"/>
                    <a:pt x="60" y="150"/>
                    <a:pt x="60" y="150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66" y="146"/>
                    <a:pt x="66" y="146"/>
                    <a:pt x="66" y="146"/>
                  </a:cubicBezTo>
                  <a:cubicBezTo>
                    <a:pt x="70" y="139"/>
                    <a:pt x="70" y="139"/>
                    <a:pt x="70" y="139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1" y="127"/>
                    <a:pt x="81" y="127"/>
                    <a:pt x="81" y="127"/>
                  </a:cubicBezTo>
                  <a:cubicBezTo>
                    <a:pt x="73" y="119"/>
                    <a:pt x="73" y="119"/>
                    <a:pt x="73" y="119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91" y="100"/>
                    <a:pt x="91" y="100"/>
                    <a:pt x="91" y="100"/>
                  </a:cubicBezTo>
                  <a:cubicBezTo>
                    <a:pt x="100" y="99"/>
                    <a:pt x="100" y="99"/>
                    <a:pt x="100" y="99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8" y="95"/>
                    <a:pt x="118" y="95"/>
                    <a:pt x="118" y="95"/>
                  </a:cubicBezTo>
                  <a:cubicBezTo>
                    <a:pt x="125" y="89"/>
                    <a:pt x="125" y="89"/>
                    <a:pt x="125" y="89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2" y="75"/>
                    <a:pt x="132" y="75"/>
                    <a:pt x="132" y="75"/>
                  </a:cubicBezTo>
                  <a:cubicBezTo>
                    <a:pt x="138" y="82"/>
                    <a:pt x="138" y="82"/>
                    <a:pt x="138" y="82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70" y="76"/>
                    <a:pt x="170" y="76"/>
                    <a:pt x="170" y="76"/>
                  </a:cubicBezTo>
                  <a:cubicBezTo>
                    <a:pt x="173" y="71"/>
                    <a:pt x="173" y="71"/>
                    <a:pt x="173" y="71"/>
                  </a:cubicBezTo>
                  <a:cubicBezTo>
                    <a:pt x="179" y="72"/>
                    <a:pt x="179" y="72"/>
                    <a:pt x="179" y="72"/>
                  </a:cubicBezTo>
                  <a:cubicBezTo>
                    <a:pt x="188" y="66"/>
                    <a:pt x="188" y="66"/>
                    <a:pt x="188" y="66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201" y="77"/>
                    <a:pt x="201" y="77"/>
                    <a:pt x="201" y="77"/>
                  </a:cubicBezTo>
                  <a:cubicBezTo>
                    <a:pt x="212" y="77"/>
                    <a:pt x="212" y="77"/>
                    <a:pt x="212" y="77"/>
                  </a:cubicBezTo>
                  <a:cubicBezTo>
                    <a:pt x="215" y="80"/>
                    <a:pt x="215" y="80"/>
                    <a:pt x="215" y="80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42" y="70"/>
                    <a:pt x="242" y="70"/>
                    <a:pt x="242" y="70"/>
                  </a:cubicBezTo>
                  <a:cubicBezTo>
                    <a:pt x="254" y="70"/>
                    <a:pt x="254" y="70"/>
                    <a:pt x="254" y="70"/>
                  </a:cubicBezTo>
                  <a:cubicBezTo>
                    <a:pt x="256" y="47"/>
                    <a:pt x="256" y="47"/>
                    <a:pt x="256" y="47"/>
                  </a:cubicBezTo>
                  <a:cubicBezTo>
                    <a:pt x="262" y="40"/>
                    <a:pt x="262" y="40"/>
                    <a:pt x="262" y="40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258" y="20"/>
                    <a:pt x="258" y="20"/>
                    <a:pt x="258" y="20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304" y="10"/>
                    <a:pt x="304" y="10"/>
                    <a:pt x="304" y="10"/>
                  </a:cubicBezTo>
                  <a:cubicBezTo>
                    <a:pt x="303" y="16"/>
                    <a:pt x="303" y="16"/>
                    <a:pt x="303" y="16"/>
                  </a:cubicBezTo>
                  <a:cubicBezTo>
                    <a:pt x="308" y="19"/>
                    <a:pt x="308" y="19"/>
                    <a:pt x="308" y="19"/>
                  </a:cubicBezTo>
                  <a:cubicBezTo>
                    <a:pt x="303" y="27"/>
                    <a:pt x="303" y="27"/>
                    <a:pt x="303" y="27"/>
                  </a:cubicBezTo>
                  <a:cubicBezTo>
                    <a:pt x="301" y="37"/>
                    <a:pt x="301" y="37"/>
                    <a:pt x="301" y="37"/>
                  </a:cubicBezTo>
                  <a:cubicBezTo>
                    <a:pt x="293" y="38"/>
                    <a:pt x="293" y="38"/>
                    <a:pt x="293" y="38"/>
                  </a:cubicBezTo>
                  <a:cubicBezTo>
                    <a:pt x="292" y="46"/>
                    <a:pt x="292" y="46"/>
                    <a:pt x="292" y="46"/>
                  </a:cubicBezTo>
                  <a:cubicBezTo>
                    <a:pt x="287" y="51"/>
                    <a:pt x="287" y="51"/>
                    <a:pt x="287" y="51"/>
                  </a:cubicBezTo>
                  <a:cubicBezTo>
                    <a:pt x="287" y="58"/>
                    <a:pt x="287" y="58"/>
                    <a:pt x="287" y="58"/>
                  </a:cubicBezTo>
                  <a:cubicBezTo>
                    <a:pt x="293" y="63"/>
                    <a:pt x="293" y="63"/>
                    <a:pt x="293" y="63"/>
                  </a:cubicBezTo>
                  <a:cubicBezTo>
                    <a:pt x="293" y="77"/>
                    <a:pt x="293" y="77"/>
                    <a:pt x="293" y="77"/>
                  </a:cubicBezTo>
                  <a:cubicBezTo>
                    <a:pt x="292" y="81"/>
                    <a:pt x="292" y="81"/>
                    <a:pt x="292" y="81"/>
                  </a:cubicBezTo>
                  <a:cubicBezTo>
                    <a:pt x="295" y="84"/>
                    <a:pt x="295" y="84"/>
                    <a:pt x="295" y="84"/>
                  </a:cubicBezTo>
                  <a:cubicBezTo>
                    <a:pt x="302" y="77"/>
                    <a:pt x="302" y="77"/>
                    <a:pt x="302" y="77"/>
                  </a:cubicBezTo>
                  <a:cubicBezTo>
                    <a:pt x="304" y="69"/>
                    <a:pt x="304" y="69"/>
                    <a:pt x="304" y="69"/>
                  </a:cubicBezTo>
                  <a:cubicBezTo>
                    <a:pt x="311" y="67"/>
                    <a:pt x="311" y="67"/>
                    <a:pt x="311" y="67"/>
                  </a:cubicBezTo>
                  <a:cubicBezTo>
                    <a:pt x="320" y="73"/>
                    <a:pt x="320" y="73"/>
                    <a:pt x="320" y="73"/>
                  </a:cubicBezTo>
                  <a:cubicBezTo>
                    <a:pt x="324" y="76"/>
                    <a:pt x="324" y="76"/>
                    <a:pt x="324" y="76"/>
                  </a:cubicBezTo>
                  <a:cubicBezTo>
                    <a:pt x="331" y="70"/>
                    <a:pt x="331" y="70"/>
                    <a:pt x="331" y="70"/>
                  </a:cubicBezTo>
                  <a:cubicBezTo>
                    <a:pt x="336" y="78"/>
                    <a:pt x="336" y="78"/>
                    <a:pt x="336" y="78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5" y="73"/>
                    <a:pt x="345" y="73"/>
                    <a:pt x="345" y="73"/>
                  </a:cubicBezTo>
                  <a:cubicBezTo>
                    <a:pt x="357" y="72"/>
                    <a:pt x="357" y="72"/>
                    <a:pt x="357" y="72"/>
                  </a:cubicBezTo>
                  <a:cubicBezTo>
                    <a:pt x="359" y="69"/>
                    <a:pt x="359" y="69"/>
                    <a:pt x="359" y="69"/>
                  </a:cubicBezTo>
                  <a:cubicBezTo>
                    <a:pt x="359" y="65"/>
                    <a:pt x="359" y="65"/>
                    <a:pt x="359" y="65"/>
                  </a:cubicBezTo>
                  <a:cubicBezTo>
                    <a:pt x="355" y="62"/>
                    <a:pt x="355" y="62"/>
                    <a:pt x="355" y="62"/>
                  </a:cubicBezTo>
                  <a:cubicBezTo>
                    <a:pt x="360" y="54"/>
                    <a:pt x="360" y="54"/>
                    <a:pt x="360" y="54"/>
                  </a:cubicBezTo>
                  <a:cubicBezTo>
                    <a:pt x="369" y="58"/>
                    <a:pt x="369" y="58"/>
                    <a:pt x="369" y="58"/>
                  </a:cubicBezTo>
                  <a:cubicBezTo>
                    <a:pt x="372" y="56"/>
                    <a:pt x="372" y="56"/>
                    <a:pt x="372" y="56"/>
                  </a:cubicBezTo>
                  <a:cubicBezTo>
                    <a:pt x="374" y="57"/>
                    <a:pt x="374" y="57"/>
                    <a:pt x="374" y="57"/>
                  </a:cubicBezTo>
                  <a:cubicBezTo>
                    <a:pt x="379" y="53"/>
                    <a:pt x="379" y="53"/>
                    <a:pt x="379" y="53"/>
                  </a:cubicBezTo>
                  <a:cubicBezTo>
                    <a:pt x="385" y="58"/>
                    <a:pt x="385" y="58"/>
                    <a:pt x="385" y="58"/>
                  </a:cubicBezTo>
                  <a:cubicBezTo>
                    <a:pt x="385" y="67"/>
                    <a:pt x="385" y="67"/>
                    <a:pt x="385" y="67"/>
                  </a:cubicBezTo>
                  <a:cubicBezTo>
                    <a:pt x="390" y="71"/>
                    <a:pt x="390" y="71"/>
                    <a:pt x="390" y="71"/>
                  </a:cubicBezTo>
                  <a:cubicBezTo>
                    <a:pt x="398" y="69"/>
                    <a:pt x="398" y="69"/>
                    <a:pt x="398" y="69"/>
                  </a:cubicBezTo>
                  <a:cubicBezTo>
                    <a:pt x="410" y="78"/>
                    <a:pt x="410" y="78"/>
                    <a:pt x="410" y="78"/>
                  </a:cubicBezTo>
                  <a:cubicBezTo>
                    <a:pt x="417" y="75"/>
                    <a:pt x="417" y="75"/>
                    <a:pt x="417" y="75"/>
                  </a:cubicBezTo>
                  <a:cubicBezTo>
                    <a:pt x="425" y="80"/>
                    <a:pt x="425" y="80"/>
                    <a:pt x="425" y="80"/>
                  </a:cubicBezTo>
                  <a:cubicBezTo>
                    <a:pt x="429" y="74"/>
                    <a:pt x="429" y="74"/>
                    <a:pt x="429" y="74"/>
                  </a:cubicBezTo>
                  <a:cubicBezTo>
                    <a:pt x="435" y="76"/>
                    <a:pt x="435" y="76"/>
                    <a:pt x="435" y="76"/>
                  </a:cubicBezTo>
                  <a:cubicBezTo>
                    <a:pt x="438" y="78"/>
                    <a:pt x="438" y="78"/>
                    <a:pt x="438" y="78"/>
                  </a:cubicBezTo>
                  <a:cubicBezTo>
                    <a:pt x="445" y="71"/>
                    <a:pt x="445" y="71"/>
                    <a:pt x="445" y="71"/>
                  </a:cubicBezTo>
                  <a:cubicBezTo>
                    <a:pt x="455" y="74"/>
                    <a:pt x="455" y="74"/>
                    <a:pt x="455" y="74"/>
                  </a:cubicBezTo>
                  <a:cubicBezTo>
                    <a:pt x="478" y="87"/>
                    <a:pt x="478" y="87"/>
                    <a:pt x="478" y="87"/>
                  </a:cubicBezTo>
                  <a:cubicBezTo>
                    <a:pt x="493" y="89"/>
                    <a:pt x="493" y="89"/>
                    <a:pt x="493" y="89"/>
                  </a:cubicBezTo>
                  <a:cubicBezTo>
                    <a:pt x="495" y="98"/>
                    <a:pt x="495" y="98"/>
                    <a:pt x="495" y="98"/>
                  </a:cubicBezTo>
                  <a:cubicBezTo>
                    <a:pt x="485" y="101"/>
                    <a:pt x="485" y="101"/>
                    <a:pt x="485" y="101"/>
                  </a:cubicBezTo>
                  <a:cubicBezTo>
                    <a:pt x="485" y="113"/>
                    <a:pt x="485" y="113"/>
                    <a:pt x="485" y="113"/>
                  </a:cubicBezTo>
                  <a:cubicBezTo>
                    <a:pt x="480" y="121"/>
                    <a:pt x="480" y="121"/>
                    <a:pt x="480" y="121"/>
                  </a:cubicBezTo>
                  <a:cubicBezTo>
                    <a:pt x="463" y="144"/>
                    <a:pt x="463" y="144"/>
                    <a:pt x="463" y="144"/>
                  </a:cubicBezTo>
                  <a:cubicBezTo>
                    <a:pt x="451" y="144"/>
                    <a:pt x="451" y="144"/>
                    <a:pt x="451" y="144"/>
                  </a:cubicBezTo>
                  <a:cubicBezTo>
                    <a:pt x="445" y="153"/>
                    <a:pt x="445" y="153"/>
                    <a:pt x="445" y="153"/>
                  </a:cubicBezTo>
                  <a:cubicBezTo>
                    <a:pt x="445" y="163"/>
                    <a:pt x="445" y="163"/>
                    <a:pt x="445" y="163"/>
                  </a:cubicBezTo>
                  <a:cubicBezTo>
                    <a:pt x="450" y="169"/>
                    <a:pt x="450" y="169"/>
                    <a:pt x="450" y="169"/>
                  </a:cubicBezTo>
                  <a:cubicBezTo>
                    <a:pt x="450" y="178"/>
                    <a:pt x="450" y="178"/>
                    <a:pt x="450" y="178"/>
                  </a:cubicBezTo>
                  <a:cubicBezTo>
                    <a:pt x="442" y="185"/>
                    <a:pt x="442" y="185"/>
                    <a:pt x="442" y="185"/>
                  </a:cubicBezTo>
                  <a:cubicBezTo>
                    <a:pt x="448" y="193"/>
                    <a:pt x="448" y="193"/>
                    <a:pt x="448" y="193"/>
                  </a:cubicBezTo>
                  <a:cubicBezTo>
                    <a:pt x="439" y="203"/>
                    <a:pt x="439" y="203"/>
                    <a:pt x="439" y="203"/>
                  </a:cubicBezTo>
                  <a:cubicBezTo>
                    <a:pt x="430" y="202"/>
                    <a:pt x="430" y="202"/>
                    <a:pt x="430" y="202"/>
                  </a:cubicBezTo>
                  <a:cubicBezTo>
                    <a:pt x="422" y="207"/>
                    <a:pt x="422" y="207"/>
                    <a:pt x="422" y="207"/>
                  </a:cubicBezTo>
                  <a:cubicBezTo>
                    <a:pt x="427" y="215"/>
                    <a:pt x="427" y="215"/>
                    <a:pt x="427" y="215"/>
                  </a:cubicBezTo>
                  <a:cubicBezTo>
                    <a:pt x="419" y="222"/>
                    <a:pt x="419" y="222"/>
                    <a:pt x="419" y="222"/>
                  </a:cubicBezTo>
                  <a:cubicBezTo>
                    <a:pt x="412" y="215"/>
                    <a:pt x="412" y="215"/>
                    <a:pt x="412" y="215"/>
                  </a:cubicBezTo>
                  <a:cubicBezTo>
                    <a:pt x="405" y="218"/>
                    <a:pt x="405" y="218"/>
                    <a:pt x="405" y="218"/>
                  </a:cubicBezTo>
                  <a:cubicBezTo>
                    <a:pt x="401" y="229"/>
                    <a:pt x="401" y="229"/>
                    <a:pt x="401" y="229"/>
                  </a:cubicBezTo>
                  <a:cubicBezTo>
                    <a:pt x="395" y="233"/>
                    <a:pt x="395" y="233"/>
                    <a:pt x="395" y="233"/>
                  </a:cubicBezTo>
                  <a:cubicBezTo>
                    <a:pt x="382" y="232"/>
                    <a:pt x="382" y="232"/>
                    <a:pt x="382" y="232"/>
                  </a:cubicBezTo>
                  <a:cubicBezTo>
                    <a:pt x="380" y="243"/>
                    <a:pt x="380" y="243"/>
                    <a:pt x="380" y="243"/>
                  </a:cubicBezTo>
                  <a:cubicBezTo>
                    <a:pt x="371" y="253"/>
                    <a:pt x="371" y="253"/>
                    <a:pt x="371" y="253"/>
                  </a:cubicBezTo>
                  <a:cubicBezTo>
                    <a:pt x="383" y="268"/>
                    <a:pt x="383" y="268"/>
                    <a:pt x="383" y="268"/>
                  </a:cubicBezTo>
                  <a:cubicBezTo>
                    <a:pt x="392" y="269"/>
                    <a:pt x="392" y="269"/>
                    <a:pt x="392" y="269"/>
                  </a:cubicBezTo>
                  <a:cubicBezTo>
                    <a:pt x="396" y="277"/>
                    <a:pt x="396" y="277"/>
                    <a:pt x="396" y="277"/>
                  </a:cubicBezTo>
                  <a:cubicBezTo>
                    <a:pt x="404" y="270"/>
                    <a:pt x="404" y="270"/>
                    <a:pt x="404" y="270"/>
                  </a:cubicBezTo>
                  <a:cubicBezTo>
                    <a:pt x="404" y="283"/>
                    <a:pt x="404" y="283"/>
                    <a:pt x="404" y="283"/>
                  </a:cubicBezTo>
                  <a:cubicBezTo>
                    <a:pt x="404" y="283"/>
                    <a:pt x="400" y="291"/>
                    <a:pt x="399" y="291"/>
                  </a:cubicBezTo>
                  <a:cubicBezTo>
                    <a:pt x="399" y="292"/>
                    <a:pt x="396" y="299"/>
                    <a:pt x="396" y="299"/>
                  </a:cubicBezTo>
                  <a:cubicBezTo>
                    <a:pt x="386" y="302"/>
                    <a:pt x="386" y="302"/>
                    <a:pt x="386" y="302"/>
                  </a:cubicBezTo>
                  <a:cubicBezTo>
                    <a:pt x="382" y="308"/>
                    <a:pt x="382" y="308"/>
                    <a:pt x="382" y="308"/>
                  </a:cubicBezTo>
                  <a:cubicBezTo>
                    <a:pt x="373" y="306"/>
                    <a:pt x="373" y="306"/>
                    <a:pt x="373" y="306"/>
                  </a:cubicBezTo>
                  <a:cubicBezTo>
                    <a:pt x="373" y="298"/>
                    <a:pt x="373" y="298"/>
                    <a:pt x="373" y="298"/>
                  </a:cubicBezTo>
                  <a:cubicBezTo>
                    <a:pt x="365" y="293"/>
                    <a:pt x="365" y="293"/>
                    <a:pt x="365" y="293"/>
                  </a:cubicBezTo>
                  <a:cubicBezTo>
                    <a:pt x="357" y="288"/>
                    <a:pt x="357" y="288"/>
                    <a:pt x="357" y="288"/>
                  </a:cubicBezTo>
                  <a:cubicBezTo>
                    <a:pt x="350" y="290"/>
                    <a:pt x="350" y="290"/>
                    <a:pt x="350" y="290"/>
                  </a:cubicBezTo>
                  <a:cubicBezTo>
                    <a:pt x="344" y="297"/>
                    <a:pt x="344" y="297"/>
                    <a:pt x="344" y="297"/>
                  </a:cubicBezTo>
                  <a:cubicBezTo>
                    <a:pt x="350" y="308"/>
                    <a:pt x="350" y="308"/>
                    <a:pt x="350" y="308"/>
                  </a:cubicBezTo>
                  <a:cubicBezTo>
                    <a:pt x="351" y="318"/>
                    <a:pt x="351" y="318"/>
                    <a:pt x="351" y="318"/>
                  </a:cubicBezTo>
                  <a:cubicBezTo>
                    <a:pt x="355" y="326"/>
                    <a:pt x="355" y="326"/>
                    <a:pt x="355" y="326"/>
                  </a:cubicBezTo>
                  <a:cubicBezTo>
                    <a:pt x="363" y="329"/>
                    <a:pt x="363" y="329"/>
                    <a:pt x="363" y="329"/>
                  </a:cubicBezTo>
                  <a:cubicBezTo>
                    <a:pt x="369" y="329"/>
                    <a:pt x="369" y="329"/>
                    <a:pt x="369" y="329"/>
                  </a:cubicBezTo>
                  <a:cubicBezTo>
                    <a:pt x="372" y="326"/>
                    <a:pt x="372" y="326"/>
                    <a:pt x="372" y="326"/>
                  </a:cubicBezTo>
                  <a:cubicBezTo>
                    <a:pt x="381" y="327"/>
                    <a:pt x="381" y="327"/>
                    <a:pt x="381" y="327"/>
                  </a:cubicBezTo>
                  <a:cubicBezTo>
                    <a:pt x="385" y="332"/>
                    <a:pt x="385" y="332"/>
                    <a:pt x="385" y="332"/>
                  </a:cubicBezTo>
                  <a:cubicBezTo>
                    <a:pt x="387" y="340"/>
                    <a:pt x="387" y="340"/>
                    <a:pt x="387" y="340"/>
                  </a:cubicBezTo>
                  <a:cubicBezTo>
                    <a:pt x="386" y="347"/>
                    <a:pt x="386" y="347"/>
                    <a:pt x="386" y="347"/>
                  </a:cubicBezTo>
                  <a:cubicBezTo>
                    <a:pt x="379" y="346"/>
                    <a:pt x="379" y="346"/>
                    <a:pt x="379" y="346"/>
                  </a:cubicBezTo>
                  <a:cubicBezTo>
                    <a:pt x="375" y="342"/>
                    <a:pt x="375" y="342"/>
                    <a:pt x="375" y="342"/>
                  </a:cubicBezTo>
                  <a:cubicBezTo>
                    <a:pt x="369" y="343"/>
                    <a:pt x="369" y="343"/>
                    <a:pt x="369" y="343"/>
                  </a:cubicBezTo>
                  <a:cubicBezTo>
                    <a:pt x="366" y="348"/>
                    <a:pt x="366" y="348"/>
                    <a:pt x="366" y="348"/>
                  </a:cubicBezTo>
                  <a:cubicBezTo>
                    <a:pt x="356" y="356"/>
                    <a:pt x="356" y="356"/>
                    <a:pt x="356" y="356"/>
                  </a:cubicBezTo>
                  <a:cubicBezTo>
                    <a:pt x="355" y="364"/>
                    <a:pt x="355" y="364"/>
                    <a:pt x="355" y="364"/>
                  </a:cubicBezTo>
                  <a:cubicBezTo>
                    <a:pt x="349" y="372"/>
                    <a:pt x="349" y="372"/>
                    <a:pt x="349" y="372"/>
                  </a:cubicBezTo>
                  <a:cubicBezTo>
                    <a:pt x="349" y="377"/>
                    <a:pt x="349" y="377"/>
                    <a:pt x="349" y="377"/>
                  </a:cubicBezTo>
                  <a:cubicBezTo>
                    <a:pt x="345" y="378"/>
                    <a:pt x="345" y="378"/>
                    <a:pt x="345" y="378"/>
                  </a:cubicBezTo>
                  <a:cubicBezTo>
                    <a:pt x="341" y="387"/>
                    <a:pt x="341" y="387"/>
                    <a:pt x="341" y="387"/>
                  </a:cubicBezTo>
                  <a:cubicBezTo>
                    <a:pt x="341" y="387"/>
                    <a:pt x="336" y="395"/>
                    <a:pt x="335" y="396"/>
                  </a:cubicBezTo>
                  <a:cubicBezTo>
                    <a:pt x="335" y="396"/>
                    <a:pt x="329" y="401"/>
                    <a:pt x="329" y="401"/>
                  </a:cubicBezTo>
                  <a:cubicBezTo>
                    <a:pt x="343" y="403"/>
                    <a:pt x="343" y="403"/>
                    <a:pt x="343" y="403"/>
                  </a:cubicBezTo>
                  <a:cubicBezTo>
                    <a:pt x="351" y="401"/>
                    <a:pt x="351" y="401"/>
                    <a:pt x="351" y="401"/>
                  </a:cubicBezTo>
                  <a:cubicBezTo>
                    <a:pt x="359" y="405"/>
                    <a:pt x="359" y="405"/>
                    <a:pt x="359" y="405"/>
                  </a:cubicBezTo>
                  <a:cubicBezTo>
                    <a:pt x="362" y="409"/>
                    <a:pt x="362" y="409"/>
                    <a:pt x="362" y="409"/>
                  </a:cubicBezTo>
                  <a:cubicBezTo>
                    <a:pt x="358" y="417"/>
                    <a:pt x="358" y="417"/>
                    <a:pt x="358" y="417"/>
                  </a:cubicBezTo>
                  <a:cubicBezTo>
                    <a:pt x="354" y="419"/>
                    <a:pt x="354" y="419"/>
                    <a:pt x="354" y="419"/>
                  </a:cubicBezTo>
                  <a:lnTo>
                    <a:pt x="358" y="422"/>
                  </a:lnTo>
                  <a:close/>
                </a:path>
              </a:pathLst>
            </a:custGeom>
            <a:grpFill/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6" name="Freeform 75"/>
            <p:cNvSpPr>
              <a:spLocks noEditPoints="1"/>
            </p:cNvSpPr>
            <p:nvPr/>
          </p:nvSpPr>
          <p:spPr bwMode="auto">
            <a:xfrm>
              <a:off x="2249488" y="3475509"/>
              <a:ext cx="2014538" cy="2260600"/>
            </a:xfrm>
            <a:custGeom>
              <a:avLst/>
              <a:gdLst>
                <a:gd name="T0" fmla="*/ 403 w 633"/>
                <a:gd name="T1" fmla="*/ 172 h 710"/>
                <a:gd name="T2" fmla="*/ 406 w 633"/>
                <a:gd name="T3" fmla="*/ 101 h 710"/>
                <a:gd name="T4" fmla="*/ 462 w 633"/>
                <a:gd name="T5" fmla="*/ 22 h 710"/>
                <a:gd name="T6" fmla="*/ 478 w 633"/>
                <a:gd name="T7" fmla="*/ 102 h 710"/>
                <a:gd name="T8" fmla="*/ 461 w 633"/>
                <a:gd name="T9" fmla="*/ 207 h 710"/>
                <a:gd name="T10" fmla="*/ 395 w 633"/>
                <a:gd name="T11" fmla="*/ 252 h 710"/>
                <a:gd name="T12" fmla="*/ 424 w 633"/>
                <a:gd name="T13" fmla="*/ 280 h 710"/>
                <a:gd name="T14" fmla="*/ 480 w 633"/>
                <a:gd name="T15" fmla="*/ 203 h 710"/>
                <a:gd name="T16" fmla="*/ 510 w 633"/>
                <a:gd name="T17" fmla="*/ 239 h 710"/>
                <a:gd name="T18" fmla="*/ 527 w 633"/>
                <a:gd name="T19" fmla="*/ 216 h 710"/>
                <a:gd name="T20" fmla="*/ 478 w 633"/>
                <a:gd name="T21" fmla="*/ 172 h 710"/>
                <a:gd name="T22" fmla="*/ 491 w 633"/>
                <a:gd name="T23" fmla="*/ 83 h 710"/>
                <a:gd name="T24" fmla="*/ 520 w 633"/>
                <a:gd name="T25" fmla="*/ 74 h 710"/>
                <a:gd name="T26" fmla="*/ 547 w 633"/>
                <a:gd name="T27" fmla="*/ 113 h 710"/>
                <a:gd name="T28" fmla="*/ 548 w 633"/>
                <a:gd name="T29" fmla="*/ 70 h 710"/>
                <a:gd name="T30" fmla="*/ 573 w 633"/>
                <a:gd name="T31" fmla="*/ 103 h 710"/>
                <a:gd name="T32" fmla="*/ 576 w 633"/>
                <a:gd name="T33" fmla="*/ 149 h 710"/>
                <a:gd name="T34" fmla="*/ 567 w 633"/>
                <a:gd name="T35" fmla="*/ 190 h 710"/>
                <a:gd name="T36" fmla="*/ 588 w 633"/>
                <a:gd name="T37" fmla="*/ 191 h 710"/>
                <a:gd name="T38" fmla="*/ 591 w 633"/>
                <a:gd name="T39" fmla="*/ 224 h 710"/>
                <a:gd name="T40" fmla="*/ 588 w 633"/>
                <a:gd name="T41" fmla="*/ 265 h 710"/>
                <a:gd name="T42" fmla="*/ 598 w 633"/>
                <a:gd name="T43" fmla="*/ 296 h 710"/>
                <a:gd name="T44" fmla="*/ 594 w 633"/>
                <a:gd name="T45" fmla="*/ 332 h 710"/>
                <a:gd name="T46" fmla="*/ 609 w 633"/>
                <a:gd name="T47" fmla="*/ 369 h 710"/>
                <a:gd name="T48" fmla="*/ 633 w 633"/>
                <a:gd name="T49" fmla="*/ 397 h 710"/>
                <a:gd name="T50" fmla="*/ 615 w 633"/>
                <a:gd name="T51" fmla="*/ 444 h 710"/>
                <a:gd name="T52" fmla="*/ 614 w 633"/>
                <a:gd name="T53" fmla="*/ 507 h 710"/>
                <a:gd name="T54" fmla="*/ 556 w 633"/>
                <a:gd name="T55" fmla="*/ 528 h 710"/>
                <a:gd name="T56" fmla="*/ 503 w 633"/>
                <a:gd name="T57" fmla="*/ 516 h 710"/>
                <a:gd name="T58" fmla="*/ 449 w 633"/>
                <a:gd name="T59" fmla="*/ 530 h 710"/>
                <a:gd name="T60" fmla="*/ 410 w 633"/>
                <a:gd name="T61" fmla="*/ 575 h 710"/>
                <a:gd name="T62" fmla="*/ 358 w 633"/>
                <a:gd name="T63" fmla="*/ 589 h 710"/>
                <a:gd name="T64" fmla="*/ 335 w 633"/>
                <a:gd name="T65" fmla="*/ 568 h 710"/>
                <a:gd name="T66" fmla="*/ 309 w 633"/>
                <a:gd name="T67" fmla="*/ 598 h 710"/>
                <a:gd name="T68" fmla="*/ 325 w 633"/>
                <a:gd name="T69" fmla="*/ 625 h 710"/>
                <a:gd name="T70" fmla="*/ 302 w 633"/>
                <a:gd name="T71" fmla="*/ 652 h 710"/>
                <a:gd name="T72" fmla="*/ 282 w 633"/>
                <a:gd name="T73" fmla="*/ 674 h 710"/>
                <a:gd name="T74" fmla="*/ 221 w 633"/>
                <a:gd name="T75" fmla="*/ 670 h 710"/>
                <a:gd name="T76" fmla="*/ 134 w 633"/>
                <a:gd name="T77" fmla="*/ 661 h 710"/>
                <a:gd name="T78" fmla="*/ 76 w 633"/>
                <a:gd name="T79" fmla="*/ 667 h 710"/>
                <a:gd name="T80" fmla="*/ 56 w 633"/>
                <a:gd name="T81" fmla="*/ 689 h 710"/>
                <a:gd name="T82" fmla="*/ 29 w 633"/>
                <a:gd name="T83" fmla="*/ 703 h 710"/>
                <a:gd name="T84" fmla="*/ 0 w 633"/>
                <a:gd name="T85" fmla="*/ 687 h 710"/>
                <a:gd name="T86" fmla="*/ 20 w 633"/>
                <a:gd name="T87" fmla="*/ 658 h 710"/>
                <a:gd name="T88" fmla="*/ 46 w 633"/>
                <a:gd name="T89" fmla="*/ 628 h 710"/>
                <a:gd name="T90" fmla="*/ 52 w 633"/>
                <a:gd name="T91" fmla="*/ 613 h 710"/>
                <a:gd name="T92" fmla="*/ 22 w 633"/>
                <a:gd name="T93" fmla="*/ 604 h 710"/>
                <a:gd name="T94" fmla="*/ 36 w 633"/>
                <a:gd name="T95" fmla="*/ 579 h 710"/>
                <a:gd name="T96" fmla="*/ 67 w 633"/>
                <a:gd name="T97" fmla="*/ 585 h 710"/>
                <a:gd name="T98" fmla="*/ 63 w 633"/>
                <a:gd name="T99" fmla="*/ 555 h 710"/>
                <a:gd name="T100" fmla="*/ 66 w 633"/>
                <a:gd name="T101" fmla="*/ 519 h 710"/>
                <a:gd name="T102" fmla="*/ 98 w 633"/>
                <a:gd name="T103" fmla="*/ 501 h 710"/>
                <a:gd name="T104" fmla="*/ 113 w 633"/>
                <a:gd name="T105" fmla="*/ 471 h 710"/>
                <a:gd name="T106" fmla="*/ 122 w 633"/>
                <a:gd name="T107" fmla="*/ 430 h 710"/>
                <a:gd name="T108" fmla="*/ 166 w 633"/>
                <a:gd name="T109" fmla="*/ 384 h 710"/>
                <a:gd name="T110" fmla="*/ 183 w 633"/>
                <a:gd name="T111" fmla="*/ 348 h 710"/>
                <a:gd name="T112" fmla="*/ 203 w 633"/>
                <a:gd name="T113" fmla="*/ 310 h 710"/>
                <a:gd name="T114" fmla="*/ 238 w 633"/>
                <a:gd name="T115" fmla="*/ 267 h 710"/>
                <a:gd name="T116" fmla="*/ 284 w 633"/>
                <a:gd name="T117" fmla="*/ 243 h 710"/>
                <a:gd name="T118" fmla="*/ 345 w 633"/>
                <a:gd name="T119" fmla="*/ 215 h 710"/>
                <a:gd name="T120" fmla="*/ 352 w 633"/>
                <a:gd name="T121" fmla="*/ 180 h 710"/>
                <a:gd name="T122" fmla="*/ 468 w 633"/>
                <a:gd name="T123" fmla="*/ 15 h 710"/>
                <a:gd name="T124" fmla="*/ 473 w 633"/>
                <a:gd name="T125" fmla="*/ 2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3" h="710">
                  <a:moveTo>
                    <a:pt x="362" y="143"/>
                  </a:moveTo>
                  <a:cubicBezTo>
                    <a:pt x="366" y="148"/>
                    <a:pt x="371" y="149"/>
                    <a:pt x="375" y="155"/>
                  </a:cubicBezTo>
                  <a:cubicBezTo>
                    <a:pt x="379" y="163"/>
                    <a:pt x="383" y="167"/>
                    <a:pt x="385" y="176"/>
                  </a:cubicBezTo>
                  <a:cubicBezTo>
                    <a:pt x="387" y="185"/>
                    <a:pt x="389" y="194"/>
                    <a:pt x="393" y="188"/>
                  </a:cubicBezTo>
                  <a:cubicBezTo>
                    <a:pt x="397" y="183"/>
                    <a:pt x="404" y="180"/>
                    <a:pt x="403" y="172"/>
                  </a:cubicBezTo>
                  <a:cubicBezTo>
                    <a:pt x="401" y="165"/>
                    <a:pt x="401" y="152"/>
                    <a:pt x="402" y="147"/>
                  </a:cubicBezTo>
                  <a:cubicBezTo>
                    <a:pt x="402" y="142"/>
                    <a:pt x="397" y="133"/>
                    <a:pt x="393" y="135"/>
                  </a:cubicBezTo>
                  <a:cubicBezTo>
                    <a:pt x="389" y="136"/>
                    <a:pt x="384" y="132"/>
                    <a:pt x="389" y="127"/>
                  </a:cubicBezTo>
                  <a:cubicBezTo>
                    <a:pt x="393" y="122"/>
                    <a:pt x="400" y="122"/>
                    <a:pt x="401" y="117"/>
                  </a:cubicBezTo>
                  <a:cubicBezTo>
                    <a:pt x="402" y="111"/>
                    <a:pt x="403" y="105"/>
                    <a:pt x="406" y="101"/>
                  </a:cubicBezTo>
                  <a:cubicBezTo>
                    <a:pt x="408" y="97"/>
                    <a:pt x="399" y="98"/>
                    <a:pt x="400" y="89"/>
                  </a:cubicBezTo>
                  <a:cubicBezTo>
                    <a:pt x="401" y="80"/>
                    <a:pt x="404" y="74"/>
                    <a:pt x="412" y="73"/>
                  </a:cubicBezTo>
                  <a:cubicBezTo>
                    <a:pt x="420" y="72"/>
                    <a:pt x="425" y="70"/>
                    <a:pt x="429" y="65"/>
                  </a:cubicBezTo>
                  <a:cubicBezTo>
                    <a:pt x="433" y="60"/>
                    <a:pt x="450" y="39"/>
                    <a:pt x="452" y="31"/>
                  </a:cubicBezTo>
                  <a:cubicBezTo>
                    <a:pt x="455" y="23"/>
                    <a:pt x="458" y="16"/>
                    <a:pt x="462" y="22"/>
                  </a:cubicBezTo>
                  <a:cubicBezTo>
                    <a:pt x="466" y="27"/>
                    <a:pt x="472" y="28"/>
                    <a:pt x="479" y="28"/>
                  </a:cubicBezTo>
                  <a:cubicBezTo>
                    <a:pt x="486" y="28"/>
                    <a:pt x="494" y="37"/>
                    <a:pt x="494" y="42"/>
                  </a:cubicBezTo>
                  <a:cubicBezTo>
                    <a:pt x="495" y="48"/>
                    <a:pt x="492" y="56"/>
                    <a:pt x="488" y="63"/>
                  </a:cubicBezTo>
                  <a:cubicBezTo>
                    <a:pt x="484" y="70"/>
                    <a:pt x="470" y="81"/>
                    <a:pt x="471" y="86"/>
                  </a:cubicBezTo>
                  <a:cubicBezTo>
                    <a:pt x="472" y="92"/>
                    <a:pt x="478" y="95"/>
                    <a:pt x="478" y="102"/>
                  </a:cubicBezTo>
                  <a:cubicBezTo>
                    <a:pt x="477" y="108"/>
                    <a:pt x="473" y="126"/>
                    <a:pt x="469" y="131"/>
                  </a:cubicBezTo>
                  <a:cubicBezTo>
                    <a:pt x="464" y="136"/>
                    <a:pt x="466" y="145"/>
                    <a:pt x="464" y="152"/>
                  </a:cubicBezTo>
                  <a:cubicBezTo>
                    <a:pt x="462" y="159"/>
                    <a:pt x="455" y="170"/>
                    <a:pt x="455" y="172"/>
                  </a:cubicBezTo>
                  <a:cubicBezTo>
                    <a:pt x="455" y="174"/>
                    <a:pt x="459" y="187"/>
                    <a:pt x="461" y="190"/>
                  </a:cubicBezTo>
                  <a:cubicBezTo>
                    <a:pt x="463" y="194"/>
                    <a:pt x="466" y="204"/>
                    <a:pt x="461" y="207"/>
                  </a:cubicBezTo>
                  <a:cubicBezTo>
                    <a:pt x="457" y="209"/>
                    <a:pt x="456" y="214"/>
                    <a:pt x="456" y="222"/>
                  </a:cubicBezTo>
                  <a:cubicBezTo>
                    <a:pt x="455" y="230"/>
                    <a:pt x="446" y="231"/>
                    <a:pt x="443" y="234"/>
                  </a:cubicBezTo>
                  <a:cubicBezTo>
                    <a:pt x="440" y="237"/>
                    <a:pt x="437" y="238"/>
                    <a:pt x="431" y="244"/>
                  </a:cubicBezTo>
                  <a:cubicBezTo>
                    <a:pt x="426" y="251"/>
                    <a:pt x="414" y="256"/>
                    <a:pt x="408" y="256"/>
                  </a:cubicBezTo>
                  <a:cubicBezTo>
                    <a:pt x="403" y="256"/>
                    <a:pt x="402" y="257"/>
                    <a:pt x="395" y="252"/>
                  </a:cubicBezTo>
                  <a:cubicBezTo>
                    <a:pt x="388" y="248"/>
                    <a:pt x="386" y="246"/>
                    <a:pt x="383" y="254"/>
                  </a:cubicBezTo>
                  <a:cubicBezTo>
                    <a:pt x="380" y="262"/>
                    <a:pt x="387" y="261"/>
                    <a:pt x="390" y="265"/>
                  </a:cubicBezTo>
                  <a:cubicBezTo>
                    <a:pt x="393" y="270"/>
                    <a:pt x="399" y="270"/>
                    <a:pt x="400" y="273"/>
                  </a:cubicBezTo>
                  <a:cubicBezTo>
                    <a:pt x="402" y="277"/>
                    <a:pt x="409" y="271"/>
                    <a:pt x="412" y="276"/>
                  </a:cubicBezTo>
                  <a:cubicBezTo>
                    <a:pt x="414" y="281"/>
                    <a:pt x="419" y="284"/>
                    <a:pt x="424" y="280"/>
                  </a:cubicBezTo>
                  <a:cubicBezTo>
                    <a:pt x="430" y="275"/>
                    <a:pt x="429" y="270"/>
                    <a:pt x="435" y="270"/>
                  </a:cubicBezTo>
                  <a:cubicBezTo>
                    <a:pt x="440" y="270"/>
                    <a:pt x="458" y="263"/>
                    <a:pt x="458" y="256"/>
                  </a:cubicBezTo>
                  <a:cubicBezTo>
                    <a:pt x="459" y="249"/>
                    <a:pt x="464" y="246"/>
                    <a:pt x="469" y="243"/>
                  </a:cubicBezTo>
                  <a:cubicBezTo>
                    <a:pt x="474" y="239"/>
                    <a:pt x="474" y="233"/>
                    <a:pt x="476" y="226"/>
                  </a:cubicBezTo>
                  <a:cubicBezTo>
                    <a:pt x="479" y="220"/>
                    <a:pt x="479" y="208"/>
                    <a:pt x="480" y="203"/>
                  </a:cubicBezTo>
                  <a:cubicBezTo>
                    <a:pt x="480" y="198"/>
                    <a:pt x="490" y="194"/>
                    <a:pt x="493" y="194"/>
                  </a:cubicBezTo>
                  <a:cubicBezTo>
                    <a:pt x="496" y="194"/>
                    <a:pt x="508" y="191"/>
                    <a:pt x="509" y="196"/>
                  </a:cubicBezTo>
                  <a:cubicBezTo>
                    <a:pt x="511" y="201"/>
                    <a:pt x="512" y="205"/>
                    <a:pt x="514" y="208"/>
                  </a:cubicBezTo>
                  <a:cubicBezTo>
                    <a:pt x="516" y="211"/>
                    <a:pt x="518" y="215"/>
                    <a:pt x="516" y="220"/>
                  </a:cubicBezTo>
                  <a:cubicBezTo>
                    <a:pt x="514" y="224"/>
                    <a:pt x="510" y="232"/>
                    <a:pt x="510" y="239"/>
                  </a:cubicBezTo>
                  <a:cubicBezTo>
                    <a:pt x="510" y="246"/>
                    <a:pt x="510" y="251"/>
                    <a:pt x="520" y="253"/>
                  </a:cubicBezTo>
                  <a:cubicBezTo>
                    <a:pt x="530" y="254"/>
                    <a:pt x="536" y="252"/>
                    <a:pt x="532" y="249"/>
                  </a:cubicBezTo>
                  <a:cubicBezTo>
                    <a:pt x="529" y="246"/>
                    <a:pt x="512" y="248"/>
                    <a:pt x="514" y="239"/>
                  </a:cubicBezTo>
                  <a:cubicBezTo>
                    <a:pt x="516" y="231"/>
                    <a:pt x="517" y="229"/>
                    <a:pt x="523" y="228"/>
                  </a:cubicBezTo>
                  <a:cubicBezTo>
                    <a:pt x="529" y="227"/>
                    <a:pt x="527" y="222"/>
                    <a:pt x="527" y="216"/>
                  </a:cubicBezTo>
                  <a:cubicBezTo>
                    <a:pt x="526" y="211"/>
                    <a:pt x="525" y="202"/>
                    <a:pt x="526" y="199"/>
                  </a:cubicBezTo>
                  <a:cubicBezTo>
                    <a:pt x="527" y="196"/>
                    <a:pt x="514" y="191"/>
                    <a:pt x="508" y="186"/>
                  </a:cubicBezTo>
                  <a:cubicBezTo>
                    <a:pt x="503" y="180"/>
                    <a:pt x="496" y="180"/>
                    <a:pt x="493" y="183"/>
                  </a:cubicBezTo>
                  <a:cubicBezTo>
                    <a:pt x="490" y="187"/>
                    <a:pt x="489" y="179"/>
                    <a:pt x="480" y="181"/>
                  </a:cubicBezTo>
                  <a:cubicBezTo>
                    <a:pt x="470" y="182"/>
                    <a:pt x="476" y="177"/>
                    <a:pt x="478" y="172"/>
                  </a:cubicBezTo>
                  <a:cubicBezTo>
                    <a:pt x="480" y="167"/>
                    <a:pt x="471" y="160"/>
                    <a:pt x="473" y="156"/>
                  </a:cubicBezTo>
                  <a:cubicBezTo>
                    <a:pt x="475" y="152"/>
                    <a:pt x="482" y="141"/>
                    <a:pt x="486" y="136"/>
                  </a:cubicBezTo>
                  <a:cubicBezTo>
                    <a:pt x="490" y="130"/>
                    <a:pt x="492" y="121"/>
                    <a:pt x="491" y="114"/>
                  </a:cubicBezTo>
                  <a:cubicBezTo>
                    <a:pt x="489" y="107"/>
                    <a:pt x="489" y="97"/>
                    <a:pt x="487" y="93"/>
                  </a:cubicBezTo>
                  <a:cubicBezTo>
                    <a:pt x="484" y="90"/>
                    <a:pt x="488" y="86"/>
                    <a:pt x="491" y="83"/>
                  </a:cubicBezTo>
                  <a:cubicBezTo>
                    <a:pt x="494" y="80"/>
                    <a:pt x="503" y="73"/>
                    <a:pt x="508" y="70"/>
                  </a:cubicBezTo>
                  <a:cubicBezTo>
                    <a:pt x="513" y="67"/>
                    <a:pt x="518" y="66"/>
                    <a:pt x="518" y="61"/>
                  </a:cubicBezTo>
                  <a:cubicBezTo>
                    <a:pt x="517" y="55"/>
                    <a:pt x="515" y="44"/>
                    <a:pt x="519" y="41"/>
                  </a:cubicBezTo>
                  <a:cubicBezTo>
                    <a:pt x="522" y="39"/>
                    <a:pt x="526" y="43"/>
                    <a:pt x="525" y="52"/>
                  </a:cubicBezTo>
                  <a:cubicBezTo>
                    <a:pt x="524" y="60"/>
                    <a:pt x="524" y="68"/>
                    <a:pt x="520" y="74"/>
                  </a:cubicBezTo>
                  <a:cubicBezTo>
                    <a:pt x="515" y="79"/>
                    <a:pt x="516" y="88"/>
                    <a:pt x="514" y="93"/>
                  </a:cubicBezTo>
                  <a:cubicBezTo>
                    <a:pt x="513" y="97"/>
                    <a:pt x="516" y="101"/>
                    <a:pt x="519" y="104"/>
                  </a:cubicBezTo>
                  <a:cubicBezTo>
                    <a:pt x="522" y="107"/>
                    <a:pt x="529" y="109"/>
                    <a:pt x="535" y="111"/>
                  </a:cubicBezTo>
                  <a:cubicBezTo>
                    <a:pt x="541" y="113"/>
                    <a:pt x="540" y="116"/>
                    <a:pt x="543" y="120"/>
                  </a:cubicBezTo>
                  <a:cubicBezTo>
                    <a:pt x="547" y="125"/>
                    <a:pt x="554" y="120"/>
                    <a:pt x="547" y="113"/>
                  </a:cubicBezTo>
                  <a:cubicBezTo>
                    <a:pt x="541" y="106"/>
                    <a:pt x="534" y="104"/>
                    <a:pt x="529" y="99"/>
                  </a:cubicBezTo>
                  <a:cubicBezTo>
                    <a:pt x="524" y="93"/>
                    <a:pt x="522" y="83"/>
                    <a:pt x="526" y="78"/>
                  </a:cubicBezTo>
                  <a:cubicBezTo>
                    <a:pt x="531" y="74"/>
                    <a:pt x="539" y="77"/>
                    <a:pt x="540" y="84"/>
                  </a:cubicBezTo>
                  <a:cubicBezTo>
                    <a:pt x="541" y="90"/>
                    <a:pt x="554" y="91"/>
                    <a:pt x="551" y="84"/>
                  </a:cubicBezTo>
                  <a:cubicBezTo>
                    <a:pt x="548" y="78"/>
                    <a:pt x="539" y="74"/>
                    <a:pt x="548" y="70"/>
                  </a:cubicBezTo>
                  <a:cubicBezTo>
                    <a:pt x="551" y="70"/>
                    <a:pt x="554" y="69"/>
                    <a:pt x="557" y="68"/>
                  </a:cubicBezTo>
                  <a:cubicBezTo>
                    <a:pt x="556" y="79"/>
                    <a:pt x="556" y="79"/>
                    <a:pt x="556" y="79"/>
                  </a:cubicBezTo>
                  <a:cubicBezTo>
                    <a:pt x="568" y="85"/>
                    <a:pt x="568" y="85"/>
                    <a:pt x="568" y="85"/>
                  </a:cubicBezTo>
                  <a:cubicBezTo>
                    <a:pt x="578" y="92"/>
                    <a:pt x="578" y="92"/>
                    <a:pt x="578" y="92"/>
                  </a:cubicBezTo>
                  <a:cubicBezTo>
                    <a:pt x="573" y="103"/>
                    <a:pt x="573" y="103"/>
                    <a:pt x="573" y="103"/>
                  </a:cubicBezTo>
                  <a:cubicBezTo>
                    <a:pt x="568" y="102"/>
                    <a:pt x="568" y="102"/>
                    <a:pt x="568" y="102"/>
                  </a:cubicBezTo>
                  <a:cubicBezTo>
                    <a:pt x="561" y="112"/>
                    <a:pt x="561" y="112"/>
                    <a:pt x="561" y="112"/>
                  </a:cubicBezTo>
                  <a:cubicBezTo>
                    <a:pt x="566" y="119"/>
                    <a:pt x="566" y="119"/>
                    <a:pt x="566" y="119"/>
                  </a:cubicBezTo>
                  <a:cubicBezTo>
                    <a:pt x="576" y="125"/>
                    <a:pt x="576" y="125"/>
                    <a:pt x="576" y="125"/>
                  </a:cubicBezTo>
                  <a:cubicBezTo>
                    <a:pt x="576" y="149"/>
                    <a:pt x="576" y="149"/>
                    <a:pt x="576" y="149"/>
                  </a:cubicBezTo>
                  <a:cubicBezTo>
                    <a:pt x="567" y="151"/>
                    <a:pt x="567" y="151"/>
                    <a:pt x="567" y="151"/>
                  </a:cubicBezTo>
                  <a:cubicBezTo>
                    <a:pt x="549" y="169"/>
                    <a:pt x="549" y="169"/>
                    <a:pt x="549" y="169"/>
                  </a:cubicBezTo>
                  <a:cubicBezTo>
                    <a:pt x="549" y="176"/>
                    <a:pt x="549" y="176"/>
                    <a:pt x="549" y="176"/>
                  </a:cubicBezTo>
                  <a:cubicBezTo>
                    <a:pt x="560" y="189"/>
                    <a:pt x="560" y="189"/>
                    <a:pt x="560" y="189"/>
                  </a:cubicBezTo>
                  <a:cubicBezTo>
                    <a:pt x="567" y="190"/>
                    <a:pt x="567" y="190"/>
                    <a:pt x="567" y="190"/>
                  </a:cubicBezTo>
                  <a:cubicBezTo>
                    <a:pt x="568" y="193"/>
                    <a:pt x="568" y="193"/>
                    <a:pt x="568" y="193"/>
                  </a:cubicBezTo>
                  <a:cubicBezTo>
                    <a:pt x="573" y="199"/>
                    <a:pt x="573" y="199"/>
                    <a:pt x="573" y="199"/>
                  </a:cubicBezTo>
                  <a:cubicBezTo>
                    <a:pt x="576" y="194"/>
                    <a:pt x="576" y="194"/>
                    <a:pt x="576" y="194"/>
                  </a:cubicBezTo>
                  <a:cubicBezTo>
                    <a:pt x="583" y="195"/>
                    <a:pt x="583" y="195"/>
                    <a:pt x="583" y="195"/>
                  </a:cubicBezTo>
                  <a:cubicBezTo>
                    <a:pt x="588" y="191"/>
                    <a:pt x="588" y="191"/>
                    <a:pt x="588" y="191"/>
                  </a:cubicBezTo>
                  <a:cubicBezTo>
                    <a:pt x="588" y="191"/>
                    <a:pt x="589" y="198"/>
                    <a:pt x="589" y="199"/>
                  </a:cubicBezTo>
                  <a:cubicBezTo>
                    <a:pt x="589" y="200"/>
                    <a:pt x="591" y="200"/>
                    <a:pt x="591" y="200"/>
                  </a:cubicBezTo>
                  <a:cubicBezTo>
                    <a:pt x="593" y="207"/>
                    <a:pt x="593" y="207"/>
                    <a:pt x="593" y="207"/>
                  </a:cubicBezTo>
                  <a:cubicBezTo>
                    <a:pt x="597" y="219"/>
                    <a:pt x="597" y="219"/>
                    <a:pt x="597" y="219"/>
                  </a:cubicBezTo>
                  <a:cubicBezTo>
                    <a:pt x="591" y="224"/>
                    <a:pt x="591" y="224"/>
                    <a:pt x="591" y="224"/>
                  </a:cubicBezTo>
                  <a:cubicBezTo>
                    <a:pt x="594" y="235"/>
                    <a:pt x="594" y="235"/>
                    <a:pt x="594" y="235"/>
                  </a:cubicBezTo>
                  <a:cubicBezTo>
                    <a:pt x="586" y="248"/>
                    <a:pt x="586" y="248"/>
                    <a:pt x="586" y="248"/>
                  </a:cubicBezTo>
                  <a:cubicBezTo>
                    <a:pt x="580" y="248"/>
                    <a:pt x="580" y="248"/>
                    <a:pt x="580" y="248"/>
                  </a:cubicBezTo>
                  <a:cubicBezTo>
                    <a:pt x="581" y="259"/>
                    <a:pt x="581" y="259"/>
                    <a:pt x="581" y="259"/>
                  </a:cubicBezTo>
                  <a:cubicBezTo>
                    <a:pt x="588" y="265"/>
                    <a:pt x="588" y="265"/>
                    <a:pt x="588" y="265"/>
                  </a:cubicBezTo>
                  <a:cubicBezTo>
                    <a:pt x="580" y="274"/>
                    <a:pt x="580" y="274"/>
                    <a:pt x="580" y="274"/>
                  </a:cubicBezTo>
                  <a:cubicBezTo>
                    <a:pt x="584" y="278"/>
                    <a:pt x="584" y="278"/>
                    <a:pt x="584" y="278"/>
                  </a:cubicBezTo>
                  <a:cubicBezTo>
                    <a:pt x="585" y="285"/>
                    <a:pt x="585" y="285"/>
                    <a:pt x="585" y="285"/>
                  </a:cubicBezTo>
                  <a:cubicBezTo>
                    <a:pt x="593" y="289"/>
                    <a:pt x="593" y="289"/>
                    <a:pt x="593" y="289"/>
                  </a:cubicBezTo>
                  <a:cubicBezTo>
                    <a:pt x="598" y="296"/>
                    <a:pt x="598" y="296"/>
                    <a:pt x="598" y="296"/>
                  </a:cubicBezTo>
                  <a:cubicBezTo>
                    <a:pt x="592" y="304"/>
                    <a:pt x="592" y="304"/>
                    <a:pt x="592" y="304"/>
                  </a:cubicBezTo>
                  <a:cubicBezTo>
                    <a:pt x="595" y="310"/>
                    <a:pt x="595" y="310"/>
                    <a:pt x="595" y="310"/>
                  </a:cubicBezTo>
                  <a:cubicBezTo>
                    <a:pt x="596" y="320"/>
                    <a:pt x="596" y="320"/>
                    <a:pt x="596" y="320"/>
                  </a:cubicBezTo>
                  <a:cubicBezTo>
                    <a:pt x="590" y="323"/>
                    <a:pt x="590" y="323"/>
                    <a:pt x="590" y="323"/>
                  </a:cubicBezTo>
                  <a:cubicBezTo>
                    <a:pt x="594" y="332"/>
                    <a:pt x="594" y="332"/>
                    <a:pt x="594" y="332"/>
                  </a:cubicBezTo>
                  <a:cubicBezTo>
                    <a:pt x="601" y="331"/>
                    <a:pt x="601" y="331"/>
                    <a:pt x="601" y="331"/>
                  </a:cubicBezTo>
                  <a:cubicBezTo>
                    <a:pt x="609" y="339"/>
                    <a:pt x="609" y="339"/>
                    <a:pt x="609" y="339"/>
                  </a:cubicBezTo>
                  <a:cubicBezTo>
                    <a:pt x="613" y="353"/>
                    <a:pt x="613" y="353"/>
                    <a:pt x="613" y="353"/>
                  </a:cubicBezTo>
                  <a:cubicBezTo>
                    <a:pt x="605" y="361"/>
                    <a:pt x="605" y="361"/>
                    <a:pt x="605" y="361"/>
                  </a:cubicBezTo>
                  <a:cubicBezTo>
                    <a:pt x="609" y="369"/>
                    <a:pt x="609" y="369"/>
                    <a:pt x="609" y="369"/>
                  </a:cubicBezTo>
                  <a:cubicBezTo>
                    <a:pt x="617" y="369"/>
                    <a:pt x="617" y="369"/>
                    <a:pt x="617" y="369"/>
                  </a:cubicBezTo>
                  <a:cubicBezTo>
                    <a:pt x="625" y="375"/>
                    <a:pt x="625" y="375"/>
                    <a:pt x="625" y="375"/>
                  </a:cubicBezTo>
                  <a:cubicBezTo>
                    <a:pt x="630" y="369"/>
                    <a:pt x="630" y="369"/>
                    <a:pt x="630" y="369"/>
                  </a:cubicBezTo>
                  <a:cubicBezTo>
                    <a:pt x="629" y="389"/>
                    <a:pt x="629" y="389"/>
                    <a:pt x="629" y="389"/>
                  </a:cubicBezTo>
                  <a:cubicBezTo>
                    <a:pt x="633" y="397"/>
                    <a:pt x="633" y="397"/>
                    <a:pt x="633" y="397"/>
                  </a:cubicBezTo>
                  <a:cubicBezTo>
                    <a:pt x="622" y="407"/>
                    <a:pt x="622" y="407"/>
                    <a:pt x="622" y="407"/>
                  </a:cubicBezTo>
                  <a:cubicBezTo>
                    <a:pt x="615" y="418"/>
                    <a:pt x="615" y="418"/>
                    <a:pt x="615" y="418"/>
                  </a:cubicBezTo>
                  <a:cubicBezTo>
                    <a:pt x="622" y="427"/>
                    <a:pt x="622" y="427"/>
                    <a:pt x="622" y="427"/>
                  </a:cubicBezTo>
                  <a:cubicBezTo>
                    <a:pt x="623" y="438"/>
                    <a:pt x="623" y="438"/>
                    <a:pt x="623" y="438"/>
                  </a:cubicBezTo>
                  <a:cubicBezTo>
                    <a:pt x="615" y="444"/>
                    <a:pt x="615" y="444"/>
                    <a:pt x="615" y="444"/>
                  </a:cubicBezTo>
                  <a:cubicBezTo>
                    <a:pt x="615" y="454"/>
                    <a:pt x="615" y="454"/>
                    <a:pt x="615" y="454"/>
                  </a:cubicBezTo>
                  <a:cubicBezTo>
                    <a:pt x="602" y="467"/>
                    <a:pt x="602" y="467"/>
                    <a:pt x="602" y="467"/>
                  </a:cubicBezTo>
                  <a:cubicBezTo>
                    <a:pt x="602" y="481"/>
                    <a:pt x="602" y="481"/>
                    <a:pt x="602" y="481"/>
                  </a:cubicBezTo>
                  <a:cubicBezTo>
                    <a:pt x="624" y="495"/>
                    <a:pt x="624" y="495"/>
                    <a:pt x="624" y="495"/>
                  </a:cubicBezTo>
                  <a:cubicBezTo>
                    <a:pt x="614" y="507"/>
                    <a:pt x="614" y="507"/>
                    <a:pt x="614" y="507"/>
                  </a:cubicBezTo>
                  <a:cubicBezTo>
                    <a:pt x="605" y="511"/>
                    <a:pt x="605" y="511"/>
                    <a:pt x="605" y="511"/>
                  </a:cubicBezTo>
                  <a:cubicBezTo>
                    <a:pt x="592" y="521"/>
                    <a:pt x="592" y="521"/>
                    <a:pt x="592" y="521"/>
                  </a:cubicBezTo>
                  <a:cubicBezTo>
                    <a:pt x="575" y="510"/>
                    <a:pt x="575" y="510"/>
                    <a:pt x="575" y="510"/>
                  </a:cubicBezTo>
                  <a:cubicBezTo>
                    <a:pt x="559" y="519"/>
                    <a:pt x="559" y="519"/>
                    <a:pt x="559" y="519"/>
                  </a:cubicBezTo>
                  <a:cubicBezTo>
                    <a:pt x="556" y="528"/>
                    <a:pt x="556" y="528"/>
                    <a:pt x="556" y="528"/>
                  </a:cubicBezTo>
                  <a:cubicBezTo>
                    <a:pt x="544" y="520"/>
                    <a:pt x="544" y="520"/>
                    <a:pt x="544" y="520"/>
                  </a:cubicBezTo>
                  <a:cubicBezTo>
                    <a:pt x="536" y="523"/>
                    <a:pt x="536" y="523"/>
                    <a:pt x="536" y="523"/>
                  </a:cubicBezTo>
                  <a:cubicBezTo>
                    <a:pt x="527" y="513"/>
                    <a:pt x="527" y="513"/>
                    <a:pt x="527" y="513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03" y="516"/>
                    <a:pt x="503" y="516"/>
                    <a:pt x="503" y="516"/>
                  </a:cubicBezTo>
                  <a:cubicBezTo>
                    <a:pt x="499" y="511"/>
                    <a:pt x="499" y="511"/>
                    <a:pt x="499" y="511"/>
                  </a:cubicBezTo>
                  <a:cubicBezTo>
                    <a:pt x="483" y="510"/>
                    <a:pt x="483" y="510"/>
                    <a:pt x="483" y="510"/>
                  </a:cubicBezTo>
                  <a:cubicBezTo>
                    <a:pt x="475" y="507"/>
                    <a:pt x="475" y="507"/>
                    <a:pt x="475" y="507"/>
                  </a:cubicBezTo>
                  <a:cubicBezTo>
                    <a:pt x="459" y="509"/>
                    <a:pt x="459" y="509"/>
                    <a:pt x="459" y="509"/>
                  </a:cubicBezTo>
                  <a:cubicBezTo>
                    <a:pt x="449" y="530"/>
                    <a:pt x="449" y="530"/>
                    <a:pt x="449" y="530"/>
                  </a:cubicBezTo>
                  <a:cubicBezTo>
                    <a:pt x="449" y="544"/>
                    <a:pt x="449" y="544"/>
                    <a:pt x="449" y="544"/>
                  </a:cubicBezTo>
                  <a:cubicBezTo>
                    <a:pt x="438" y="547"/>
                    <a:pt x="438" y="547"/>
                    <a:pt x="438" y="547"/>
                  </a:cubicBezTo>
                  <a:cubicBezTo>
                    <a:pt x="424" y="557"/>
                    <a:pt x="424" y="557"/>
                    <a:pt x="424" y="557"/>
                  </a:cubicBezTo>
                  <a:cubicBezTo>
                    <a:pt x="423" y="565"/>
                    <a:pt x="423" y="565"/>
                    <a:pt x="423" y="565"/>
                  </a:cubicBezTo>
                  <a:cubicBezTo>
                    <a:pt x="410" y="575"/>
                    <a:pt x="410" y="575"/>
                    <a:pt x="410" y="575"/>
                  </a:cubicBezTo>
                  <a:cubicBezTo>
                    <a:pt x="392" y="589"/>
                    <a:pt x="392" y="589"/>
                    <a:pt x="392" y="589"/>
                  </a:cubicBezTo>
                  <a:cubicBezTo>
                    <a:pt x="374" y="588"/>
                    <a:pt x="374" y="588"/>
                    <a:pt x="374" y="588"/>
                  </a:cubicBezTo>
                  <a:cubicBezTo>
                    <a:pt x="367" y="583"/>
                    <a:pt x="367" y="583"/>
                    <a:pt x="367" y="583"/>
                  </a:cubicBezTo>
                  <a:cubicBezTo>
                    <a:pt x="363" y="588"/>
                    <a:pt x="363" y="588"/>
                    <a:pt x="363" y="588"/>
                  </a:cubicBezTo>
                  <a:cubicBezTo>
                    <a:pt x="358" y="589"/>
                    <a:pt x="358" y="589"/>
                    <a:pt x="358" y="589"/>
                  </a:cubicBezTo>
                  <a:cubicBezTo>
                    <a:pt x="351" y="586"/>
                    <a:pt x="351" y="586"/>
                    <a:pt x="351" y="586"/>
                  </a:cubicBezTo>
                  <a:cubicBezTo>
                    <a:pt x="339" y="580"/>
                    <a:pt x="339" y="580"/>
                    <a:pt x="339" y="580"/>
                  </a:cubicBezTo>
                  <a:cubicBezTo>
                    <a:pt x="331" y="579"/>
                    <a:pt x="331" y="579"/>
                    <a:pt x="331" y="579"/>
                  </a:cubicBezTo>
                  <a:cubicBezTo>
                    <a:pt x="330" y="574"/>
                    <a:pt x="330" y="574"/>
                    <a:pt x="330" y="574"/>
                  </a:cubicBezTo>
                  <a:cubicBezTo>
                    <a:pt x="335" y="568"/>
                    <a:pt x="335" y="568"/>
                    <a:pt x="335" y="568"/>
                  </a:cubicBezTo>
                  <a:cubicBezTo>
                    <a:pt x="325" y="563"/>
                    <a:pt x="325" y="563"/>
                    <a:pt x="325" y="563"/>
                  </a:cubicBezTo>
                  <a:cubicBezTo>
                    <a:pt x="313" y="579"/>
                    <a:pt x="313" y="579"/>
                    <a:pt x="313" y="579"/>
                  </a:cubicBezTo>
                  <a:cubicBezTo>
                    <a:pt x="313" y="585"/>
                    <a:pt x="313" y="585"/>
                    <a:pt x="313" y="585"/>
                  </a:cubicBezTo>
                  <a:cubicBezTo>
                    <a:pt x="315" y="593"/>
                    <a:pt x="315" y="593"/>
                    <a:pt x="315" y="593"/>
                  </a:cubicBezTo>
                  <a:cubicBezTo>
                    <a:pt x="309" y="598"/>
                    <a:pt x="309" y="598"/>
                    <a:pt x="309" y="598"/>
                  </a:cubicBezTo>
                  <a:cubicBezTo>
                    <a:pt x="309" y="601"/>
                    <a:pt x="309" y="601"/>
                    <a:pt x="309" y="601"/>
                  </a:cubicBezTo>
                  <a:cubicBezTo>
                    <a:pt x="318" y="606"/>
                    <a:pt x="318" y="606"/>
                    <a:pt x="318" y="606"/>
                  </a:cubicBezTo>
                  <a:cubicBezTo>
                    <a:pt x="322" y="613"/>
                    <a:pt x="322" y="613"/>
                    <a:pt x="322" y="613"/>
                  </a:cubicBezTo>
                  <a:cubicBezTo>
                    <a:pt x="329" y="621"/>
                    <a:pt x="329" y="621"/>
                    <a:pt x="329" y="621"/>
                  </a:cubicBezTo>
                  <a:cubicBezTo>
                    <a:pt x="325" y="625"/>
                    <a:pt x="325" y="625"/>
                    <a:pt x="325" y="625"/>
                  </a:cubicBezTo>
                  <a:cubicBezTo>
                    <a:pt x="320" y="627"/>
                    <a:pt x="320" y="627"/>
                    <a:pt x="320" y="627"/>
                  </a:cubicBezTo>
                  <a:cubicBezTo>
                    <a:pt x="314" y="628"/>
                    <a:pt x="314" y="628"/>
                    <a:pt x="314" y="628"/>
                  </a:cubicBezTo>
                  <a:cubicBezTo>
                    <a:pt x="304" y="636"/>
                    <a:pt x="304" y="636"/>
                    <a:pt x="304" y="636"/>
                  </a:cubicBezTo>
                  <a:cubicBezTo>
                    <a:pt x="305" y="648"/>
                    <a:pt x="305" y="648"/>
                    <a:pt x="305" y="648"/>
                  </a:cubicBezTo>
                  <a:cubicBezTo>
                    <a:pt x="302" y="652"/>
                    <a:pt x="302" y="652"/>
                    <a:pt x="302" y="652"/>
                  </a:cubicBezTo>
                  <a:cubicBezTo>
                    <a:pt x="294" y="656"/>
                    <a:pt x="294" y="656"/>
                    <a:pt x="294" y="656"/>
                  </a:cubicBezTo>
                  <a:cubicBezTo>
                    <a:pt x="293" y="663"/>
                    <a:pt x="293" y="663"/>
                    <a:pt x="293" y="663"/>
                  </a:cubicBezTo>
                  <a:cubicBezTo>
                    <a:pt x="288" y="667"/>
                    <a:pt x="288" y="667"/>
                    <a:pt x="288" y="667"/>
                  </a:cubicBezTo>
                  <a:cubicBezTo>
                    <a:pt x="288" y="673"/>
                    <a:pt x="288" y="673"/>
                    <a:pt x="288" y="673"/>
                  </a:cubicBezTo>
                  <a:cubicBezTo>
                    <a:pt x="286" y="673"/>
                    <a:pt x="284" y="673"/>
                    <a:pt x="282" y="674"/>
                  </a:cubicBezTo>
                  <a:cubicBezTo>
                    <a:pt x="277" y="677"/>
                    <a:pt x="276" y="673"/>
                    <a:pt x="274" y="670"/>
                  </a:cubicBezTo>
                  <a:cubicBezTo>
                    <a:pt x="273" y="666"/>
                    <a:pt x="263" y="658"/>
                    <a:pt x="256" y="658"/>
                  </a:cubicBezTo>
                  <a:cubicBezTo>
                    <a:pt x="250" y="659"/>
                    <a:pt x="249" y="662"/>
                    <a:pt x="244" y="662"/>
                  </a:cubicBezTo>
                  <a:cubicBezTo>
                    <a:pt x="240" y="663"/>
                    <a:pt x="239" y="668"/>
                    <a:pt x="237" y="668"/>
                  </a:cubicBezTo>
                  <a:cubicBezTo>
                    <a:pt x="236" y="669"/>
                    <a:pt x="223" y="671"/>
                    <a:pt x="221" y="670"/>
                  </a:cubicBezTo>
                  <a:cubicBezTo>
                    <a:pt x="218" y="669"/>
                    <a:pt x="208" y="668"/>
                    <a:pt x="202" y="668"/>
                  </a:cubicBezTo>
                  <a:cubicBezTo>
                    <a:pt x="196" y="668"/>
                    <a:pt x="190" y="668"/>
                    <a:pt x="185" y="663"/>
                  </a:cubicBezTo>
                  <a:cubicBezTo>
                    <a:pt x="180" y="659"/>
                    <a:pt x="175" y="663"/>
                    <a:pt x="169" y="668"/>
                  </a:cubicBezTo>
                  <a:cubicBezTo>
                    <a:pt x="164" y="674"/>
                    <a:pt x="158" y="665"/>
                    <a:pt x="153" y="664"/>
                  </a:cubicBezTo>
                  <a:cubicBezTo>
                    <a:pt x="148" y="663"/>
                    <a:pt x="141" y="663"/>
                    <a:pt x="134" y="661"/>
                  </a:cubicBezTo>
                  <a:cubicBezTo>
                    <a:pt x="127" y="659"/>
                    <a:pt x="120" y="661"/>
                    <a:pt x="115" y="661"/>
                  </a:cubicBezTo>
                  <a:cubicBezTo>
                    <a:pt x="110" y="661"/>
                    <a:pt x="108" y="661"/>
                    <a:pt x="102" y="656"/>
                  </a:cubicBezTo>
                  <a:cubicBezTo>
                    <a:pt x="96" y="652"/>
                    <a:pt x="83" y="649"/>
                    <a:pt x="82" y="650"/>
                  </a:cubicBezTo>
                  <a:cubicBezTo>
                    <a:pt x="81" y="652"/>
                    <a:pt x="79" y="654"/>
                    <a:pt x="76" y="659"/>
                  </a:cubicBezTo>
                  <a:cubicBezTo>
                    <a:pt x="72" y="663"/>
                    <a:pt x="75" y="664"/>
                    <a:pt x="76" y="667"/>
                  </a:cubicBezTo>
                  <a:cubicBezTo>
                    <a:pt x="78" y="670"/>
                    <a:pt x="75" y="670"/>
                    <a:pt x="73" y="673"/>
                  </a:cubicBezTo>
                  <a:cubicBezTo>
                    <a:pt x="70" y="676"/>
                    <a:pt x="76" y="678"/>
                    <a:pt x="85" y="685"/>
                  </a:cubicBezTo>
                  <a:cubicBezTo>
                    <a:pt x="93" y="692"/>
                    <a:pt x="88" y="693"/>
                    <a:pt x="84" y="694"/>
                  </a:cubicBezTo>
                  <a:cubicBezTo>
                    <a:pt x="80" y="696"/>
                    <a:pt x="73" y="688"/>
                    <a:pt x="70" y="685"/>
                  </a:cubicBezTo>
                  <a:cubicBezTo>
                    <a:pt x="66" y="681"/>
                    <a:pt x="61" y="686"/>
                    <a:pt x="56" y="689"/>
                  </a:cubicBezTo>
                  <a:cubicBezTo>
                    <a:pt x="51" y="693"/>
                    <a:pt x="54" y="701"/>
                    <a:pt x="54" y="705"/>
                  </a:cubicBezTo>
                  <a:cubicBezTo>
                    <a:pt x="54" y="710"/>
                    <a:pt x="53" y="708"/>
                    <a:pt x="46" y="708"/>
                  </a:cubicBezTo>
                  <a:cubicBezTo>
                    <a:pt x="39" y="708"/>
                    <a:pt x="33" y="706"/>
                    <a:pt x="29" y="708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9" y="703"/>
                    <a:pt x="29" y="703"/>
                    <a:pt x="29" y="703"/>
                  </a:cubicBezTo>
                  <a:cubicBezTo>
                    <a:pt x="33" y="695"/>
                    <a:pt x="33" y="695"/>
                    <a:pt x="33" y="695"/>
                  </a:cubicBezTo>
                  <a:cubicBezTo>
                    <a:pt x="30" y="691"/>
                    <a:pt x="30" y="691"/>
                    <a:pt x="30" y="691"/>
                  </a:cubicBezTo>
                  <a:cubicBezTo>
                    <a:pt x="22" y="687"/>
                    <a:pt x="22" y="687"/>
                    <a:pt x="22" y="687"/>
                  </a:cubicBezTo>
                  <a:cubicBezTo>
                    <a:pt x="14" y="689"/>
                    <a:pt x="14" y="689"/>
                    <a:pt x="14" y="689"/>
                  </a:cubicBezTo>
                  <a:cubicBezTo>
                    <a:pt x="0" y="687"/>
                    <a:pt x="0" y="687"/>
                    <a:pt x="0" y="687"/>
                  </a:cubicBezTo>
                  <a:cubicBezTo>
                    <a:pt x="0" y="687"/>
                    <a:pt x="6" y="682"/>
                    <a:pt x="6" y="682"/>
                  </a:cubicBezTo>
                  <a:cubicBezTo>
                    <a:pt x="7" y="681"/>
                    <a:pt x="12" y="673"/>
                    <a:pt x="12" y="673"/>
                  </a:cubicBezTo>
                  <a:cubicBezTo>
                    <a:pt x="16" y="664"/>
                    <a:pt x="16" y="664"/>
                    <a:pt x="16" y="664"/>
                  </a:cubicBezTo>
                  <a:cubicBezTo>
                    <a:pt x="20" y="663"/>
                    <a:pt x="20" y="663"/>
                    <a:pt x="20" y="663"/>
                  </a:cubicBezTo>
                  <a:cubicBezTo>
                    <a:pt x="20" y="658"/>
                    <a:pt x="20" y="658"/>
                    <a:pt x="20" y="658"/>
                  </a:cubicBezTo>
                  <a:cubicBezTo>
                    <a:pt x="26" y="650"/>
                    <a:pt x="26" y="650"/>
                    <a:pt x="26" y="650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7" y="634"/>
                    <a:pt x="37" y="634"/>
                    <a:pt x="37" y="634"/>
                  </a:cubicBezTo>
                  <a:cubicBezTo>
                    <a:pt x="40" y="629"/>
                    <a:pt x="40" y="629"/>
                    <a:pt x="40" y="629"/>
                  </a:cubicBezTo>
                  <a:cubicBezTo>
                    <a:pt x="46" y="628"/>
                    <a:pt x="46" y="628"/>
                    <a:pt x="46" y="628"/>
                  </a:cubicBezTo>
                  <a:cubicBezTo>
                    <a:pt x="50" y="632"/>
                    <a:pt x="50" y="632"/>
                    <a:pt x="50" y="632"/>
                  </a:cubicBezTo>
                  <a:cubicBezTo>
                    <a:pt x="57" y="633"/>
                    <a:pt x="57" y="633"/>
                    <a:pt x="57" y="633"/>
                  </a:cubicBezTo>
                  <a:cubicBezTo>
                    <a:pt x="58" y="626"/>
                    <a:pt x="58" y="626"/>
                    <a:pt x="58" y="626"/>
                  </a:cubicBezTo>
                  <a:cubicBezTo>
                    <a:pt x="56" y="618"/>
                    <a:pt x="56" y="618"/>
                    <a:pt x="56" y="618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3" y="612"/>
                    <a:pt x="43" y="612"/>
                    <a:pt x="43" y="612"/>
                  </a:cubicBezTo>
                  <a:cubicBezTo>
                    <a:pt x="40" y="615"/>
                    <a:pt x="40" y="615"/>
                    <a:pt x="40" y="615"/>
                  </a:cubicBezTo>
                  <a:cubicBezTo>
                    <a:pt x="34" y="615"/>
                    <a:pt x="34" y="615"/>
                    <a:pt x="34" y="615"/>
                  </a:cubicBezTo>
                  <a:cubicBezTo>
                    <a:pt x="26" y="612"/>
                    <a:pt x="26" y="612"/>
                    <a:pt x="26" y="612"/>
                  </a:cubicBezTo>
                  <a:cubicBezTo>
                    <a:pt x="22" y="604"/>
                    <a:pt x="22" y="604"/>
                    <a:pt x="22" y="604"/>
                  </a:cubicBezTo>
                  <a:cubicBezTo>
                    <a:pt x="21" y="594"/>
                    <a:pt x="21" y="594"/>
                    <a:pt x="21" y="594"/>
                  </a:cubicBezTo>
                  <a:cubicBezTo>
                    <a:pt x="15" y="583"/>
                    <a:pt x="15" y="583"/>
                    <a:pt x="15" y="583"/>
                  </a:cubicBezTo>
                  <a:cubicBezTo>
                    <a:pt x="21" y="576"/>
                    <a:pt x="21" y="576"/>
                    <a:pt x="21" y="576"/>
                  </a:cubicBezTo>
                  <a:cubicBezTo>
                    <a:pt x="28" y="574"/>
                    <a:pt x="28" y="574"/>
                    <a:pt x="28" y="574"/>
                  </a:cubicBezTo>
                  <a:cubicBezTo>
                    <a:pt x="36" y="579"/>
                    <a:pt x="36" y="579"/>
                    <a:pt x="36" y="579"/>
                  </a:cubicBezTo>
                  <a:cubicBezTo>
                    <a:pt x="44" y="584"/>
                    <a:pt x="44" y="584"/>
                    <a:pt x="44" y="584"/>
                  </a:cubicBezTo>
                  <a:cubicBezTo>
                    <a:pt x="44" y="592"/>
                    <a:pt x="44" y="592"/>
                    <a:pt x="44" y="592"/>
                  </a:cubicBezTo>
                  <a:cubicBezTo>
                    <a:pt x="53" y="594"/>
                    <a:pt x="53" y="594"/>
                    <a:pt x="53" y="594"/>
                  </a:cubicBezTo>
                  <a:cubicBezTo>
                    <a:pt x="57" y="588"/>
                    <a:pt x="57" y="588"/>
                    <a:pt x="57" y="588"/>
                  </a:cubicBezTo>
                  <a:cubicBezTo>
                    <a:pt x="67" y="585"/>
                    <a:pt x="67" y="585"/>
                    <a:pt x="67" y="585"/>
                  </a:cubicBezTo>
                  <a:cubicBezTo>
                    <a:pt x="67" y="585"/>
                    <a:pt x="70" y="578"/>
                    <a:pt x="70" y="577"/>
                  </a:cubicBezTo>
                  <a:cubicBezTo>
                    <a:pt x="71" y="577"/>
                    <a:pt x="75" y="569"/>
                    <a:pt x="75" y="569"/>
                  </a:cubicBezTo>
                  <a:cubicBezTo>
                    <a:pt x="75" y="556"/>
                    <a:pt x="75" y="556"/>
                    <a:pt x="75" y="556"/>
                  </a:cubicBezTo>
                  <a:cubicBezTo>
                    <a:pt x="67" y="563"/>
                    <a:pt x="67" y="563"/>
                    <a:pt x="67" y="563"/>
                  </a:cubicBezTo>
                  <a:cubicBezTo>
                    <a:pt x="63" y="555"/>
                    <a:pt x="63" y="555"/>
                    <a:pt x="63" y="555"/>
                  </a:cubicBezTo>
                  <a:cubicBezTo>
                    <a:pt x="54" y="554"/>
                    <a:pt x="54" y="554"/>
                    <a:pt x="54" y="554"/>
                  </a:cubicBezTo>
                  <a:cubicBezTo>
                    <a:pt x="42" y="539"/>
                    <a:pt x="42" y="539"/>
                    <a:pt x="42" y="539"/>
                  </a:cubicBezTo>
                  <a:cubicBezTo>
                    <a:pt x="51" y="529"/>
                    <a:pt x="51" y="529"/>
                    <a:pt x="51" y="529"/>
                  </a:cubicBezTo>
                  <a:cubicBezTo>
                    <a:pt x="53" y="518"/>
                    <a:pt x="53" y="518"/>
                    <a:pt x="53" y="518"/>
                  </a:cubicBezTo>
                  <a:cubicBezTo>
                    <a:pt x="66" y="519"/>
                    <a:pt x="66" y="519"/>
                    <a:pt x="66" y="519"/>
                  </a:cubicBezTo>
                  <a:cubicBezTo>
                    <a:pt x="72" y="515"/>
                    <a:pt x="72" y="515"/>
                    <a:pt x="72" y="515"/>
                  </a:cubicBezTo>
                  <a:cubicBezTo>
                    <a:pt x="76" y="504"/>
                    <a:pt x="76" y="504"/>
                    <a:pt x="76" y="504"/>
                  </a:cubicBezTo>
                  <a:cubicBezTo>
                    <a:pt x="83" y="501"/>
                    <a:pt x="83" y="501"/>
                    <a:pt x="83" y="501"/>
                  </a:cubicBezTo>
                  <a:cubicBezTo>
                    <a:pt x="90" y="508"/>
                    <a:pt x="90" y="508"/>
                    <a:pt x="90" y="508"/>
                  </a:cubicBezTo>
                  <a:cubicBezTo>
                    <a:pt x="98" y="501"/>
                    <a:pt x="98" y="501"/>
                    <a:pt x="98" y="501"/>
                  </a:cubicBezTo>
                  <a:cubicBezTo>
                    <a:pt x="93" y="493"/>
                    <a:pt x="93" y="493"/>
                    <a:pt x="93" y="493"/>
                  </a:cubicBezTo>
                  <a:cubicBezTo>
                    <a:pt x="101" y="488"/>
                    <a:pt x="101" y="488"/>
                    <a:pt x="101" y="488"/>
                  </a:cubicBezTo>
                  <a:cubicBezTo>
                    <a:pt x="110" y="489"/>
                    <a:pt x="110" y="489"/>
                    <a:pt x="110" y="489"/>
                  </a:cubicBezTo>
                  <a:cubicBezTo>
                    <a:pt x="119" y="479"/>
                    <a:pt x="119" y="479"/>
                    <a:pt x="119" y="479"/>
                  </a:cubicBezTo>
                  <a:cubicBezTo>
                    <a:pt x="113" y="471"/>
                    <a:pt x="113" y="471"/>
                    <a:pt x="113" y="471"/>
                  </a:cubicBezTo>
                  <a:cubicBezTo>
                    <a:pt x="121" y="464"/>
                    <a:pt x="121" y="464"/>
                    <a:pt x="121" y="464"/>
                  </a:cubicBezTo>
                  <a:cubicBezTo>
                    <a:pt x="121" y="455"/>
                    <a:pt x="121" y="455"/>
                    <a:pt x="121" y="455"/>
                  </a:cubicBezTo>
                  <a:cubicBezTo>
                    <a:pt x="116" y="449"/>
                    <a:pt x="116" y="449"/>
                    <a:pt x="116" y="449"/>
                  </a:cubicBezTo>
                  <a:cubicBezTo>
                    <a:pt x="116" y="439"/>
                    <a:pt x="116" y="439"/>
                    <a:pt x="116" y="439"/>
                  </a:cubicBezTo>
                  <a:cubicBezTo>
                    <a:pt x="122" y="430"/>
                    <a:pt x="122" y="430"/>
                    <a:pt x="122" y="430"/>
                  </a:cubicBezTo>
                  <a:cubicBezTo>
                    <a:pt x="134" y="430"/>
                    <a:pt x="134" y="430"/>
                    <a:pt x="134" y="430"/>
                  </a:cubicBezTo>
                  <a:cubicBezTo>
                    <a:pt x="151" y="407"/>
                    <a:pt x="151" y="407"/>
                    <a:pt x="151" y="407"/>
                  </a:cubicBezTo>
                  <a:cubicBezTo>
                    <a:pt x="156" y="399"/>
                    <a:pt x="156" y="399"/>
                    <a:pt x="156" y="399"/>
                  </a:cubicBezTo>
                  <a:cubicBezTo>
                    <a:pt x="156" y="387"/>
                    <a:pt x="156" y="387"/>
                    <a:pt x="156" y="387"/>
                  </a:cubicBezTo>
                  <a:cubicBezTo>
                    <a:pt x="166" y="384"/>
                    <a:pt x="166" y="384"/>
                    <a:pt x="166" y="384"/>
                  </a:cubicBezTo>
                  <a:cubicBezTo>
                    <a:pt x="164" y="375"/>
                    <a:pt x="164" y="375"/>
                    <a:pt x="164" y="375"/>
                  </a:cubicBezTo>
                  <a:cubicBezTo>
                    <a:pt x="170" y="368"/>
                    <a:pt x="170" y="368"/>
                    <a:pt x="170" y="368"/>
                  </a:cubicBezTo>
                  <a:cubicBezTo>
                    <a:pt x="173" y="366"/>
                    <a:pt x="173" y="366"/>
                    <a:pt x="173" y="366"/>
                  </a:cubicBezTo>
                  <a:cubicBezTo>
                    <a:pt x="172" y="359"/>
                    <a:pt x="172" y="359"/>
                    <a:pt x="172" y="359"/>
                  </a:cubicBezTo>
                  <a:cubicBezTo>
                    <a:pt x="183" y="348"/>
                    <a:pt x="183" y="348"/>
                    <a:pt x="183" y="348"/>
                  </a:cubicBezTo>
                  <a:cubicBezTo>
                    <a:pt x="185" y="339"/>
                    <a:pt x="185" y="339"/>
                    <a:pt x="185" y="339"/>
                  </a:cubicBezTo>
                  <a:cubicBezTo>
                    <a:pt x="187" y="337"/>
                    <a:pt x="187" y="337"/>
                    <a:pt x="187" y="337"/>
                  </a:cubicBezTo>
                  <a:cubicBezTo>
                    <a:pt x="186" y="328"/>
                    <a:pt x="186" y="328"/>
                    <a:pt x="186" y="328"/>
                  </a:cubicBezTo>
                  <a:cubicBezTo>
                    <a:pt x="190" y="316"/>
                    <a:pt x="190" y="316"/>
                    <a:pt x="190" y="316"/>
                  </a:cubicBezTo>
                  <a:cubicBezTo>
                    <a:pt x="203" y="310"/>
                    <a:pt x="203" y="310"/>
                    <a:pt x="203" y="310"/>
                  </a:cubicBezTo>
                  <a:cubicBezTo>
                    <a:pt x="202" y="299"/>
                    <a:pt x="202" y="299"/>
                    <a:pt x="202" y="299"/>
                  </a:cubicBezTo>
                  <a:cubicBezTo>
                    <a:pt x="213" y="295"/>
                    <a:pt x="213" y="295"/>
                    <a:pt x="213" y="295"/>
                  </a:cubicBezTo>
                  <a:cubicBezTo>
                    <a:pt x="211" y="285"/>
                    <a:pt x="211" y="285"/>
                    <a:pt x="211" y="285"/>
                  </a:cubicBezTo>
                  <a:cubicBezTo>
                    <a:pt x="230" y="265"/>
                    <a:pt x="230" y="265"/>
                    <a:pt x="230" y="265"/>
                  </a:cubicBezTo>
                  <a:cubicBezTo>
                    <a:pt x="238" y="267"/>
                    <a:pt x="238" y="267"/>
                    <a:pt x="238" y="267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44" y="272"/>
                    <a:pt x="244" y="272"/>
                    <a:pt x="244" y="272"/>
                  </a:cubicBezTo>
                  <a:cubicBezTo>
                    <a:pt x="265" y="252"/>
                    <a:pt x="265" y="252"/>
                    <a:pt x="265" y="252"/>
                  </a:cubicBezTo>
                  <a:cubicBezTo>
                    <a:pt x="283" y="252"/>
                    <a:pt x="283" y="252"/>
                    <a:pt x="283" y="252"/>
                  </a:cubicBezTo>
                  <a:cubicBezTo>
                    <a:pt x="284" y="243"/>
                    <a:pt x="284" y="243"/>
                    <a:pt x="284" y="243"/>
                  </a:cubicBezTo>
                  <a:cubicBezTo>
                    <a:pt x="304" y="233"/>
                    <a:pt x="304" y="233"/>
                    <a:pt x="304" y="23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330" y="223"/>
                    <a:pt x="330" y="223"/>
                    <a:pt x="330" y="223"/>
                  </a:cubicBezTo>
                  <a:cubicBezTo>
                    <a:pt x="337" y="223"/>
                    <a:pt x="337" y="223"/>
                    <a:pt x="337" y="223"/>
                  </a:cubicBezTo>
                  <a:cubicBezTo>
                    <a:pt x="345" y="215"/>
                    <a:pt x="345" y="215"/>
                    <a:pt x="345" y="215"/>
                  </a:cubicBezTo>
                  <a:cubicBezTo>
                    <a:pt x="355" y="211"/>
                    <a:pt x="355" y="211"/>
                    <a:pt x="355" y="211"/>
                  </a:cubicBezTo>
                  <a:cubicBezTo>
                    <a:pt x="348" y="205"/>
                    <a:pt x="348" y="205"/>
                    <a:pt x="348" y="205"/>
                  </a:cubicBezTo>
                  <a:cubicBezTo>
                    <a:pt x="357" y="198"/>
                    <a:pt x="357" y="198"/>
                    <a:pt x="357" y="198"/>
                  </a:cubicBezTo>
                  <a:cubicBezTo>
                    <a:pt x="349" y="191"/>
                    <a:pt x="349" y="191"/>
                    <a:pt x="349" y="191"/>
                  </a:cubicBezTo>
                  <a:cubicBezTo>
                    <a:pt x="352" y="180"/>
                    <a:pt x="352" y="180"/>
                    <a:pt x="352" y="180"/>
                  </a:cubicBezTo>
                  <a:cubicBezTo>
                    <a:pt x="359" y="176"/>
                    <a:pt x="359" y="176"/>
                    <a:pt x="359" y="176"/>
                  </a:cubicBezTo>
                  <a:cubicBezTo>
                    <a:pt x="360" y="163"/>
                    <a:pt x="360" y="163"/>
                    <a:pt x="360" y="163"/>
                  </a:cubicBezTo>
                  <a:cubicBezTo>
                    <a:pt x="352" y="156"/>
                    <a:pt x="352" y="156"/>
                    <a:pt x="352" y="156"/>
                  </a:cubicBezTo>
                  <a:cubicBezTo>
                    <a:pt x="362" y="143"/>
                    <a:pt x="362" y="143"/>
                    <a:pt x="362" y="143"/>
                  </a:cubicBezTo>
                  <a:close/>
                  <a:moveTo>
                    <a:pt x="468" y="15"/>
                  </a:moveTo>
                  <a:cubicBezTo>
                    <a:pt x="468" y="15"/>
                    <a:pt x="468" y="15"/>
                    <a:pt x="468" y="15"/>
                  </a:cubicBezTo>
                  <a:cubicBezTo>
                    <a:pt x="468" y="15"/>
                    <a:pt x="469" y="19"/>
                    <a:pt x="475" y="22"/>
                  </a:cubicBezTo>
                  <a:cubicBezTo>
                    <a:pt x="480" y="24"/>
                    <a:pt x="487" y="19"/>
                    <a:pt x="486" y="15"/>
                  </a:cubicBezTo>
                  <a:cubicBezTo>
                    <a:pt x="485" y="10"/>
                    <a:pt x="482" y="12"/>
                    <a:pt x="484" y="8"/>
                  </a:cubicBezTo>
                  <a:cubicBezTo>
                    <a:pt x="486" y="4"/>
                    <a:pt x="476" y="0"/>
                    <a:pt x="473" y="2"/>
                  </a:cubicBezTo>
                  <a:cubicBezTo>
                    <a:pt x="470" y="5"/>
                    <a:pt x="468" y="14"/>
                    <a:pt x="468" y="15"/>
                  </a:cubicBezTo>
                  <a:close/>
                </a:path>
              </a:pathLst>
            </a:custGeom>
            <a:solidFill>
              <a:schemeClr val="lt1"/>
            </a:solidFill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" name="Freeform 76"/>
            <p:cNvSpPr>
              <a:spLocks noEditPoints="1"/>
            </p:cNvSpPr>
            <p:nvPr/>
          </p:nvSpPr>
          <p:spPr bwMode="auto">
            <a:xfrm>
              <a:off x="5176838" y="1519709"/>
              <a:ext cx="3754438" cy="4783138"/>
            </a:xfrm>
            <a:custGeom>
              <a:avLst/>
              <a:gdLst>
                <a:gd name="T0" fmla="*/ 131 w 1180"/>
                <a:gd name="T1" fmla="*/ 586 h 1502"/>
                <a:gd name="T2" fmla="*/ 224 w 1180"/>
                <a:gd name="T3" fmla="*/ 563 h 1502"/>
                <a:gd name="T4" fmla="*/ 327 w 1180"/>
                <a:gd name="T5" fmla="*/ 539 h 1502"/>
                <a:gd name="T6" fmla="*/ 345 w 1180"/>
                <a:gd name="T7" fmla="*/ 455 h 1502"/>
                <a:gd name="T8" fmla="*/ 442 w 1180"/>
                <a:gd name="T9" fmla="*/ 422 h 1502"/>
                <a:gd name="T10" fmla="*/ 593 w 1180"/>
                <a:gd name="T11" fmla="*/ 351 h 1502"/>
                <a:gd name="T12" fmla="*/ 645 w 1180"/>
                <a:gd name="T13" fmla="*/ 271 h 1502"/>
                <a:gd name="T14" fmla="*/ 667 w 1180"/>
                <a:gd name="T15" fmla="*/ 165 h 1502"/>
                <a:gd name="T16" fmla="*/ 826 w 1180"/>
                <a:gd name="T17" fmla="*/ 69 h 1502"/>
                <a:gd name="T18" fmla="*/ 869 w 1180"/>
                <a:gd name="T19" fmla="*/ 23 h 1502"/>
                <a:gd name="T20" fmla="*/ 885 w 1180"/>
                <a:gd name="T21" fmla="*/ 101 h 1502"/>
                <a:gd name="T22" fmla="*/ 840 w 1180"/>
                <a:gd name="T23" fmla="*/ 156 h 1502"/>
                <a:gd name="T24" fmla="*/ 873 w 1180"/>
                <a:gd name="T25" fmla="*/ 214 h 1502"/>
                <a:gd name="T26" fmla="*/ 939 w 1180"/>
                <a:gd name="T27" fmla="*/ 277 h 1502"/>
                <a:gd name="T28" fmla="*/ 942 w 1180"/>
                <a:gd name="T29" fmla="*/ 451 h 1502"/>
                <a:gd name="T30" fmla="*/ 963 w 1180"/>
                <a:gd name="T31" fmla="*/ 572 h 1502"/>
                <a:gd name="T32" fmla="*/ 1055 w 1180"/>
                <a:gd name="T33" fmla="*/ 628 h 1502"/>
                <a:gd name="T34" fmla="*/ 1109 w 1180"/>
                <a:gd name="T35" fmla="*/ 805 h 1502"/>
                <a:gd name="T36" fmla="*/ 905 w 1180"/>
                <a:gd name="T37" fmla="*/ 567 h 1502"/>
                <a:gd name="T38" fmla="*/ 841 w 1180"/>
                <a:gd name="T39" fmla="*/ 472 h 1502"/>
                <a:gd name="T40" fmla="*/ 808 w 1180"/>
                <a:gd name="T41" fmla="*/ 560 h 1502"/>
                <a:gd name="T42" fmla="*/ 849 w 1180"/>
                <a:gd name="T43" fmla="*/ 669 h 1502"/>
                <a:gd name="T44" fmla="*/ 772 w 1180"/>
                <a:gd name="T45" fmla="*/ 734 h 1502"/>
                <a:gd name="T46" fmla="*/ 697 w 1180"/>
                <a:gd name="T47" fmla="*/ 901 h 1502"/>
                <a:gd name="T48" fmla="*/ 752 w 1180"/>
                <a:gd name="T49" fmla="*/ 1051 h 1502"/>
                <a:gd name="T50" fmla="*/ 841 w 1180"/>
                <a:gd name="T51" fmla="*/ 1035 h 1502"/>
                <a:gd name="T52" fmla="*/ 925 w 1180"/>
                <a:gd name="T53" fmla="*/ 1205 h 1502"/>
                <a:gd name="T54" fmla="*/ 912 w 1180"/>
                <a:gd name="T55" fmla="*/ 1456 h 1502"/>
                <a:gd name="T56" fmla="*/ 852 w 1180"/>
                <a:gd name="T57" fmla="*/ 1494 h 1502"/>
                <a:gd name="T58" fmla="*/ 851 w 1180"/>
                <a:gd name="T59" fmla="*/ 1351 h 1502"/>
                <a:gd name="T60" fmla="*/ 789 w 1180"/>
                <a:gd name="T61" fmla="*/ 1302 h 1502"/>
                <a:gd name="T62" fmla="*/ 638 w 1180"/>
                <a:gd name="T63" fmla="*/ 1303 h 1502"/>
                <a:gd name="T64" fmla="*/ 460 w 1180"/>
                <a:gd name="T65" fmla="*/ 1241 h 1502"/>
                <a:gd name="T66" fmla="*/ 415 w 1180"/>
                <a:gd name="T67" fmla="*/ 1181 h 1502"/>
                <a:gd name="T68" fmla="*/ 366 w 1180"/>
                <a:gd name="T69" fmla="*/ 1158 h 1502"/>
                <a:gd name="T70" fmla="*/ 316 w 1180"/>
                <a:gd name="T71" fmla="*/ 1088 h 1502"/>
                <a:gd name="T72" fmla="*/ 231 w 1180"/>
                <a:gd name="T73" fmla="*/ 1081 h 1502"/>
                <a:gd name="T74" fmla="*/ 192 w 1180"/>
                <a:gd name="T75" fmla="*/ 1131 h 1502"/>
                <a:gd name="T76" fmla="*/ 127 w 1180"/>
                <a:gd name="T77" fmla="*/ 1056 h 1502"/>
                <a:gd name="T78" fmla="*/ 84 w 1180"/>
                <a:gd name="T79" fmla="*/ 996 h 1502"/>
                <a:gd name="T80" fmla="*/ 33 w 1180"/>
                <a:gd name="T81" fmla="*/ 973 h 1502"/>
                <a:gd name="T82" fmla="*/ 21 w 1180"/>
                <a:gd name="T83" fmla="*/ 883 h 1502"/>
                <a:gd name="T84" fmla="*/ 18 w 1180"/>
                <a:gd name="T85" fmla="*/ 761 h 1502"/>
                <a:gd name="T86" fmla="*/ 59 w 1180"/>
                <a:gd name="T87" fmla="*/ 690 h 1502"/>
                <a:gd name="T88" fmla="*/ 7 w 1180"/>
                <a:gd name="T89" fmla="*/ 599 h 1502"/>
                <a:gd name="T90" fmla="*/ 903 w 1180"/>
                <a:gd name="T91" fmla="*/ 1076 h 1502"/>
                <a:gd name="T92" fmla="*/ 1031 w 1180"/>
                <a:gd name="T93" fmla="*/ 1170 h 1502"/>
                <a:gd name="T94" fmla="*/ 972 w 1180"/>
                <a:gd name="T95" fmla="*/ 1074 h 1502"/>
                <a:gd name="T96" fmla="*/ 721 w 1180"/>
                <a:gd name="T97" fmla="*/ 1026 h 1502"/>
                <a:gd name="T98" fmla="*/ 1169 w 1180"/>
                <a:gd name="T99" fmla="*/ 1043 h 1502"/>
                <a:gd name="T100" fmla="*/ 1153 w 1180"/>
                <a:gd name="T101" fmla="*/ 905 h 1502"/>
                <a:gd name="T102" fmla="*/ 1123 w 1180"/>
                <a:gd name="T103" fmla="*/ 829 h 1502"/>
                <a:gd name="T104" fmla="*/ 1099 w 1180"/>
                <a:gd name="T105" fmla="*/ 545 h 1502"/>
                <a:gd name="T106" fmla="*/ 619 w 1180"/>
                <a:gd name="T107" fmla="*/ 88 h 1502"/>
                <a:gd name="T108" fmla="*/ 325 w 1180"/>
                <a:gd name="T109" fmla="*/ 355 h 1502"/>
                <a:gd name="T110" fmla="*/ 283 w 1180"/>
                <a:gd name="T111" fmla="*/ 393 h 1502"/>
                <a:gd name="T112" fmla="*/ 228 w 1180"/>
                <a:gd name="T113" fmla="*/ 382 h 1502"/>
                <a:gd name="T114" fmla="*/ 293 w 1180"/>
                <a:gd name="T115" fmla="*/ 428 h 1502"/>
                <a:gd name="T116" fmla="*/ 18 w 1180"/>
                <a:gd name="T117" fmla="*/ 568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80" h="1502">
                  <a:moveTo>
                    <a:pt x="5" y="595"/>
                  </a:moveTo>
                  <a:cubicBezTo>
                    <a:pt x="5" y="595"/>
                    <a:pt x="5" y="595"/>
                    <a:pt x="5" y="595"/>
                  </a:cubicBezTo>
                  <a:cubicBezTo>
                    <a:pt x="8" y="592"/>
                    <a:pt x="12" y="590"/>
                    <a:pt x="13" y="595"/>
                  </a:cubicBezTo>
                  <a:cubicBezTo>
                    <a:pt x="15" y="599"/>
                    <a:pt x="20" y="602"/>
                    <a:pt x="24" y="598"/>
                  </a:cubicBezTo>
                  <a:cubicBezTo>
                    <a:pt x="28" y="595"/>
                    <a:pt x="28" y="588"/>
                    <a:pt x="31" y="590"/>
                  </a:cubicBezTo>
                  <a:cubicBezTo>
                    <a:pt x="35" y="591"/>
                    <a:pt x="36" y="599"/>
                    <a:pt x="38" y="600"/>
                  </a:cubicBezTo>
                  <a:cubicBezTo>
                    <a:pt x="41" y="600"/>
                    <a:pt x="48" y="595"/>
                    <a:pt x="51" y="591"/>
                  </a:cubicBezTo>
                  <a:cubicBezTo>
                    <a:pt x="55" y="588"/>
                    <a:pt x="65" y="586"/>
                    <a:pt x="77" y="584"/>
                  </a:cubicBezTo>
                  <a:cubicBezTo>
                    <a:pt x="89" y="581"/>
                    <a:pt x="94" y="577"/>
                    <a:pt x="94" y="582"/>
                  </a:cubicBezTo>
                  <a:cubicBezTo>
                    <a:pt x="94" y="586"/>
                    <a:pt x="95" y="590"/>
                    <a:pt x="103" y="593"/>
                  </a:cubicBezTo>
                  <a:cubicBezTo>
                    <a:pt x="110" y="596"/>
                    <a:pt x="126" y="590"/>
                    <a:pt x="131" y="586"/>
                  </a:cubicBezTo>
                  <a:cubicBezTo>
                    <a:pt x="136" y="582"/>
                    <a:pt x="147" y="583"/>
                    <a:pt x="150" y="579"/>
                  </a:cubicBezTo>
                  <a:cubicBezTo>
                    <a:pt x="152" y="574"/>
                    <a:pt x="148" y="569"/>
                    <a:pt x="145" y="567"/>
                  </a:cubicBezTo>
                  <a:cubicBezTo>
                    <a:pt x="141" y="564"/>
                    <a:pt x="137" y="557"/>
                    <a:pt x="139" y="552"/>
                  </a:cubicBezTo>
                  <a:cubicBezTo>
                    <a:pt x="141" y="547"/>
                    <a:pt x="148" y="541"/>
                    <a:pt x="153" y="544"/>
                  </a:cubicBezTo>
                  <a:cubicBezTo>
                    <a:pt x="157" y="547"/>
                    <a:pt x="168" y="547"/>
                    <a:pt x="172" y="544"/>
                  </a:cubicBezTo>
                  <a:cubicBezTo>
                    <a:pt x="176" y="541"/>
                    <a:pt x="183" y="536"/>
                    <a:pt x="188" y="537"/>
                  </a:cubicBezTo>
                  <a:cubicBezTo>
                    <a:pt x="192" y="539"/>
                    <a:pt x="206" y="540"/>
                    <a:pt x="207" y="544"/>
                  </a:cubicBezTo>
                  <a:cubicBezTo>
                    <a:pt x="209" y="547"/>
                    <a:pt x="210" y="549"/>
                    <a:pt x="208" y="551"/>
                  </a:cubicBezTo>
                  <a:cubicBezTo>
                    <a:pt x="206" y="553"/>
                    <a:pt x="217" y="552"/>
                    <a:pt x="218" y="552"/>
                  </a:cubicBezTo>
                  <a:cubicBezTo>
                    <a:pt x="219" y="553"/>
                    <a:pt x="214" y="561"/>
                    <a:pt x="211" y="563"/>
                  </a:cubicBezTo>
                  <a:cubicBezTo>
                    <a:pt x="207" y="565"/>
                    <a:pt x="219" y="558"/>
                    <a:pt x="224" y="563"/>
                  </a:cubicBezTo>
                  <a:cubicBezTo>
                    <a:pt x="229" y="568"/>
                    <a:pt x="233" y="568"/>
                    <a:pt x="230" y="571"/>
                  </a:cubicBezTo>
                  <a:cubicBezTo>
                    <a:pt x="227" y="574"/>
                    <a:pt x="220" y="574"/>
                    <a:pt x="218" y="576"/>
                  </a:cubicBezTo>
                  <a:cubicBezTo>
                    <a:pt x="216" y="578"/>
                    <a:pt x="223" y="578"/>
                    <a:pt x="232" y="585"/>
                  </a:cubicBezTo>
                  <a:cubicBezTo>
                    <a:pt x="241" y="591"/>
                    <a:pt x="256" y="601"/>
                    <a:pt x="259" y="603"/>
                  </a:cubicBezTo>
                  <a:cubicBezTo>
                    <a:pt x="261" y="605"/>
                    <a:pt x="279" y="610"/>
                    <a:pt x="278" y="601"/>
                  </a:cubicBezTo>
                  <a:cubicBezTo>
                    <a:pt x="278" y="593"/>
                    <a:pt x="274" y="583"/>
                    <a:pt x="270" y="576"/>
                  </a:cubicBezTo>
                  <a:cubicBezTo>
                    <a:pt x="266" y="569"/>
                    <a:pt x="265" y="559"/>
                    <a:pt x="267" y="558"/>
                  </a:cubicBezTo>
                  <a:cubicBezTo>
                    <a:pt x="270" y="558"/>
                    <a:pt x="277" y="562"/>
                    <a:pt x="282" y="564"/>
                  </a:cubicBezTo>
                  <a:cubicBezTo>
                    <a:pt x="288" y="566"/>
                    <a:pt x="301" y="562"/>
                    <a:pt x="301" y="560"/>
                  </a:cubicBezTo>
                  <a:cubicBezTo>
                    <a:pt x="301" y="557"/>
                    <a:pt x="301" y="547"/>
                    <a:pt x="309" y="543"/>
                  </a:cubicBezTo>
                  <a:cubicBezTo>
                    <a:pt x="317" y="539"/>
                    <a:pt x="319" y="537"/>
                    <a:pt x="327" y="539"/>
                  </a:cubicBezTo>
                  <a:cubicBezTo>
                    <a:pt x="336" y="542"/>
                    <a:pt x="337" y="535"/>
                    <a:pt x="333" y="533"/>
                  </a:cubicBezTo>
                  <a:cubicBezTo>
                    <a:pt x="329" y="532"/>
                    <a:pt x="328" y="527"/>
                    <a:pt x="333" y="524"/>
                  </a:cubicBezTo>
                  <a:cubicBezTo>
                    <a:pt x="337" y="521"/>
                    <a:pt x="347" y="521"/>
                    <a:pt x="346" y="518"/>
                  </a:cubicBezTo>
                  <a:cubicBezTo>
                    <a:pt x="345" y="514"/>
                    <a:pt x="333" y="507"/>
                    <a:pt x="333" y="503"/>
                  </a:cubicBezTo>
                  <a:cubicBezTo>
                    <a:pt x="333" y="499"/>
                    <a:pt x="334" y="492"/>
                    <a:pt x="332" y="494"/>
                  </a:cubicBezTo>
                  <a:cubicBezTo>
                    <a:pt x="329" y="496"/>
                    <a:pt x="325" y="502"/>
                    <a:pt x="320" y="496"/>
                  </a:cubicBezTo>
                  <a:cubicBezTo>
                    <a:pt x="316" y="489"/>
                    <a:pt x="321" y="487"/>
                    <a:pt x="325" y="486"/>
                  </a:cubicBezTo>
                  <a:cubicBezTo>
                    <a:pt x="329" y="485"/>
                    <a:pt x="330" y="479"/>
                    <a:pt x="329" y="476"/>
                  </a:cubicBezTo>
                  <a:cubicBezTo>
                    <a:pt x="327" y="474"/>
                    <a:pt x="318" y="471"/>
                    <a:pt x="320" y="469"/>
                  </a:cubicBezTo>
                  <a:cubicBezTo>
                    <a:pt x="321" y="468"/>
                    <a:pt x="323" y="464"/>
                    <a:pt x="327" y="464"/>
                  </a:cubicBezTo>
                  <a:cubicBezTo>
                    <a:pt x="331" y="465"/>
                    <a:pt x="340" y="459"/>
                    <a:pt x="345" y="455"/>
                  </a:cubicBezTo>
                  <a:cubicBezTo>
                    <a:pt x="350" y="450"/>
                    <a:pt x="358" y="448"/>
                    <a:pt x="364" y="443"/>
                  </a:cubicBezTo>
                  <a:cubicBezTo>
                    <a:pt x="370" y="439"/>
                    <a:pt x="379" y="432"/>
                    <a:pt x="381" y="435"/>
                  </a:cubicBezTo>
                  <a:cubicBezTo>
                    <a:pt x="383" y="438"/>
                    <a:pt x="376" y="442"/>
                    <a:pt x="375" y="446"/>
                  </a:cubicBezTo>
                  <a:cubicBezTo>
                    <a:pt x="374" y="450"/>
                    <a:pt x="382" y="445"/>
                    <a:pt x="385" y="442"/>
                  </a:cubicBezTo>
                  <a:cubicBezTo>
                    <a:pt x="387" y="440"/>
                    <a:pt x="389" y="446"/>
                    <a:pt x="390" y="449"/>
                  </a:cubicBezTo>
                  <a:cubicBezTo>
                    <a:pt x="391" y="452"/>
                    <a:pt x="394" y="447"/>
                    <a:pt x="391" y="440"/>
                  </a:cubicBezTo>
                  <a:cubicBezTo>
                    <a:pt x="387" y="433"/>
                    <a:pt x="388" y="430"/>
                    <a:pt x="393" y="425"/>
                  </a:cubicBezTo>
                  <a:cubicBezTo>
                    <a:pt x="398" y="421"/>
                    <a:pt x="406" y="416"/>
                    <a:pt x="414" y="414"/>
                  </a:cubicBezTo>
                  <a:cubicBezTo>
                    <a:pt x="422" y="411"/>
                    <a:pt x="428" y="413"/>
                    <a:pt x="426" y="417"/>
                  </a:cubicBezTo>
                  <a:cubicBezTo>
                    <a:pt x="424" y="421"/>
                    <a:pt x="422" y="429"/>
                    <a:pt x="428" y="426"/>
                  </a:cubicBezTo>
                  <a:cubicBezTo>
                    <a:pt x="434" y="424"/>
                    <a:pt x="439" y="420"/>
                    <a:pt x="442" y="422"/>
                  </a:cubicBezTo>
                  <a:cubicBezTo>
                    <a:pt x="445" y="425"/>
                    <a:pt x="450" y="424"/>
                    <a:pt x="454" y="419"/>
                  </a:cubicBezTo>
                  <a:cubicBezTo>
                    <a:pt x="458" y="414"/>
                    <a:pt x="466" y="413"/>
                    <a:pt x="469" y="417"/>
                  </a:cubicBezTo>
                  <a:cubicBezTo>
                    <a:pt x="472" y="421"/>
                    <a:pt x="486" y="416"/>
                    <a:pt x="488" y="407"/>
                  </a:cubicBezTo>
                  <a:cubicBezTo>
                    <a:pt x="490" y="397"/>
                    <a:pt x="491" y="388"/>
                    <a:pt x="498" y="380"/>
                  </a:cubicBezTo>
                  <a:cubicBezTo>
                    <a:pt x="505" y="372"/>
                    <a:pt x="509" y="364"/>
                    <a:pt x="519" y="354"/>
                  </a:cubicBezTo>
                  <a:cubicBezTo>
                    <a:pt x="529" y="344"/>
                    <a:pt x="546" y="345"/>
                    <a:pt x="554" y="349"/>
                  </a:cubicBezTo>
                  <a:cubicBezTo>
                    <a:pt x="561" y="353"/>
                    <a:pt x="559" y="357"/>
                    <a:pt x="564" y="362"/>
                  </a:cubicBezTo>
                  <a:cubicBezTo>
                    <a:pt x="570" y="366"/>
                    <a:pt x="576" y="359"/>
                    <a:pt x="578" y="355"/>
                  </a:cubicBezTo>
                  <a:cubicBezTo>
                    <a:pt x="580" y="351"/>
                    <a:pt x="587" y="355"/>
                    <a:pt x="592" y="360"/>
                  </a:cubicBezTo>
                  <a:cubicBezTo>
                    <a:pt x="597" y="365"/>
                    <a:pt x="605" y="365"/>
                    <a:pt x="605" y="363"/>
                  </a:cubicBezTo>
                  <a:cubicBezTo>
                    <a:pt x="605" y="361"/>
                    <a:pt x="597" y="358"/>
                    <a:pt x="593" y="351"/>
                  </a:cubicBezTo>
                  <a:cubicBezTo>
                    <a:pt x="589" y="343"/>
                    <a:pt x="589" y="342"/>
                    <a:pt x="593" y="334"/>
                  </a:cubicBezTo>
                  <a:cubicBezTo>
                    <a:pt x="597" y="325"/>
                    <a:pt x="598" y="319"/>
                    <a:pt x="601" y="316"/>
                  </a:cubicBezTo>
                  <a:cubicBezTo>
                    <a:pt x="603" y="312"/>
                    <a:pt x="609" y="311"/>
                    <a:pt x="614" y="306"/>
                  </a:cubicBezTo>
                  <a:cubicBezTo>
                    <a:pt x="618" y="300"/>
                    <a:pt x="625" y="294"/>
                    <a:pt x="625" y="289"/>
                  </a:cubicBezTo>
                  <a:cubicBezTo>
                    <a:pt x="625" y="284"/>
                    <a:pt x="623" y="275"/>
                    <a:pt x="620" y="272"/>
                  </a:cubicBezTo>
                  <a:cubicBezTo>
                    <a:pt x="617" y="270"/>
                    <a:pt x="616" y="264"/>
                    <a:pt x="617" y="262"/>
                  </a:cubicBezTo>
                  <a:cubicBezTo>
                    <a:pt x="618" y="260"/>
                    <a:pt x="627" y="252"/>
                    <a:pt x="629" y="251"/>
                  </a:cubicBezTo>
                  <a:cubicBezTo>
                    <a:pt x="631" y="250"/>
                    <a:pt x="640" y="257"/>
                    <a:pt x="640" y="259"/>
                  </a:cubicBezTo>
                  <a:cubicBezTo>
                    <a:pt x="639" y="261"/>
                    <a:pt x="632" y="266"/>
                    <a:pt x="631" y="269"/>
                  </a:cubicBezTo>
                  <a:cubicBezTo>
                    <a:pt x="629" y="271"/>
                    <a:pt x="634" y="272"/>
                    <a:pt x="637" y="273"/>
                  </a:cubicBezTo>
                  <a:cubicBezTo>
                    <a:pt x="640" y="274"/>
                    <a:pt x="641" y="274"/>
                    <a:pt x="645" y="271"/>
                  </a:cubicBezTo>
                  <a:cubicBezTo>
                    <a:pt x="650" y="268"/>
                    <a:pt x="653" y="262"/>
                    <a:pt x="657" y="264"/>
                  </a:cubicBezTo>
                  <a:cubicBezTo>
                    <a:pt x="661" y="266"/>
                    <a:pt x="667" y="264"/>
                    <a:pt x="669" y="259"/>
                  </a:cubicBezTo>
                  <a:cubicBezTo>
                    <a:pt x="671" y="254"/>
                    <a:pt x="670" y="245"/>
                    <a:pt x="660" y="243"/>
                  </a:cubicBezTo>
                  <a:cubicBezTo>
                    <a:pt x="651" y="241"/>
                    <a:pt x="645" y="243"/>
                    <a:pt x="643" y="244"/>
                  </a:cubicBezTo>
                  <a:cubicBezTo>
                    <a:pt x="641" y="246"/>
                    <a:pt x="639" y="243"/>
                    <a:pt x="636" y="240"/>
                  </a:cubicBezTo>
                  <a:cubicBezTo>
                    <a:pt x="632" y="236"/>
                    <a:pt x="626" y="232"/>
                    <a:pt x="626" y="231"/>
                  </a:cubicBezTo>
                  <a:cubicBezTo>
                    <a:pt x="625" y="230"/>
                    <a:pt x="628" y="226"/>
                    <a:pt x="633" y="221"/>
                  </a:cubicBezTo>
                  <a:cubicBezTo>
                    <a:pt x="638" y="217"/>
                    <a:pt x="644" y="206"/>
                    <a:pt x="648" y="206"/>
                  </a:cubicBezTo>
                  <a:cubicBezTo>
                    <a:pt x="651" y="205"/>
                    <a:pt x="650" y="199"/>
                    <a:pt x="652" y="196"/>
                  </a:cubicBezTo>
                  <a:cubicBezTo>
                    <a:pt x="653" y="192"/>
                    <a:pt x="660" y="183"/>
                    <a:pt x="660" y="177"/>
                  </a:cubicBezTo>
                  <a:cubicBezTo>
                    <a:pt x="659" y="172"/>
                    <a:pt x="659" y="171"/>
                    <a:pt x="667" y="165"/>
                  </a:cubicBezTo>
                  <a:cubicBezTo>
                    <a:pt x="675" y="159"/>
                    <a:pt x="687" y="150"/>
                    <a:pt x="688" y="146"/>
                  </a:cubicBezTo>
                  <a:cubicBezTo>
                    <a:pt x="690" y="141"/>
                    <a:pt x="698" y="134"/>
                    <a:pt x="705" y="129"/>
                  </a:cubicBezTo>
                  <a:cubicBezTo>
                    <a:pt x="712" y="124"/>
                    <a:pt x="716" y="126"/>
                    <a:pt x="722" y="119"/>
                  </a:cubicBezTo>
                  <a:cubicBezTo>
                    <a:pt x="727" y="113"/>
                    <a:pt x="738" y="111"/>
                    <a:pt x="741" y="108"/>
                  </a:cubicBezTo>
                  <a:cubicBezTo>
                    <a:pt x="744" y="105"/>
                    <a:pt x="756" y="97"/>
                    <a:pt x="759" y="93"/>
                  </a:cubicBezTo>
                  <a:cubicBezTo>
                    <a:pt x="762" y="90"/>
                    <a:pt x="774" y="81"/>
                    <a:pt x="777" y="78"/>
                  </a:cubicBezTo>
                  <a:cubicBezTo>
                    <a:pt x="780" y="75"/>
                    <a:pt x="786" y="76"/>
                    <a:pt x="789" y="74"/>
                  </a:cubicBezTo>
                  <a:cubicBezTo>
                    <a:pt x="792" y="71"/>
                    <a:pt x="796" y="71"/>
                    <a:pt x="797" y="73"/>
                  </a:cubicBezTo>
                  <a:cubicBezTo>
                    <a:pt x="799" y="75"/>
                    <a:pt x="804" y="76"/>
                    <a:pt x="808" y="75"/>
                  </a:cubicBezTo>
                  <a:cubicBezTo>
                    <a:pt x="812" y="74"/>
                    <a:pt x="819" y="78"/>
                    <a:pt x="820" y="77"/>
                  </a:cubicBezTo>
                  <a:cubicBezTo>
                    <a:pt x="821" y="76"/>
                    <a:pt x="831" y="70"/>
                    <a:pt x="826" y="69"/>
                  </a:cubicBezTo>
                  <a:cubicBezTo>
                    <a:pt x="822" y="68"/>
                    <a:pt x="821" y="65"/>
                    <a:pt x="816" y="67"/>
                  </a:cubicBezTo>
                  <a:cubicBezTo>
                    <a:pt x="811" y="68"/>
                    <a:pt x="809" y="66"/>
                    <a:pt x="805" y="67"/>
                  </a:cubicBezTo>
                  <a:cubicBezTo>
                    <a:pt x="802" y="68"/>
                    <a:pt x="803" y="62"/>
                    <a:pt x="806" y="58"/>
                  </a:cubicBezTo>
                  <a:cubicBezTo>
                    <a:pt x="808" y="54"/>
                    <a:pt x="811" y="57"/>
                    <a:pt x="812" y="53"/>
                  </a:cubicBezTo>
                  <a:cubicBezTo>
                    <a:pt x="813" y="48"/>
                    <a:pt x="813" y="46"/>
                    <a:pt x="811" y="44"/>
                  </a:cubicBezTo>
                  <a:cubicBezTo>
                    <a:pt x="810" y="41"/>
                    <a:pt x="812" y="35"/>
                    <a:pt x="814" y="31"/>
                  </a:cubicBezTo>
                  <a:cubicBezTo>
                    <a:pt x="817" y="28"/>
                    <a:pt x="822" y="29"/>
                    <a:pt x="826" y="26"/>
                  </a:cubicBezTo>
                  <a:cubicBezTo>
                    <a:pt x="830" y="23"/>
                    <a:pt x="850" y="5"/>
                    <a:pt x="853" y="2"/>
                  </a:cubicBezTo>
                  <a:cubicBezTo>
                    <a:pt x="855" y="0"/>
                    <a:pt x="857" y="5"/>
                    <a:pt x="857" y="8"/>
                  </a:cubicBezTo>
                  <a:cubicBezTo>
                    <a:pt x="857" y="11"/>
                    <a:pt x="859" y="16"/>
                    <a:pt x="862" y="17"/>
                  </a:cubicBezTo>
                  <a:cubicBezTo>
                    <a:pt x="866" y="18"/>
                    <a:pt x="869" y="20"/>
                    <a:pt x="869" y="23"/>
                  </a:cubicBezTo>
                  <a:cubicBezTo>
                    <a:pt x="869" y="26"/>
                    <a:pt x="868" y="30"/>
                    <a:pt x="869" y="33"/>
                  </a:cubicBezTo>
                  <a:cubicBezTo>
                    <a:pt x="871" y="35"/>
                    <a:pt x="872" y="43"/>
                    <a:pt x="870" y="45"/>
                  </a:cubicBezTo>
                  <a:cubicBezTo>
                    <a:pt x="869" y="47"/>
                    <a:pt x="871" y="52"/>
                    <a:pt x="877" y="49"/>
                  </a:cubicBezTo>
                  <a:cubicBezTo>
                    <a:pt x="884" y="47"/>
                    <a:pt x="893" y="53"/>
                    <a:pt x="893" y="57"/>
                  </a:cubicBezTo>
                  <a:cubicBezTo>
                    <a:pt x="893" y="61"/>
                    <a:pt x="895" y="64"/>
                    <a:pt x="899" y="61"/>
                  </a:cubicBezTo>
                  <a:cubicBezTo>
                    <a:pt x="903" y="58"/>
                    <a:pt x="906" y="56"/>
                    <a:pt x="907" y="58"/>
                  </a:cubicBezTo>
                  <a:cubicBezTo>
                    <a:pt x="908" y="60"/>
                    <a:pt x="907" y="64"/>
                    <a:pt x="908" y="66"/>
                  </a:cubicBezTo>
                  <a:cubicBezTo>
                    <a:pt x="908" y="68"/>
                    <a:pt x="913" y="71"/>
                    <a:pt x="912" y="74"/>
                  </a:cubicBezTo>
                  <a:cubicBezTo>
                    <a:pt x="911" y="77"/>
                    <a:pt x="911" y="78"/>
                    <a:pt x="906" y="81"/>
                  </a:cubicBezTo>
                  <a:cubicBezTo>
                    <a:pt x="900" y="85"/>
                    <a:pt x="898" y="85"/>
                    <a:pt x="895" y="89"/>
                  </a:cubicBezTo>
                  <a:cubicBezTo>
                    <a:pt x="891" y="93"/>
                    <a:pt x="887" y="96"/>
                    <a:pt x="885" y="101"/>
                  </a:cubicBezTo>
                  <a:cubicBezTo>
                    <a:pt x="884" y="105"/>
                    <a:pt x="883" y="107"/>
                    <a:pt x="880" y="108"/>
                  </a:cubicBezTo>
                  <a:cubicBezTo>
                    <a:pt x="877" y="108"/>
                    <a:pt x="861" y="103"/>
                    <a:pt x="858" y="108"/>
                  </a:cubicBezTo>
                  <a:cubicBezTo>
                    <a:pt x="854" y="113"/>
                    <a:pt x="848" y="119"/>
                    <a:pt x="850" y="125"/>
                  </a:cubicBezTo>
                  <a:cubicBezTo>
                    <a:pt x="852" y="130"/>
                    <a:pt x="852" y="132"/>
                    <a:pt x="851" y="137"/>
                  </a:cubicBezTo>
                  <a:cubicBezTo>
                    <a:pt x="850" y="141"/>
                    <a:pt x="848" y="146"/>
                    <a:pt x="845" y="144"/>
                  </a:cubicBezTo>
                  <a:cubicBezTo>
                    <a:pt x="841" y="143"/>
                    <a:pt x="838" y="144"/>
                    <a:pt x="836" y="145"/>
                  </a:cubicBezTo>
                  <a:cubicBezTo>
                    <a:pt x="834" y="146"/>
                    <a:pt x="827" y="146"/>
                    <a:pt x="826" y="144"/>
                  </a:cubicBezTo>
                  <a:cubicBezTo>
                    <a:pt x="824" y="143"/>
                    <a:pt x="820" y="141"/>
                    <a:pt x="819" y="143"/>
                  </a:cubicBezTo>
                  <a:cubicBezTo>
                    <a:pt x="817" y="146"/>
                    <a:pt x="821" y="151"/>
                    <a:pt x="821" y="154"/>
                  </a:cubicBezTo>
                  <a:cubicBezTo>
                    <a:pt x="821" y="158"/>
                    <a:pt x="825" y="160"/>
                    <a:pt x="830" y="158"/>
                  </a:cubicBezTo>
                  <a:cubicBezTo>
                    <a:pt x="835" y="156"/>
                    <a:pt x="836" y="153"/>
                    <a:pt x="840" y="156"/>
                  </a:cubicBezTo>
                  <a:cubicBezTo>
                    <a:pt x="844" y="159"/>
                    <a:pt x="847" y="158"/>
                    <a:pt x="851" y="162"/>
                  </a:cubicBezTo>
                  <a:cubicBezTo>
                    <a:pt x="855" y="165"/>
                    <a:pt x="857" y="165"/>
                    <a:pt x="858" y="172"/>
                  </a:cubicBezTo>
                  <a:cubicBezTo>
                    <a:pt x="859" y="180"/>
                    <a:pt x="863" y="177"/>
                    <a:pt x="865" y="185"/>
                  </a:cubicBezTo>
                  <a:cubicBezTo>
                    <a:pt x="867" y="192"/>
                    <a:pt x="867" y="191"/>
                    <a:pt x="867" y="196"/>
                  </a:cubicBezTo>
                  <a:cubicBezTo>
                    <a:pt x="867" y="202"/>
                    <a:pt x="865" y="202"/>
                    <a:pt x="862" y="205"/>
                  </a:cubicBezTo>
                  <a:cubicBezTo>
                    <a:pt x="859" y="207"/>
                    <a:pt x="860" y="210"/>
                    <a:pt x="855" y="213"/>
                  </a:cubicBezTo>
                  <a:cubicBezTo>
                    <a:pt x="850" y="215"/>
                    <a:pt x="845" y="218"/>
                    <a:pt x="845" y="222"/>
                  </a:cubicBezTo>
                  <a:cubicBezTo>
                    <a:pt x="844" y="225"/>
                    <a:pt x="851" y="227"/>
                    <a:pt x="849" y="229"/>
                  </a:cubicBezTo>
                  <a:cubicBezTo>
                    <a:pt x="847" y="230"/>
                    <a:pt x="856" y="228"/>
                    <a:pt x="853" y="224"/>
                  </a:cubicBezTo>
                  <a:cubicBezTo>
                    <a:pt x="850" y="219"/>
                    <a:pt x="855" y="215"/>
                    <a:pt x="857" y="215"/>
                  </a:cubicBezTo>
                  <a:cubicBezTo>
                    <a:pt x="858" y="215"/>
                    <a:pt x="871" y="218"/>
                    <a:pt x="873" y="214"/>
                  </a:cubicBezTo>
                  <a:cubicBezTo>
                    <a:pt x="874" y="210"/>
                    <a:pt x="874" y="203"/>
                    <a:pt x="881" y="205"/>
                  </a:cubicBezTo>
                  <a:cubicBezTo>
                    <a:pt x="889" y="207"/>
                    <a:pt x="885" y="205"/>
                    <a:pt x="891" y="204"/>
                  </a:cubicBezTo>
                  <a:cubicBezTo>
                    <a:pt x="896" y="203"/>
                    <a:pt x="902" y="205"/>
                    <a:pt x="905" y="208"/>
                  </a:cubicBezTo>
                  <a:cubicBezTo>
                    <a:pt x="908" y="210"/>
                    <a:pt x="917" y="205"/>
                    <a:pt x="919" y="203"/>
                  </a:cubicBezTo>
                  <a:cubicBezTo>
                    <a:pt x="921" y="201"/>
                    <a:pt x="927" y="202"/>
                    <a:pt x="928" y="203"/>
                  </a:cubicBezTo>
                  <a:cubicBezTo>
                    <a:pt x="930" y="205"/>
                    <a:pt x="937" y="203"/>
                    <a:pt x="939" y="202"/>
                  </a:cubicBezTo>
                  <a:cubicBezTo>
                    <a:pt x="941" y="201"/>
                    <a:pt x="957" y="214"/>
                    <a:pt x="955" y="217"/>
                  </a:cubicBezTo>
                  <a:cubicBezTo>
                    <a:pt x="952" y="221"/>
                    <a:pt x="942" y="230"/>
                    <a:pt x="938" y="234"/>
                  </a:cubicBezTo>
                  <a:cubicBezTo>
                    <a:pt x="934" y="238"/>
                    <a:pt x="927" y="239"/>
                    <a:pt x="928" y="244"/>
                  </a:cubicBezTo>
                  <a:cubicBezTo>
                    <a:pt x="930" y="248"/>
                    <a:pt x="933" y="255"/>
                    <a:pt x="935" y="258"/>
                  </a:cubicBezTo>
                  <a:cubicBezTo>
                    <a:pt x="937" y="262"/>
                    <a:pt x="941" y="270"/>
                    <a:pt x="939" y="277"/>
                  </a:cubicBezTo>
                  <a:cubicBezTo>
                    <a:pt x="938" y="284"/>
                    <a:pt x="940" y="284"/>
                    <a:pt x="942" y="291"/>
                  </a:cubicBezTo>
                  <a:cubicBezTo>
                    <a:pt x="943" y="299"/>
                    <a:pt x="946" y="303"/>
                    <a:pt x="945" y="311"/>
                  </a:cubicBezTo>
                  <a:cubicBezTo>
                    <a:pt x="945" y="318"/>
                    <a:pt x="948" y="332"/>
                    <a:pt x="951" y="336"/>
                  </a:cubicBezTo>
                  <a:cubicBezTo>
                    <a:pt x="953" y="340"/>
                    <a:pt x="958" y="346"/>
                    <a:pt x="959" y="350"/>
                  </a:cubicBezTo>
                  <a:cubicBezTo>
                    <a:pt x="960" y="354"/>
                    <a:pt x="963" y="359"/>
                    <a:pt x="964" y="365"/>
                  </a:cubicBezTo>
                  <a:cubicBezTo>
                    <a:pt x="964" y="371"/>
                    <a:pt x="965" y="379"/>
                    <a:pt x="967" y="382"/>
                  </a:cubicBezTo>
                  <a:cubicBezTo>
                    <a:pt x="968" y="384"/>
                    <a:pt x="976" y="392"/>
                    <a:pt x="979" y="393"/>
                  </a:cubicBezTo>
                  <a:cubicBezTo>
                    <a:pt x="982" y="395"/>
                    <a:pt x="979" y="400"/>
                    <a:pt x="972" y="400"/>
                  </a:cubicBezTo>
                  <a:cubicBezTo>
                    <a:pt x="964" y="400"/>
                    <a:pt x="960" y="402"/>
                    <a:pt x="957" y="404"/>
                  </a:cubicBezTo>
                  <a:cubicBezTo>
                    <a:pt x="954" y="405"/>
                    <a:pt x="946" y="408"/>
                    <a:pt x="942" y="424"/>
                  </a:cubicBezTo>
                  <a:cubicBezTo>
                    <a:pt x="937" y="440"/>
                    <a:pt x="938" y="444"/>
                    <a:pt x="942" y="451"/>
                  </a:cubicBezTo>
                  <a:cubicBezTo>
                    <a:pt x="946" y="459"/>
                    <a:pt x="949" y="468"/>
                    <a:pt x="949" y="468"/>
                  </a:cubicBezTo>
                  <a:cubicBezTo>
                    <a:pt x="949" y="468"/>
                    <a:pt x="939" y="465"/>
                    <a:pt x="937" y="463"/>
                  </a:cubicBezTo>
                  <a:cubicBezTo>
                    <a:pt x="935" y="460"/>
                    <a:pt x="928" y="457"/>
                    <a:pt x="928" y="457"/>
                  </a:cubicBezTo>
                  <a:cubicBezTo>
                    <a:pt x="928" y="457"/>
                    <a:pt x="929" y="474"/>
                    <a:pt x="932" y="479"/>
                  </a:cubicBezTo>
                  <a:cubicBezTo>
                    <a:pt x="935" y="484"/>
                    <a:pt x="939" y="484"/>
                    <a:pt x="936" y="487"/>
                  </a:cubicBezTo>
                  <a:cubicBezTo>
                    <a:pt x="932" y="490"/>
                    <a:pt x="926" y="486"/>
                    <a:pt x="926" y="493"/>
                  </a:cubicBezTo>
                  <a:cubicBezTo>
                    <a:pt x="926" y="500"/>
                    <a:pt x="927" y="500"/>
                    <a:pt x="924" y="502"/>
                  </a:cubicBezTo>
                  <a:cubicBezTo>
                    <a:pt x="921" y="504"/>
                    <a:pt x="922" y="504"/>
                    <a:pt x="925" y="510"/>
                  </a:cubicBezTo>
                  <a:cubicBezTo>
                    <a:pt x="927" y="516"/>
                    <a:pt x="936" y="519"/>
                    <a:pt x="938" y="525"/>
                  </a:cubicBezTo>
                  <a:cubicBezTo>
                    <a:pt x="940" y="531"/>
                    <a:pt x="945" y="534"/>
                    <a:pt x="948" y="542"/>
                  </a:cubicBezTo>
                  <a:cubicBezTo>
                    <a:pt x="951" y="551"/>
                    <a:pt x="958" y="567"/>
                    <a:pt x="963" y="572"/>
                  </a:cubicBezTo>
                  <a:cubicBezTo>
                    <a:pt x="969" y="576"/>
                    <a:pt x="981" y="574"/>
                    <a:pt x="979" y="569"/>
                  </a:cubicBezTo>
                  <a:cubicBezTo>
                    <a:pt x="978" y="565"/>
                    <a:pt x="980" y="558"/>
                    <a:pt x="985" y="556"/>
                  </a:cubicBezTo>
                  <a:cubicBezTo>
                    <a:pt x="991" y="555"/>
                    <a:pt x="997" y="560"/>
                    <a:pt x="997" y="565"/>
                  </a:cubicBezTo>
                  <a:cubicBezTo>
                    <a:pt x="997" y="570"/>
                    <a:pt x="1001" y="573"/>
                    <a:pt x="1005" y="575"/>
                  </a:cubicBezTo>
                  <a:cubicBezTo>
                    <a:pt x="1009" y="576"/>
                    <a:pt x="1018" y="582"/>
                    <a:pt x="1020" y="580"/>
                  </a:cubicBezTo>
                  <a:cubicBezTo>
                    <a:pt x="1021" y="578"/>
                    <a:pt x="1028" y="575"/>
                    <a:pt x="1033" y="577"/>
                  </a:cubicBezTo>
                  <a:cubicBezTo>
                    <a:pt x="1037" y="579"/>
                    <a:pt x="1047" y="586"/>
                    <a:pt x="1042" y="591"/>
                  </a:cubicBezTo>
                  <a:cubicBezTo>
                    <a:pt x="1038" y="595"/>
                    <a:pt x="1033" y="594"/>
                    <a:pt x="1032" y="594"/>
                  </a:cubicBezTo>
                  <a:cubicBezTo>
                    <a:pt x="1030" y="595"/>
                    <a:pt x="1031" y="599"/>
                    <a:pt x="1031" y="603"/>
                  </a:cubicBezTo>
                  <a:cubicBezTo>
                    <a:pt x="1032" y="608"/>
                    <a:pt x="1036" y="609"/>
                    <a:pt x="1039" y="616"/>
                  </a:cubicBezTo>
                  <a:cubicBezTo>
                    <a:pt x="1043" y="622"/>
                    <a:pt x="1045" y="623"/>
                    <a:pt x="1055" y="628"/>
                  </a:cubicBezTo>
                  <a:cubicBezTo>
                    <a:pt x="1065" y="633"/>
                    <a:pt x="1074" y="627"/>
                    <a:pt x="1076" y="632"/>
                  </a:cubicBezTo>
                  <a:cubicBezTo>
                    <a:pt x="1078" y="638"/>
                    <a:pt x="1079" y="647"/>
                    <a:pt x="1076" y="651"/>
                  </a:cubicBezTo>
                  <a:cubicBezTo>
                    <a:pt x="1072" y="655"/>
                    <a:pt x="1066" y="651"/>
                    <a:pt x="1066" y="663"/>
                  </a:cubicBezTo>
                  <a:cubicBezTo>
                    <a:pt x="1067" y="675"/>
                    <a:pt x="1066" y="680"/>
                    <a:pt x="1070" y="685"/>
                  </a:cubicBezTo>
                  <a:cubicBezTo>
                    <a:pt x="1073" y="690"/>
                    <a:pt x="1100" y="700"/>
                    <a:pt x="1101" y="703"/>
                  </a:cubicBezTo>
                  <a:cubicBezTo>
                    <a:pt x="1102" y="706"/>
                    <a:pt x="1093" y="705"/>
                    <a:pt x="1093" y="710"/>
                  </a:cubicBezTo>
                  <a:cubicBezTo>
                    <a:pt x="1092" y="715"/>
                    <a:pt x="1093" y="718"/>
                    <a:pt x="1093" y="725"/>
                  </a:cubicBezTo>
                  <a:cubicBezTo>
                    <a:pt x="1093" y="732"/>
                    <a:pt x="1095" y="735"/>
                    <a:pt x="1099" y="740"/>
                  </a:cubicBezTo>
                  <a:cubicBezTo>
                    <a:pt x="1103" y="745"/>
                    <a:pt x="1115" y="751"/>
                    <a:pt x="1118" y="759"/>
                  </a:cubicBezTo>
                  <a:cubicBezTo>
                    <a:pt x="1121" y="767"/>
                    <a:pt x="1125" y="812"/>
                    <a:pt x="1125" y="812"/>
                  </a:cubicBezTo>
                  <a:cubicBezTo>
                    <a:pt x="1125" y="812"/>
                    <a:pt x="1116" y="806"/>
                    <a:pt x="1109" y="805"/>
                  </a:cubicBezTo>
                  <a:cubicBezTo>
                    <a:pt x="1102" y="804"/>
                    <a:pt x="1092" y="797"/>
                    <a:pt x="1084" y="791"/>
                  </a:cubicBezTo>
                  <a:cubicBezTo>
                    <a:pt x="1075" y="784"/>
                    <a:pt x="1070" y="790"/>
                    <a:pt x="1052" y="779"/>
                  </a:cubicBezTo>
                  <a:cubicBezTo>
                    <a:pt x="1034" y="767"/>
                    <a:pt x="1010" y="754"/>
                    <a:pt x="995" y="747"/>
                  </a:cubicBezTo>
                  <a:cubicBezTo>
                    <a:pt x="981" y="739"/>
                    <a:pt x="956" y="715"/>
                    <a:pt x="948" y="705"/>
                  </a:cubicBezTo>
                  <a:cubicBezTo>
                    <a:pt x="939" y="695"/>
                    <a:pt x="941" y="681"/>
                    <a:pt x="936" y="674"/>
                  </a:cubicBezTo>
                  <a:cubicBezTo>
                    <a:pt x="931" y="668"/>
                    <a:pt x="922" y="666"/>
                    <a:pt x="919" y="663"/>
                  </a:cubicBezTo>
                  <a:cubicBezTo>
                    <a:pt x="917" y="660"/>
                    <a:pt x="923" y="659"/>
                    <a:pt x="924" y="654"/>
                  </a:cubicBezTo>
                  <a:cubicBezTo>
                    <a:pt x="925" y="650"/>
                    <a:pt x="919" y="645"/>
                    <a:pt x="923" y="640"/>
                  </a:cubicBezTo>
                  <a:cubicBezTo>
                    <a:pt x="927" y="636"/>
                    <a:pt x="930" y="629"/>
                    <a:pt x="927" y="625"/>
                  </a:cubicBezTo>
                  <a:cubicBezTo>
                    <a:pt x="924" y="621"/>
                    <a:pt x="923" y="598"/>
                    <a:pt x="915" y="591"/>
                  </a:cubicBezTo>
                  <a:cubicBezTo>
                    <a:pt x="908" y="584"/>
                    <a:pt x="905" y="574"/>
                    <a:pt x="905" y="567"/>
                  </a:cubicBezTo>
                  <a:cubicBezTo>
                    <a:pt x="905" y="559"/>
                    <a:pt x="904" y="552"/>
                    <a:pt x="900" y="547"/>
                  </a:cubicBezTo>
                  <a:cubicBezTo>
                    <a:pt x="896" y="541"/>
                    <a:pt x="898" y="531"/>
                    <a:pt x="893" y="527"/>
                  </a:cubicBezTo>
                  <a:cubicBezTo>
                    <a:pt x="888" y="524"/>
                    <a:pt x="888" y="521"/>
                    <a:pt x="888" y="513"/>
                  </a:cubicBezTo>
                  <a:cubicBezTo>
                    <a:pt x="887" y="504"/>
                    <a:pt x="894" y="499"/>
                    <a:pt x="889" y="493"/>
                  </a:cubicBezTo>
                  <a:cubicBezTo>
                    <a:pt x="884" y="488"/>
                    <a:pt x="881" y="484"/>
                    <a:pt x="881" y="479"/>
                  </a:cubicBezTo>
                  <a:cubicBezTo>
                    <a:pt x="880" y="475"/>
                    <a:pt x="876" y="478"/>
                    <a:pt x="869" y="473"/>
                  </a:cubicBezTo>
                  <a:cubicBezTo>
                    <a:pt x="862" y="467"/>
                    <a:pt x="851" y="459"/>
                    <a:pt x="850" y="454"/>
                  </a:cubicBezTo>
                  <a:cubicBezTo>
                    <a:pt x="848" y="449"/>
                    <a:pt x="848" y="443"/>
                    <a:pt x="851" y="440"/>
                  </a:cubicBezTo>
                  <a:cubicBezTo>
                    <a:pt x="854" y="438"/>
                    <a:pt x="853" y="432"/>
                    <a:pt x="848" y="436"/>
                  </a:cubicBezTo>
                  <a:cubicBezTo>
                    <a:pt x="843" y="440"/>
                    <a:pt x="837" y="450"/>
                    <a:pt x="836" y="456"/>
                  </a:cubicBezTo>
                  <a:cubicBezTo>
                    <a:pt x="834" y="462"/>
                    <a:pt x="835" y="466"/>
                    <a:pt x="841" y="472"/>
                  </a:cubicBezTo>
                  <a:cubicBezTo>
                    <a:pt x="847" y="478"/>
                    <a:pt x="849" y="483"/>
                    <a:pt x="856" y="481"/>
                  </a:cubicBezTo>
                  <a:cubicBezTo>
                    <a:pt x="863" y="479"/>
                    <a:pt x="866" y="486"/>
                    <a:pt x="863" y="489"/>
                  </a:cubicBezTo>
                  <a:cubicBezTo>
                    <a:pt x="859" y="493"/>
                    <a:pt x="856" y="495"/>
                    <a:pt x="857" y="498"/>
                  </a:cubicBezTo>
                  <a:cubicBezTo>
                    <a:pt x="858" y="501"/>
                    <a:pt x="864" y="529"/>
                    <a:pt x="866" y="535"/>
                  </a:cubicBezTo>
                  <a:cubicBezTo>
                    <a:pt x="867" y="540"/>
                    <a:pt x="868" y="548"/>
                    <a:pt x="866" y="548"/>
                  </a:cubicBezTo>
                  <a:cubicBezTo>
                    <a:pt x="864" y="548"/>
                    <a:pt x="860" y="540"/>
                    <a:pt x="856" y="543"/>
                  </a:cubicBezTo>
                  <a:cubicBezTo>
                    <a:pt x="852" y="545"/>
                    <a:pt x="845" y="544"/>
                    <a:pt x="841" y="540"/>
                  </a:cubicBezTo>
                  <a:cubicBezTo>
                    <a:pt x="838" y="536"/>
                    <a:pt x="833" y="524"/>
                    <a:pt x="829" y="527"/>
                  </a:cubicBezTo>
                  <a:cubicBezTo>
                    <a:pt x="824" y="530"/>
                    <a:pt x="822" y="539"/>
                    <a:pt x="820" y="539"/>
                  </a:cubicBezTo>
                  <a:cubicBezTo>
                    <a:pt x="818" y="539"/>
                    <a:pt x="814" y="542"/>
                    <a:pt x="812" y="545"/>
                  </a:cubicBezTo>
                  <a:cubicBezTo>
                    <a:pt x="810" y="549"/>
                    <a:pt x="812" y="556"/>
                    <a:pt x="808" y="560"/>
                  </a:cubicBezTo>
                  <a:cubicBezTo>
                    <a:pt x="804" y="563"/>
                    <a:pt x="803" y="567"/>
                    <a:pt x="804" y="572"/>
                  </a:cubicBezTo>
                  <a:cubicBezTo>
                    <a:pt x="804" y="578"/>
                    <a:pt x="800" y="580"/>
                    <a:pt x="807" y="585"/>
                  </a:cubicBezTo>
                  <a:cubicBezTo>
                    <a:pt x="815" y="591"/>
                    <a:pt x="814" y="591"/>
                    <a:pt x="814" y="597"/>
                  </a:cubicBezTo>
                  <a:cubicBezTo>
                    <a:pt x="815" y="602"/>
                    <a:pt x="816" y="606"/>
                    <a:pt x="819" y="612"/>
                  </a:cubicBezTo>
                  <a:cubicBezTo>
                    <a:pt x="823" y="617"/>
                    <a:pt x="819" y="620"/>
                    <a:pt x="818" y="625"/>
                  </a:cubicBezTo>
                  <a:cubicBezTo>
                    <a:pt x="818" y="630"/>
                    <a:pt x="820" y="636"/>
                    <a:pt x="824" y="642"/>
                  </a:cubicBezTo>
                  <a:cubicBezTo>
                    <a:pt x="827" y="649"/>
                    <a:pt x="829" y="650"/>
                    <a:pt x="829" y="655"/>
                  </a:cubicBezTo>
                  <a:cubicBezTo>
                    <a:pt x="829" y="659"/>
                    <a:pt x="833" y="663"/>
                    <a:pt x="836" y="663"/>
                  </a:cubicBezTo>
                  <a:cubicBezTo>
                    <a:pt x="838" y="663"/>
                    <a:pt x="842" y="659"/>
                    <a:pt x="843" y="654"/>
                  </a:cubicBezTo>
                  <a:cubicBezTo>
                    <a:pt x="843" y="650"/>
                    <a:pt x="854" y="651"/>
                    <a:pt x="856" y="658"/>
                  </a:cubicBezTo>
                  <a:cubicBezTo>
                    <a:pt x="858" y="665"/>
                    <a:pt x="851" y="665"/>
                    <a:pt x="849" y="669"/>
                  </a:cubicBezTo>
                  <a:cubicBezTo>
                    <a:pt x="847" y="673"/>
                    <a:pt x="855" y="679"/>
                    <a:pt x="849" y="680"/>
                  </a:cubicBezTo>
                  <a:cubicBezTo>
                    <a:pt x="843" y="681"/>
                    <a:pt x="840" y="682"/>
                    <a:pt x="839" y="686"/>
                  </a:cubicBezTo>
                  <a:cubicBezTo>
                    <a:pt x="838" y="690"/>
                    <a:pt x="838" y="694"/>
                    <a:pt x="837" y="699"/>
                  </a:cubicBezTo>
                  <a:cubicBezTo>
                    <a:pt x="837" y="703"/>
                    <a:pt x="831" y="700"/>
                    <a:pt x="830" y="706"/>
                  </a:cubicBezTo>
                  <a:cubicBezTo>
                    <a:pt x="829" y="711"/>
                    <a:pt x="824" y="722"/>
                    <a:pt x="818" y="722"/>
                  </a:cubicBezTo>
                  <a:cubicBezTo>
                    <a:pt x="812" y="721"/>
                    <a:pt x="808" y="718"/>
                    <a:pt x="812" y="714"/>
                  </a:cubicBezTo>
                  <a:cubicBezTo>
                    <a:pt x="816" y="709"/>
                    <a:pt x="821" y="705"/>
                    <a:pt x="817" y="705"/>
                  </a:cubicBezTo>
                  <a:cubicBezTo>
                    <a:pt x="812" y="705"/>
                    <a:pt x="808" y="702"/>
                    <a:pt x="802" y="707"/>
                  </a:cubicBezTo>
                  <a:cubicBezTo>
                    <a:pt x="796" y="711"/>
                    <a:pt x="805" y="716"/>
                    <a:pt x="798" y="717"/>
                  </a:cubicBezTo>
                  <a:cubicBezTo>
                    <a:pt x="792" y="717"/>
                    <a:pt x="780" y="719"/>
                    <a:pt x="777" y="723"/>
                  </a:cubicBezTo>
                  <a:cubicBezTo>
                    <a:pt x="773" y="727"/>
                    <a:pt x="771" y="728"/>
                    <a:pt x="772" y="734"/>
                  </a:cubicBezTo>
                  <a:cubicBezTo>
                    <a:pt x="774" y="741"/>
                    <a:pt x="777" y="740"/>
                    <a:pt x="775" y="743"/>
                  </a:cubicBezTo>
                  <a:cubicBezTo>
                    <a:pt x="772" y="746"/>
                    <a:pt x="784" y="748"/>
                    <a:pt x="777" y="753"/>
                  </a:cubicBezTo>
                  <a:cubicBezTo>
                    <a:pt x="770" y="758"/>
                    <a:pt x="765" y="753"/>
                    <a:pt x="764" y="759"/>
                  </a:cubicBezTo>
                  <a:cubicBezTo>
                    <a:pt x="762" y="766"/>
                    <a:pt x="760" y="767"/>
                    <a:pt x="754" y="771"/>
                  </a:cubicBezTo>
                  <a:cubicBezTo>
                    <a:pt x="749" y="775"/>
                    <a:pt x="741" y="775"/>
                    <a:pt x="743" y="779"/>
                  </a:cubicBezTo>
                  <a:cubicBezTo>
                    <a:pt x="744" y="784"/>
                    <a:pt x="750" y="788"/>
                    <a:pt x="744" y="789"/>
                  </a:cubicBezTo>
                  <a:cubicBezTo>
                    <a:pt x="738" y="791"/>
                    <a:pt x="734" y="790"/>
                    <a:pt x="730" y="793"/>
                  </a:cubicBezTo>
                  <a:cubicBezTo>
                    <a:pt x="725" y="796"/>
                    <a:pt x="703" y="812"/>
                    <a:pt x="697" y="826"/>
                  </a:cubicBezTo>
                  <a:cubicBezTo>
                    <a:pt x="690" y="840"/>
                    <a:pt x="690" y="847"/>
                    <a:pt x="693" y="854"/>
                  </a:cubicBezTo>
                  <a:cubicBezTo>
                    <a:pt x="695" y="862"/>
                    <a:pt x="694" y="872"/>
                    <a:pt x="692" y="878"/>
                  </a:cubicBezTo>
                  <a:cubicBezTo>
                    <a:pt x="690" y="883"/>
                    <a:pt x="701" y="892"/>
                    <a:pt x="697" y="901"/>
                  </a:cubicBezTo>
                  <a:cubicBezTo>
                    <a:pt x="694" y="910"/>
                    <a:pt x="697" y="929"/>
                    <a:pt x="697" y="938"/>
                  </a:cubicBezTo>
                  <a:cubicBezTo>
                    <a:pt x="697" y="946"/>
                    <a:pt x="696" y="969"/>
                    <a:pt x="698" y="981"/>
                  </a:cubicBezTo>
                  <a:cubicBezTo>
                    <a:pt x="699" y="993"/>
                    <a:pt x="689" y="1007"/>
                    <a:pt x="687" y="1018"/>
                  </a:cubicBezTo>
                  <a:cubicBezTo>
                    <a:pt x="685" y="1030"/>
                    <a:pt x="690" y="1039"/>
                    <a:pt x="685" y="1045"/>
                  </a:cubicBezTo>
                  <a:cubicBezTo>
                    <a:pt x="680" y="1051"/>
                    <a:pt x="692" y="1066"/>
                    <a:pt x="705" y="1053"/>
                  </a:cubicBezTo>
                  <a:cubicBezTo>
                    <a:pt x="718" y="1039"/>
                    <a:pt x="719" y="1038"/>
                    <a:pt x="725" y="1050"/>
                  </a:cubicBezTo>
                  <a:cubicBezTo>
                    <a:pt x="730" y="1062"/>
                    <a:pt x="736" y="1067"/>
                    <a:pt x="738" y="1062"/>
                  </a:cubicBezTo>
                  <a:cubicBezTo>
                    <a:pt x="739" y="1057"/>
                    <a:pt x="740" y="1058"/>
                    <a:pt x="736" y="1052"/>
                  </a:cubicBezTo>
                  <a:cubicBezTo>
                    <a:pt x="731" y="1046"/>
                    <a:pt x="733" y="1035"/>
                    <a:pt x="737" y="1042"/>
                  </a:cubicBezTo>
                  <a:cubicBezTo>
                    <a:pt x="741" y="1049"/>
                    <a:pt x="744" y="1052"/>
                    <a:pt x="746" y="1050"/>
                  </a:cubicBezTo>
                  <a:cubicBezTo>
                    <a:pt x="747" y="1048"/>
                    <a:pt x="752" y="1046"/>
                    <a:pt x="752" y="1051"/>
                  </a:cubicBezTo>
                  <a:cubicBezTo>
                    <a:pt x="752" y="1055"/>
                    <a:pt x="747" y="1065"/>
                    <a:pt x="750" y="1065"/>
                  </a:cubicBezTo>
                  <a:cubicBezTo>
                    <a:pt x="753" y="1066"/>
                    <a:pt x="763" y="1057"/>
                    <a:pt x="763" y="1054"/>
                  </a:cubicBezTo>
                  <a:cubicBezTo>
                    <a:pt x="762" y="1051"/>
                    <a:pt x="762" y="1047"/>
                    <a:pt x="764" y="1044"/>
                  </a:cubicBezTo>
                  <a:cubicBezTo>
                    <a:pt x="765" y="1041"/>
                    <a:pt x="764" y="1034"/>
                    <a:pt x="759" y="1031"/>
                  </a:cubicBezTo>
                  <a:cubicBezTo>
                    <a:pt x="754" y="1028"/>
                    <a:pt x="756" y="1023"/>
                    <a:pt x="760" y="1022"/>
                  </a:cubicBezTo>
                  <a:cubicBezTo>
                    <a:pt x="763" y="1021"/>
                    <a:pt x="771" y="1019"/>
                    <a:pt x="772" y="1016"/>
                  </a:cubicBezTo>
                  <a:cubicBezTo>
                    <a:pt x="773" y="1013"/>
                    <a:pt x="781" y="1009"/>
                    <a:pt x="788" y="1011"/>
                  </a:cubicBezTo>
                  <a:cubicBezTo>
                    <a:pt x="794" y="1014"/>
                    <a:pt x="799" y="1015"/>
                    <a:pt x="806" y="1015"/>
                  </a:cubicBezTo>
                  <a:cubicBezTo>
                    <a:pt x="813" y="1015"/>
                    <a:pt x="829" y="1012"/>
                    <a:pt x="829" y="1017"/>
                  </a:cubicBezTo>
                  <a:cubicBezTo>
                    <a:pt x="829" y="1022"/>
                    <a:pt x="831" y="1025"/>
                    <a:pt x="829" y="1027"/>
                  </a:cubicBezTo>
                  <a:cubicBezTo>
                    <a:pt x="828" y="1029"/>
                    <a:pt x="838" y="1033"/>
                    <a:pt x="841" y="1035"/>
                  </a:cubicBezTo>
                  <a:cubicBezTo>
                    <a:pt x="845" y="1036"/>
                    <a:pt x="847" y="1038"/>
                    <a:pt x="848" y="1041"/>
                  </a:cubicBezTo>
                  <a:cubicBezTo>
                    <a:pt x="849" y="1045"/>
                    <a:pt x="851" y="1044"/>
                    <a:pt x="854" y="1046"/>
                  </a:cubicBezTo>
                  <a:cubicBezTo>
                    <a:pt x="856" y="1048"/>
                    <a:pt x="859" y="1044"/>
                    <a:pt x="860" y="1051"/>
                  </a:cubicBezTo>
                  <a:cubicBezTo>
                    <a:pt x="861" y="1059"/>
                    <a:pt x="862" y="1061"/>
                    <a:pt x="862" y="1066"/>
                  </a:cubicBezTo>
                  <a:cubicBezTo>
                    <a:pt x="863" y="1072"/>
                    <a:pt x="866" y="1077"/>
                    <a:pt x="866" y="1078"/>
                  </a:cubicBezTo>
                  <a:cubicBezTo>
                    <a:pt x="866" y="1079"/>
                    <a:pt x="871" y="1096"/>
                    <a:pt x="878" y="1104"/>
                  </a:cubicBezTo>
                  <a:cubicBezTo>
                    <a:pt x="884" y="1112"/>
                    <a:pt x="894" y="1112"/>
                    <a:pt x="896" y="1119"/>
                  </a:cubicBezTo>
                  <a:cubicBezTo>
                    <a:pt x="898" y="1126"/>
                    <a:pt x="900" y="1126"/>
                    <a:pt x="903" y="1130"/>
                  </a:cubicBezTo>
                  <a:cubicBezTo>
                    <a:pt x="905" y="1134"/>
                    <a:pt x="907" y="1139"/>
                    <a:pt x="910" y="1146"/>
                  </a:cubicBezTo>
                  <a:cubicBezTo>
                    <a:pt x="913" y="1154"/>
                    <a:pt x="927" y="1170"/>
                    <a:pt x="928" y="1176"/>
                  </a:cubicBezTo>
                  <a:cubicBezTo>
                    <a:pt x="928" y="1181"/>
                    <a:pt x="923" y="1191"/>
                    <a:pt x="925" y="1205"/>
                  </a:cubicBezTo>
                  <a:cubicBezTo>
                    <a:pt x="928" y="1218"/>
                    <a:pt x="929" y="1214"/>
                    <a:pt x="931" y="1228"/>
                  </a:cubicBezTo>
                  <a:cubicBezTo>
                    <a:pt x="933" y="1242"/>
                    <a:pt x="930" y="1243"/>
                    <a:pt x="935" y="1251"/>
                  </a:cubicBezTo>
                  <a:cubicBezTo>
                    <a:pt x="940" y="1258"/>
                    <a:pt x="940" y="1265"/>
                    <a:pt x="941" y="1272"/>
                  </a:cubicBezTo>
                  <a:cubicBezTo>
                    <a:pt x="941" y="1279"/>
                    <a:pt x="938" y="1310"/>
                    <a:pt x="938" y="1322"/>
                  </a:cubicBezTo>
                  <a:cubicBezTo>
                    <a:pt x="939" y="1334"/>
                    <a:pt x="942" y="1336"/>
                    <a:pt x="939" y="1348"/>
                  </a:cubicBezTo>
                  <a:cubicBezTo>
                    <a:pt x="936" y="1361"/>
                    <a:pt x="935" y="1360"/>
                    <a:pt x="937" y="1365"/>
                  </a:cubicBezTo>
                  <a:cubicBezTo>
                    <a:pt x="939" y="1370"/>
                    <a:pt x="940" y="1388"/>
                    <a:pt x="939" y="1395"/>
                  </a:cubicBezTo>
                  <a:cubicBezTo>
                    <a:pt x="939" y="1402"/>
                    <a:pt x="936" y="1414"/>
                    <a:pt x="933" y="1421"/>
                  </a:cubicBezTo>
                  <a:cubicBezTo>
                    <a:pt x="930" y="1428"/>
                    <a:pt x="927" y="1427"/>
                    <a:pt x="927" y="1433"/>
                  </a:cubicBezTo>
                  <a:cubicBezTo>
                    <a:pt x="926" y="1438"/>
                    <a:pt x="920" y="1444"/>
                    <a:pt x="918" y="1446"/>
                  </a:cubicBezTo>
                  <a:cubicBezTo>
                    <a:pt x="916" y="1449"/>
                    <a:pt x="914" y="1456"/>
                    <a:pt x="912" y="1456"/>
                  </a:cubicBezTo>
                  <a:cubicBezTo>
                    <a:pt x="910" y="1455"/>
                    <a:pt x="904" y="1455"/>
                    <a:pt x="901" y="1457"/>
                  </a:cubicBezTo>
                  <a:cubicBezTo>
                    <a:pt x="899" y="1460"/>
                    <a:pt x="898" y="1459"/>
                    <a:pt x="896" y="1460"/>
                  </a:cubicBezTo>
                  <a:cubicBezTo>
                    <a:pt x="893" y="1461"/>
                    <a:pt x="890" y="1464"/>
                    <a:pt x="888" y="1461"/>
                  </a:cubicBezTo>
                  <a:cubicBezTo>
                    <a:pt x="887" y="1458"/>
                    <a:pt x="883" y="1452"/>
                    <a:pt x="881" y="1455"/>
                  </a:cubicBezTo>
                  <a:cubicBezTo>
                    <a:pt x="880" y="1458"/>
                    <a:pt x="877" y="1460"/>
                    <a:pt x="875" y="1458"/>
                  </a:cubicBezTo>
                  <a:cubicBezTo>
                    <a:pt x="872" y="1456"/>
                    <a:pt x="868" y="1462"/>
                    <a:pt x="869" y="1466"/>
                  </a:cubicBezTo>
                  <a:cubicBezTo>
                    <a:pt x="870" y="1469"/>
                    <a:pt x="870" y="1473"/>
                    <a:pt x="868" y="1475"/>
                  </a:cubicBezTo>
                  <a:cubicBezTo>
                    <a:pt x="866" y="1477"/>
                    <a:pt x="870" y="1487"/>
                    <a:pt x="868" y="1488"/>
                  </a:cubicBezTo>
                  <a:cubicBezTo>
                    <a:pt x="866" y="1490"/>
                    <a:pt x="863" y="1490"/>
                    <a:pt x="862" y="1492"/>
                  </a:cubicBezTo>
                  <a:cubicBezTo>
                    <a:pt x="862" y="1494"/>
                    <a:pt x="863" y="1498"/>
                    <a:pt x="862" y="1502"/>
                  </a:cubicBezTo>
                  <a:cubicBezTo>
                    <a:pt x="857" y="1499"/>
                    <a:pt x="853" y="1496"/>
                    <a:pt x="852" y="1494"/>
                  </a:cubicBezTo>
                  <a:cubicBezTo>
                    <a:pt x="851" y="1490"/>
                    <a:pt x="854" y="1487"/>
                    <a:pt x="860" y="1482"/>
                  </a:cubicBezTo>
                  <a:cubicBezTo>
                    <a:pt x="865" y="1476"/>
                    <a:pt x="860" y="1476"/>
                    <a:pt x="858" y="1472"/>
                  </a:cubicBezTo>
                  <a:cubicBezTo>
                    <a:pt x="856" y="1467"/>
                    <a:pt x="852" y="1462"/>
                    <a:pt x="849" y="1455"/>
                  </a:cubicBezTo>
                  <a:cubicBezTo>
                    <a:pt x="845" y="1449"/>
                    <a:pt x="841" y="1442"/>
                    <a:pt x="836" y="1435"/>
                  </a:cubicBezTo>
                  <a:cubicBezTo>
                    <a:pt x="831" y="1428"/>
                    <a:pt x="822" y="1427"/>
                    <a:pt x="817" y="1422"/>
                  </a:cubicBezTo>
                  <a:cubicBezTo>
                    <a:pt x="813" y="1418"/>
                    <a:pt x="819" y="1415"/>
                    <a:pt x="824" y="1409"/>
                  </a:cubicBezTo>
                  <a:cubicBezTo>
                    <a:pt x="830" y="1404"/>
                    <a:pt x="822" y="1402"/>
                    <a:pt x="825" y="1394"/>
                  </a:cubicBezTo>
                  <a:cubicBezTo>
                    <a:pt x="829" y="1386"/>
                    <a:pt x="846" y="1391"/>
                    <a:pt x="853" y="1388"/>
                  </a:cubicBezTo>
                  <a:cubicBezTo>
                    <a:pt x="860" y="1384"/>
                    <a:pt x="856" y="1380"/>
                    <a:pt x="853" y="1376"/>
                  </a:cubicBezTo>
                  <a:cubicBezTo>
                    <a:pt x="850" y="1371"/>
                    <a:pt x="851" y="1368"/>
                    <a:pt x="854" y="1364"/>
                  </a:cubicBezTo>
                  <a:cubicBezTo>
                    <a:pt x="856" y="1361"/>
                    <a:pt x="852" y="1353"/>
                    <a:pt x="851" y="1351"/>
                  </a:cubicBezTo>
                  <a:cubicBezTo>
                    <a:pt x="851" y="1350"/>
                    <a:pt x="851" y="1343"/>
                    <a:pt x="851" y="1339"/>
                  </a:cubicBezTo>
                  <a:cubicBezTo>
                    <a:pt x="851" y="1335"/>
                    <a:pt x="848" y="1331"/>
                    <a:pt x="846" y="1327"/>
                  </a:cubicBezTo>
                  <a:cubicBezTo>
                    <a:pt x="844" y="1324"/>
                    <a:pt x="842" y="1320"/>
                    <a:pt x="840" y="1312"/>
                  </a:cubicBezTo>
                  <a:cubicBezTo>
                    <a:pt x="838" y="1305"/>
                    <a:pt x="840" y="1307"/>
                    <a:pt x="836" y="1299"/>
                  </a:cubicBezTo>
                  <a:cubicBezTo>
                    <a:pt x="832" y="1292"/>
                    <a:pt x="837" y="1294"/>
                    <a:pt x="837" y="1287"/>
                  </a:cubicBezTo>
                  <a:cubicBezTo>
                    <a:pt x="838" y="1280"/>
                    <a:pt x="837" y="1276"/>
                    <a:pt x="833" y="1276"/>
                  </a:cubicBezTo>
                  <a:cubicBezTo>
                    <a:pt x="828" y="1276"/>
                    <a:pt x="825" y="1269"/>
                    <a:pt x="824" y="1267"/>
                  </a:cubicBezTo>
                  <a:cubicBezTo>
                    <a:pt x="824" y="1264"/>
                    <a:pt x="818" y="1256"/>
                    <a:pt x="815" y="1261"/>
                  </a:cubicBezTo>
                  <a:cubicBezTo>
                    <a:pt x="812" y="1266"/>
                    <a:pt x="802" y="1272"/>
                    <a:pt x="802" y="1278"/>
                  </a:cubicBezTo>
                  <a:cubicBezTo>
                    <a:pt x="802" y="1284"/>
                    <a:pt x="799" y="1284"/>
                    <a:pt x="795" y="1288"/>
                  </a:cubicBezTo>
                  <a:cubicBezTo>
                    <a:pt x="791" y="1292"/>
                    <a:pt x="788" y="1298"/>
                    <a:pt x="789" y="1302"/>
                  </a:cubicBezTo>
                  <a:cubicBezTo>
                    <a:pt x="790" y="1307"/>
                    <a:pt x="788" y="1311"/>
                    <a:pt x="784" y="1314"/>
                  </a:cubicBezTo>
                  <a:cubicBezTo>
                    <a:pt x="779" y="1317"/>
                    <a:pt x="765" y="1327"/>
                    <a:pt x="761" y="1330"/>
                  </a:cubicBezTo>
                  <a:cubicBezTo>
                    <a:pt x="756" y="1332"/>
                    <a:pt x="751" y="1330"/>
                    <a:pt x="747" y="1326"/>
                  </a:cubicBezTo>
                  <a:cubicBezTo>
                    <a:pt x="743" y="1322"/>
                    <a:pt x="746" y="1317"/>
                    <a:pt x="741" y="1316"/>
                  </a:cubicBezTo>
                  <a:cubicBezTo>
                    <a:pt x="737" y="1316"/>
                    <a:pt x="732" y="1312"/>
                    <a:pt x="731" y="1307"/>
                  </a:cubicBezTo>
                  <a:cubicBezTo>
                    <a:pt x="730" y="1302"/>
                    <a:pt x="724" y="1300"/>
                    <a:pt x="722" y="1304"/>
                  </a:cubicBezTo>
                  <a:cubicBezTo>
                    <a:pt x="721" y="1309"/>
                    <a:pt x="706" y="1308"/>
                    <a:pt x="700" y="1301"/>
                  </a:cubicBezTo>
                  <a:cubicBezTo>
                    <a:pt x="694" y="1294"/>
                    <a:pt x="691" y="1298"/>
                    <a:pt x="684" y="1304"/>
                  </a:cubicBezTo>
                  <a:cubicBezTo>
                    <a:pt x="678" y="1309"/>
                    <a:pt x="674" y="1299"/>
                    <a:pt x="669" y="1304"/>
                  </a:cubicBezTo>
                  <a:cubicBezTo>
                    <a:pt x="665" y="1308"/>
                    <a:pt x="657" y="1314"/>
                    <a:pt x="652" y="1314"/>
                  </a:cubicBezTo>
                  <a:cubicBezTo>
                    <a:pt x="647" y="1313"/>
                    <a:pt x="642" y="1312"/>
                    <a:pt x="638" y="1303"/>
                  </a:cubicBezTo>
                  <a:cubicBezTo>
                    <a:pt x="634" y="1294"/>
                    <a:pt x="631" y="1301"/>
                    <a:pt x="630" y="1297"/>
                  </a:cubicBezTo>
                  <a:cubicBezTo>
                    <a:pt x="628" y="1293"/>
                    <a:pt x="620" y="1285"/>
                    <a:pt x="617" y="1284"/>
                  </a:cubicBezTo>
                  <a:cubicBezTo>
                    <a:pt x="613" y="1282"/>
                    <a:pt x="604" y="1273"/>
                    <a:pt x="601" y="1269"/>
                  </a:cubicBezTo>
                  <a:cubicBezTo>
                    <a:pt x="598" y="1266"/>
                    <a:pt x="583" y="1257"/>
                    <a:pt x="581" y="1253"/>
                  </a:cubicBezTo>
                  <a:cubicBezTo>
                    <a:pt x="579" y="1249"/>
                    <a:pt x="568" y="1246"/>
                    <a:pt x="565" y="1240"/>
                  </a:cubicBezTo>
                  <a:cubicBezTo>
                    <a:pt x="562" y="1233"/>
                    <a:pt x="551" y="1233"/>
                    <a:pt x="547" y="1230"/>
                  </a:cubicBezTo>
                  <a:cubicBezTo>
                    <a:pt x="543" y="1226"/>
                    <a:pt x="528" y="1230"/>
                    <a:pt x="522" y="1234"/>
                  </a:cubicBezTo>
                  <a:cubicBezTo>
                    <a:pt x="515" y="1239"/>
                    <a:pt x="506" y="1233"/>
                    <a:pt x="499" y="1232"/>
                  </a:cubicBezTo>
                  <a:cubicBezTo>
                    <a:pt x="492" y="1230"/>
                    <a:pt x="489" y="1238"/>
                    <a:pt x="482" y="1243"/>
                  </a:cubicBezTo>
                  <a:cubicBezTo>
                    <a:pt x="477" y="1247"/>
                    <a:pt x="471" y="1249"/>
                    <a:pt x="467" y="1252"/>
                  </a:cubicBezTo>
                  <a:cubicBezTo>
                    <a:pt x="460" y="1241"/>
                    <a:pt x="460" y="1241"/>
                    <a:pt x="460" y="1241"/>
                  </a:cubicBezTo>
                  <a:cubicBezTo>
                    <a:pt x="451" y="1239"/>
                    <a:pt x="451" y="1239"/>
                    <a:pt x="451" y="1239"/>
                  </a:cubicBezTo>
                  <a:cubicBezTo>
                    <a:pt x="444" y="1227"/>
                    <a:pt x="444" y="1227"/>
                    <a:pt x="444" y="1227"/>
                  </a:cubicBezTo>
                  <a:cubicBezTo>
                    <a:pt x="451" y="1223"/>
                    <a:pt x="451" y="1223"/>
                    <a:pt x="451" y="1223"/>
                  </a:cubicBezTo>
                  <a:cubicBezTo>
                    <a:pt x="445" y="1214"/>
                    <a:pt x="445" y="1214"/>
                    <a:pt x="445" y="1214"/>
                  </a:cubicBezTo>
                  <a:cubicBezTo>
                    <a:pt x="439" y="1214"/>
                    <a:pt x="439" y="1214"/>
                    <a:pt x="439" y="1214"/>
                  </a:cubicBezTo>
                  <a:cubicBezTo>
                    <a:pt x="439" y="1200"/>
                    <a:pt x="439" y="1200"/>
                    <a:pt x="439" y="1200"/>
                  </a:cubicBezTo>
                  <a:cubicBezTo>
                    <a:pt x="432" y="1189"/>
                    <a:pt x="432" y="1189"/>
                    <a:pt x="432" y="1189"/>
                  </a:cubicBezTo>
                  <a:cubicBezTo>
                    <a:pt x="427" y="1186"/>
                    <a:pt x="427" y="1186"/>
                    <a:pt x="427" y="1186"/>
                  </a:cubicBezTo>
                  <a:cubicBezTo>
                    <a:pt x="422" y="1190"/>
                    <a:pt x="422" y="1190"/>
                    <a:pt x="422" y="1190"/>
                  </a:cubicBezTo>
                  <a:cubicBezTo>
                    <a:pt x="417" y="1189"/>
                    <a:pt x="417" y="1189"/>
                    <a:pt x="417" y="1189"/>
                  </a:cubicBezTo>
                  <a:cubicBezTo>
                    <a:pt x="415" y="1181"/>
                    <a:pt x="415" y="1181"/>
                    <a:pt x="415" y="1181"/>
                  </a:cubicBezTo>
                  <a:cubicBezTo>
                    <a:pt x="408" y="1177"/>
                    <a:pt x="408" y="1177"/>
                    <a:pt x="408" y="1177"/>
                  </a:cubicBezTo>
                  <a:cubicBezTo>
                    <a:pt x="399" y="1185"/>
                    <a:pt x="399" y="1185"/>
                    <a:pt x="399" y="1185"/>
                  </a:cubicBezTo>
                  <a:cubicBezTo>
                    <a:pt x="397" y="1189"/>
                    <a:pt x="397" y="1189"/>
                    <a:pt x="397" y="1189"/>
                  </a:cubicBezTo>
                  <a:cubicBezTo>
                    <a:pt x="388" y="1183"/>
                    <a:pt x="388" y="1183"/>
                    <a:pt x="388" y="1183"/>
                  </a:cubicBezTo>
                  <a:cubicBezTo>
                    <a:pt x="394" y="1175"/>
                    <a:pt x="394" y="1175"/>
                    <a:pt x="394" y="1175"/>
                  </a:cubicBezTo>
                  <a:cubicBezTo>
                    <a:pt x="390" y="1170"/>
                    <a:pt x="390" y="1170"/>
                    <a:pt x="390" y="1170"/>
                  </a:cubicBezTo>
                  <a:cubicBezTo>
                    <a:pt x="383" y="1172"/>
                    <a:pt x="383" y="1172"/>
                    <a:pt x="383" y="1172"/>
                  </a:cubicBezTo>
                  <a:cubicBezTo>
                    <a:pt x="375" y="1168"/>
                    <a:pt x="375" y="1168"/>
                    <a:pt x="375" y="1168"/>
                  </a:cubicBezTo>
                  <a:cubicBezTo>
                    <a:pt x="370" y="1163"/>
                    <a:pt x="370" y="1163"/>
                    <a:pt x="370" y="1163"/>
                  </a:cubicBezTo>
                  <a:cubicBezTo>
                    <a:pt x="370" y="1160"/>
                    <a:pt x="370" y="1160"/>
                    <a:pt x="370" y="1160"/>
                  </a:cubicBezTo>
                  <a:cubicBezTo>
                    <a:pt x="366" y="1158"/>
                    <a:pt x="366" y="1158"/>
                    <a:pt x="366" y="1158"/>
                  </a:cubicBezTo>
                  <a:cubicBezTo>
                    <a:pt x="365" y="1150"/>
                    <a:pt x="365" y="1150"/>
                    <a:pt x="365" y="1150"/>
                  </a:cubicBezTo>
                  <a:cubicBezTo>
                    <a:pt x="358" y="1146"/>
                    <a:pt x="358" y="1146"/>
                    <a:pt x="358" y="1146"/>
                  </a:cubicBezTo>
                  <a:cubicBezTo>
                    <a:pt x="350" y="1138"/>
                    <a:pt x="350" y="1138"/>
                    <a:pt x="350" y="1138"/>
                  </a:cubicBezTo>
                  <a:cubicBezTo>
                    <a:pt x="342" y="1137"/>
                    <a:pt x="342" y="1137"/>
                    <a:pt x="342" y="1137"/>
                  </a:cubicBezTo>
                  <a:cubicBezTo>
                    <a:pt x="340" y="1126"/>
                    <a:pt x="340" y="1126"/>
                    <a:pt x="340" y="1126"/>
                  </a:cubicBezTo>
                  <a:cubicBezTo>
                    <a:pt x="336" y="1123"/>
                    <a:pt x="336" y="1123"/>
                    <a:pt x="336" y="1123"/>
                  </a:cubicBezTo>
                  <a:cubicBezTo>
                    <a:pt x="338" y="1115"/>
                    <a:pt x="338" y="1115"/>
                    <a:pt x="338" y="1115"/>
                  </a:cubicBezTo>
                  <a:cubicBezTo>
                    <a:pt x="322" y="1099"/>
                    <a:pt x="322" y="1099"/>
                    <a:pt x="322" y="1099"/>
                  </a:cubicBezTo>
                  <a:cubicBezTo>
                    <a:pt x="321" y="1095"/>
                    <a:pt x="321" y="1095"/>
                    <a:pt x="321" y="1095"/>
                  </a:cubicBezTo>
                  <a:cubicBezTo>
                    <a:pt x="316" y="1095"/>
                    <a:pt x="316" y="1095"/>
                    <a:pt x="316" y="1095"/>
                  </a:cubicBezTo>
                  <a:cubicBezTo>
                    <a:pt x="316" y="1088"/>
                    <a:pt x="316" y="1088"/>
                    <a:pt x="316" y="1088"/>
                  </a:cubicBezTo>
                  <a:cubicBezTo>
                    <a:pt x="302" y="1074"/>
                    <a:pt x="302" y="1074"/>
                    <a:pt x="302" y="1074"/>
                  </a:cubicBezTo>
                  <a:cubicBezTo>
                    <a:pt x="298" y="1079"/>
                    <a:pt x="298" y="1079"/>
                    <a:pt x="298" y="1079"/>
                  </a:cubicBezTo>
                  <a:cubicBezTo>
                    <a:pt x="294" y="1085"/>
                    <a:pt x="294" y="1085"/>
                    <a:pt x="294" y="1085"/>
                  </a:cubicBezTo>
                  <a:cubicBezTo>
                    <a:pt x="286" y="1088"/>
                    <a:pt x="286" y="1088"/>
                    <a:pt x="286" y="1088"/>
                  </a:cubicBezTo>
                  <a:cubicBezTo>
                    <a:pt x="280" y="1080"/>
                    <a:pt x="280" y="1080"/>
                    <a:pt x="280" y="1080"/>
                  </a:cubicBezTo>
                  <a:cubicBezTo>
                    <a:pt x="278" y="1072"/>
                    <a:pt x="278" y="1072"/>
                    <a:pt x="278" y="1072"/>
                  </a:cubicBezTo>
                  <a:cubicBezTo>
                    <a:pt x="268" y="1069"/>
                    <a:pt x="268" y="1069"/>
                    <a:pt x="268" y="1069"/>
                  </a:cubicBezTo>
                  <a:cubicBezTo>
                    <a:pt x="268" y="1069"/>
                    <a:pt x="260" y="1065"/>
                    <a:pt x="259" y="1065"/>
                  </a:cubicBezTo>
                  <a:cubicBezTo>
                    <a:pt x="259" y="1065"/>
                    <a:pt x="240" y="1066"/>
                    <a:pt x="240" y="1066"/>
                  </a:cubicBezTo>
                  <a:cubicBezTo>
                    <a:pt x="234" y="1074"/>
                    <a:pt x="234" y="1074"/>
                    <a:pt x="234" y="1074"/>
                  </a:cubicBezTo>
                  <a:cubicBezTo>
                    <a:pt x="231" y="1081"/>
                    <a:pt x="231" y="1081"/>
                    <a:pt x="231" y="1081"/>
                  </a:cubicBezTo>
                  <a:cubicBezTo>
                    <a:pt x="227" y="1084"/>
                    <a:pt x="227" y="1084"/>
                    <a:pt x="227" y="1084"/>
                  </a:cubicBezTo>
                  <a:cubicBezTo>
                    <a:pt x="233" y="1093"/>
                    <a:pt x="233" y="1093"/>
                    <a:pt x="233" y="1093"/>
                  </a:cubicBezTo>
                  <a:cubicBezTo>
                    <a:pt x="225" y="1102"/>
                    <a:pt x="225" y="1102"/>
                    <a:pt x="225" y="1102"/>
                  </a:cubicBezTo>
                  <a:cubicBezTo>
                    <a:pt x="218" y="1111"/>
                    <a:pt x="218" y="1111"/>
                    <a:pt x="218" y="1111"/>
                  </a:cubicBezTo>
                  <a:cubicBezTo>
                    <a:pt x="220" y="1126"/>
                    <a:pt x="220" y="1126"/>
                    <a:pt x="220" y="1126"/>
                  </a:cubicBezTo>
                  <a:cubicBezTo>
                    <a:pt x="209" y="1133"/>
                    <a:pt x="209" y="1133"/>
                    <a:pt x="209" y="1133"/>
                  </a:cubicBezTo>
                  <a:cubicBezTo>
                    <a:pt x="208" y="1143"/>
                    <a:pt x="208" y="1143"/>
                    <a:pt x="208" y="1143"/>
                  </a:cubicBezTo>
                  <a:cubicBezTo>
                    <a:pt x="203" y="1138"/>
                    <a:pt x="203" y="1138"/>
                    <a:pt x="203" y="1138"/>
                  </a:cubicBezTo>
                  <a:cubicBezTo>
                    <a:pt x="202" y="1130"/>
                    <a:pt x="202" y="1130"/>
                    <a:pt x="202" y="1130"/>
                  </a:cubicBezTo>
                  <a:cubicBezTo>
                    <a:pt x="198" y="1125"/>
                    <a:pt x="198" y="1125"/>
                    <a:pt x="198" y="1125"/>
                  </a:cubicBezTo>
                  <a:cubicBezTo>
                    <a:pt x="192" y="1131"/>
                    <a:pt x="192" y="1131"/>
                    <a:pt x="192" y="1131"/>
                  </a:cubicBezTo>
                  <a:cubicBezTo>
                    <a:pt x="186" y="1135"/>
                    <a:pt x="186" y="1135"/>
                    <a:pt x="186" y="1135"/>
                  </a:cubicBezTo>
                  <a:cubicBezTo>
                    <a:pt x="173" y="1138"/>
                    <a:pt x="173" y="1138"/>
                    <a:pt x="173" y="1138"/>
                  </a:cubicBezTo>
                  <a:cubicBezTo>
                    <a:pt x="164" y="1152"/>
                    <a:pt x="164" y="1152"/>
                    <a:pt x="164" y="1152"/>
                  </a:cubicBezTo>
                  <a:cubicBezTo>
                    <a:pt x="154" y="1153"/>
                    <a:pt x="154" y="1153"/>
                    <a:pt x="154" y="1153"/>
                  </a:cubicBezTo>
                  <a:cubicBezTo>
                    <a:pt x="142" y="1144"/>
                    <a:pt x="142" y="1144"/>
                    <a:pt x="142" y="1144"/>
                  </a:cubicBezTo>
                  <a:cubicBezTo>
                    <a:pt x="143" y="1108"/>
                    <a:pt x="143" y="1108"/>
                    <a:pt x="143" y="1108"/>
                  </a:cubicBezTo>
                  <a:cubicBezTo>
                    <a:pt x="143" y="1092"/>
                    <a:pt x="143" y="1092"/>
                    <a:pt x="143" y="1092"/>
                  </a:cubicBezTo>
                  <a:cubicBezTo>
                    <a:pt x="145" y="1077"/>
                    <a:pt x="145" y="1077"/>
                    <a:pt x="145" y="1077"/>
                  </a:cubicBezTo>
                  <a:cubicBezTo>
                    <a:pt x="132" y="1069"/>
                    <a:pt x="132" y="1069"/>
                    <a:pt x="132" y="1069"/>
                  </a:cubicBezTo>
                  <a:cubicBezTo>
                    <a:pt x="131" y="1063"/>
                    <a:pt x="131" y="1063"/>
                    <a:pt x="131" y="1063"/>
                  </a:cubicBezTo>
                  <a:cubicBezTo>
                    <a:pt x="127" y="1056"/>
                    <a:pt x="127" y="1056"/>
                    <a:pt x="127" y="1056"/>
                  </a:cubicBezTo>
                  <a:cubicBezTo>
                    <a:pt x="124" y="1053"/>
                    <a:pt x="124" y="1053"/>
                    <a:pt x="124" y="1053"/>
                  </a:cubicBezTo>
                  <a:cubicBezTo>
                    <a:pt x="123" y="1047"/>
                    <a:pt x="123" y="1047"/>
                    <a:pt x="123" y="1047"/>
                  </a:cubicBezTo>
                  <a:cubicBezTo>
                    <a:pt x="127" y="1044"/>
                    <a:pt x="127" y="1044"/>
                    <a:pt x="127" y="1044"/>
                  </a:cubicBezTo>
                  <a:cubicBezTo>
                    <a:pt x="127" y="1036"/>
                    <a:pt x="127" y="1036"/>
                    <a:pt x="127" y="1036"/>
                  </a:cubicBezTo>
                  <a:cubicBezTo>
                    <a:pt x="121" y="1032"/>
                    <a:pt x="121" y="1032"/>
                    <a:pt x="121" y="1032"/>
                  </a:cubicBezTo>
                  <a:cubicBezTo>
                    <a:pt x="109" y="1029"/>
                    <a:pt x="109" y="1029"/>
                    <a:pt x="109" y="1029"/>
                  </a:cubicBezTo>
                  <a:cubicBezTo>
                    <a:pt x="112" y="1019"/>
                    <a:pt x="112" y="1019"/>
                    <a:pt x="112" y="1019"/>
                  </a:cubicBezTo>
                  <a:cubicBezTo>
                    <a:pt x="107" y="1011"/>
                    <a:pt x="107" y="1011"/>
                    <a:pt x="107" y="1011"/>
                  </a:cubicBezTo>
                  <a:cubicBezTo>
                    <a:pt x="103" y="1001"/>
                    <a:pt x="103" y="1001"/>
                    <a:pt x="103" y="1001"/>
                  </a:cubicBezTo>
                  <a:cubicBezTo>
                    <a:pt x="97" y="993"/>
                    <a:pt x="97" y="993"/>
                    <a:pt x="97" y="993"/>
                  </a:cubicBezTo>
                  <a:cubicBezTo>
                    <a:pt x="84" y="996"/>
                    <a:pt x="84" y="996"/>
                    <a:pt x="84" y="996"/>
                  </a:cubicBezTo>
                  <a:cubicBezTo>
                    <a:pt x="80" y="989"/>
                    <a:pt x="80" y="989"/>
                    <a:pt x="80" y="989"/>
                  </a:cubicBezTo>
                  <a:cubicBezTo>
                    <a:pt x="88" y="983"/>
                    <a:pt x="88" y="983"/>
                    <a:pt x="88" y="983"/>
                  </a:cubicBezTo>
                  <a:cubicBezTo>
                    <a:pt x="83" y="976"/>
                    <a:pt x="83" y="976"/>
                    <a:pt x="83" y="976"/>
                  </a:cubicBezTo>
                  <a:cubicBezTo>
                    <a:pt x="81" y="969"/>
                    <a:pt x="81" y="969"/>
                    <a:pt x="81" y="969"/>
                  </a:cubicBezTo>
                  <a:cubicBezTo>
                    <a:pt x="76" y="969"/>
                    <a:pt x="76" y="969"/>
                    <a:pt x="76" y="969"/>
                  </a:cubicBezTo>
                  <a:cubicBezTo>
                    <a:pt x="70" y="973"/>
                    <a:pt x="70" y="973"/>
                    <a:pt x="70" y="973"/>
                  </a:cubicBezTo>
                  <a:cubicBezTo>
                    <a:pt x="64" y="970"/>
                    <a:pt x="64" y="970"/>
                    <a:pt x="64" y="970"/>
                  </a:cubicBezTo>
                  <a:cubicBezTo>
                    <a:pt x="57" y="974"/>
                    <a:pt x="57" y="974"/>
                    <a:pt x="57" y="974"/>
                  </a:cubicBezTo>
                  <a:cubicBezTo>
                    <a:pt x="52" y="969"/>
                    <a:pt x="52" y="969"/>
                    <a:pt x="52" y="969"/>
                  </a:cubicBezTo>
                  <a:cubicBezTo>
                    <a:pt x="43" y="973"/>
                    <a:pt x="43" y="973"/>
                    <a:pt x="43" y="973"/>
                  </a:cubicBezTo>
                  <a:cubicBezTo>
                    <a:pt x="33" y="973"/>
                    <a:pt x="33" y="973"/>
                    <a:pt x="33" y="973"/>
                  </a:cubicBezTo>
                  <a:cubicBezTo>
                    <a:pt x="33" y="961"/>
                    <a:pt x="33" y="961"/>
                    <a:pt x="33" y="961"/>
                  </a:cubicBezTo>
                  <a:cubicBezTo>
                    <a:pt x="35" y="958"/>
                    <a:pt x="35" y="958"/>
                    <a:pt x="35" y="958"/>
                  </a:cubicBezTo>
                  <a:cubicBezTo>
                    <a:pt x="35" y="949"/>
                    <a:pt x="35" y="949"/>
                    <a:pt x="35" y="949"/>
                  </a:cubicBezTo>
                  <a:cubicBezTo>
                    <a:pt x="41" y="932"/>
                    <a:pt x="41" y="932"/>
                    <a:pt x="41" y="932"/>
                  </a:cubicBezTo>
                  <a:cubicBezTo>
                    <a:pt x="31" y="920"/>
                    <a:pt x="31" y="920"/>
                    <a:pt x="31" y="920"/>
                  </a:cubicBezTo>
                  <a:cubicBezTo>
                    <a:pt x="30" y="910"/>
                    <a:pt x="30" y="910"/>
                    <a:pt x="30" y="910"/>
                  </a:cubicBezTo>
                  <a:cubicBezTo>
                    <a:pt x="23" y="905"/>
                    <a:pt x="23" y="905"/>
                    <a:pt x="23" y="905"/>
                  </a:cubicBezTo>
                  <a:cubicBezTo>
                    <a:pt x="21" y="898"/>
                    <a:pt x="21" y="898"/>
                    <a:pt x="21" y="898"/>
                  </a:cubicBezTo>
                  <a:cubicBezTo>
                    <a:pt x="25" y="895"/>
                    <a:pt x="25" y="895"/>
                    <a:pt x="25" y="895"/>
                  </a:cubicBezTo>
                  <a:cubicBezTo>
                    <a:pt x="21" y="889"/>
                    <a:pt x="21" y="889"/>
                    <a:pt x="21" y="889"/>
                  </a:cubicBezTo>
                  <a:cubicBezTo>
                    <a:pt x="21" y="883"/>
                    <a:pt x="21" y="883"/>
                    <a:pt x="21" y="883"/>
                  </a:cubicBezTo>
                  <a:cubicBezTo>
                    <a:pt x="10" y="883"/>
                    <a:pt x="10" y="883"/>
                    <a:pt x="10" y="883"/>
                  </a:cubicBezTo>
                  <a:cubicBezTo>
                    <a:pt x="9" y="878"/>
                    <a:pt x="9" y="878"/>
                    <a:pt x="9" y="878"/>
                  </a:cubicBezTo>
                  <a:cubicBezTo>
                    <a:pt x="17" y="869"/>
                    <a:pt x="17" y="869"/>
                    <a:pt x="17" y="869"/>
                  </a:cubicBezTo>
                  <a:cubicBezTo>
                    <a:pt x="24" y="866"/>
                    <a:pt x="24" y="866"/>
                    <a:pt x="24" y="866"/>
                  </a:cubicBezTo>
                  <a:cubicBezTo>
                    <a:pt x="19" y="830"/>
                    <a:pt x="19" y="830"/>
                    <a:pt x="19" y="830"/>
                  </a:cubicBezTo>
                  <a:cubicBezTo>
                    <a:pt x="13" y="816"/>
                    <a:pt x="13" y="816"/>
                    <a:pt x="13" y="816"/>
                  </a:cubicBezTo>
                  <a:cubicBezTo>
                    <a:pt x="11" y="803"/>
                    <a:pt x="11" y="803"/>
                    <a:pt x="11" y="803"/>
                  </a:cubicBezTo>
                  <a:cubicBezTo>
                    <a:pt x="0" y="787"/>
                    <a:pt x="0" y="787"/>
                    <a:pt x="0" y="787"/>
                  </a:cubicBezTo>
                  <a:cubicBezTo>
                    <a:pt x="0" y="780"/>
                    <a:pt x="0" y="780"/>
                    <a:pt x="0" y="780"/>
                  </a:cubicBezTo>
                  <a:cubicBezTo>
                    <a:pt x="6" y="778"/>
                    <a:pt x="6" y="778"/>
                    <a:pt x="6" y="778"/>
                  </a:cubicBezTo>
                  <a:cubicBezTo>
                    <a:pt x="18" y="761"/>
                    <a:pt x="18" y="761"/>
                    <a:pt x="18" y="761"/>
                  </a:cubicBezTo>
                  <a:cubicBezTo>
                    <a:pt x="26" y="764"/>
                    <a:pt x="26" y="764"/>
                    <a:pt x="26" y="764"/>
                  </a:cubicBezTo>
                  <a:cubicBezTo>
                    <a:pt x="32" y="764"/>
                    <a:pt x="32" y="764"/>
                    <a:pt x="32" y="764"/>
                  </a:cubicBezTo>
                  <a:cubicBezTo>
                    <a:pt x="36" y="753"/>
                    <a:pt x="36" y="753"/>
                    <a:pt x="36" y="753"/>
                  </a:cubicBezTo>
                  <a:cubicBezTo>
                    <a:pt x="31" y="747"/>
                    <a:pt x="31" y="747"/>
                    <a:pt x="31" y="747"/>
                  </a:cubicBezTo>
                  <a:cubicBezTo>
                    <a:pt x="34" y="736"/>
                    <a:pt x="34" y="736"/>
                    <a:pt x="34" y="736"/>
                  </a:cubicBezTo>
                  <a:cubicBezTo>
                    <a:pt x="39" y="736"/>
                    <a:pt x="39" y="736"/>
                    <a:pt x="39" y="736"/>
                  </a:cubicBezTo>
                  <a:cubicBezTo>
                    <a:pt x="39" y="721"/>
                    <a:pt x="39" y="721"/>
                    <a:pt x="39" y="721"/>
                  </a:cubicBezTo>
                  <a:cubicBezTo>
                    <a:pt x="53" y="708"/>
                    <a:pt x="53" y="708"/>
                    <a:pt x="53" y="708"/>
                  </a:cubicBezTo>
                  <a:cubicBezTo>
                    <a:pt x="55" y="702"/>
                    <a:pt x="55" y="702"/>
                    <a:pt x="55" y="702"/>
                  </a:cubicBezTo>
                  <a:cubicBezTo>
                    <a:pt x="58" y="702"/>
                    <a:pt x="58" y="702"/>
                    <a:pt x="58" y="702"/>
                  </a:cubicBezTo>
                  <a:cubicBezTo>
                    <a:pt x="59" y="690"/>
                    <a:pt x="59" y="690"/>
                    <a:pt x="59" y="690"/>
                  </a:cubicBezTo>
                  <a:cubicBezTo>
                    <a:pt x="51" y="692"/>
                    <a:pt x="51" y="692"/>
                    <a:pt x="51" y="692"/>
                  </a:cubicBezTo>
                  <a:cubicBezTo>
                    <a:pt x="46" y="682"/>
                    <a:pt x="46" y="682"/>
                    <a:pt x="46" y="682"/>
                  </a:cubicBezTo>
                  <a:cubicBezTo>
                    <a:pt x="44" y="670"/>
                    <a:pt x="44" y="670"/>
                    <a:pt x="44" y="670"/>
                  </a:cubicBezTo>
                  <a:cubicBezTo>
                    <a:pt x="30" y="657"/>
                    <a:pt x="30" y="657"/>
                    <a:pt x="30" y="657"/>
                  </a:cubicBezTo>
                  <a:cubicBezTo>
                    <a:pt x="28" y="652"/>
                    <a:pt x="28" y="652"/>
                    <a:pt x="28" y="652"/>
                  </a:cubicBezTo>
                  <a:cubicBezTo>
                    <a:pt x="19" y="650"/>
                    <a:pt x="19" y="650"/>
                    <a:pt x="19" y="650"/>
                  </a:cubicBezTo>
                  <a:cubicBezTo>
                    <a:pt x="16" y="643"/>
                    <a:pt x="16" y="643"/>
                    <a:pt x="16" y="643"/>
                  </a:cubicBezTo>
                  <a:cubicBezTo>
                    <a:pt x="17" y="631"/>
                    <a:pt x="17" y="631"/>
                    <a:pt x="17" y="631"/>
                  </a:cubicBezTo>
                  <a:cubicBezTo>
                    <a:pt x="8" y="620"/>
                    <a:pt x="8" y="620"/>
                    <a:pt x="8" y="620"/>
                  </a:cubicBezTo>
                  <a:cubicBezTo>
                    <a:pt x="13" y="611"/>
                    <a:pt x="13" y="611"/>
                    <a:pt x="13" y="611"/>
                  </a:cubicBezTo>
                  <a:cubicBezTo>
                    <a:pt x="7" y="599"/>
                    <a:pt x="7" y="599"/>
                    <a:pt x="7" y="599"/>
                  </a:cubicBezTo>
                  <a:cubicBezTo>
                    <a:pt x="5" y="595"/>
                    <a:pt x="5" y="595"/>
                    <a:pt x="5" y="595"/>
                  </a:cubicBezTo>
                  <a:close/>
                  <a:moveTo>
                    <a:pt x="819" y="968"/>
                  </a:moveTo>
                  <a:cubicBezTo>
                    <a:pt x="819" y="968"/>
                    <a:pt x="819" y="968"/>
                    <a:pt x="819" y="968"/>
                  </a:cubicBezTo>
                  <a:cubicBezTo>
                    <a:pt x="818" y="971"/>
                    <a:pt x="823" y="978"/>
                    <a:pt x="827" y="978"/>
                  </a:cubicBezTo>
                  <a:cubicBezTo>
                    <a:pt x="832" y="978"/>
                    <a:pt x="834" y="981"/>
                    <a:pt x="838" y="987"/>
                  </a:cubicBezTo>
                  <a:cubicBezTo>
                    <a:pt x="841" y="993"/>
                    <a:pt x="844" y="996"/>
                    <a:pt x="839" y="997"/>
                  </a:cubicBezTo>
                  <a:cubicBezTo>
                    <a:pt x="833" y="997"/>
                    <a:pt x="830" y="1004"/>
                    <a:pt x="833" y="1009"/>
                  </a:cubicBezTo>
                  <a:cubicBezTo>
                    <a:pt x="836" y="1014"/>
                    <a:pt x="844" y="1018"/>
                    <a:pt x="847" y="1022"/>
                  </a:cubicBezTo>
                  <a:cubicBezTo>
                    <a:pt x="850" y="1026"/>
                    <a:pt x="861" y="1044"/>
                    <a:pt x="867" y="1049"/>
                  </a:cubicBezTo>
                  <a:cubicBezTo>
                    <a:pt x="872" y="1054"/>
                    <a:pt x="884" y="1051"/>
                    <a:pt x="892" y="1056"/>
                  </a:cubicBezTo>
                  <a:cubicBezTo>
                    <a:pt x="900" y="1060"/>
                    <a:pt x="901" y="1069"/>
                    <a:pt x="903" y="1076"/>
                  </a:cubicBezTo>
                  <a:cubicBezTo>
                    <a:pt x="905" y="1083"/>
                    <a:pt x="919" y="1088"/>
                    <a:pt x="924" y="1094"/>
                  </a:cubicBezTo>
                  <a:cubicBezTo>
                    <a:pt x="929" y="1100"/>
                    <a:pt x="947" y="1125"/>
                    <a:pt x="950" y="1132"/>
                  </a:cubicBezTo>
                  <a:cubicBezTo>
                    <a:pt x="952" y="1139"/>
                    <a:pt x="961" y="1137"/>
                    <a:pt x="967" y="1141"/>
                  </a:cubicBezTo>
                  <a:cubicBezTo>
                    <a:pt x="973" y="1145"/>
                    <a:pt x="980" y="1157"/>
                    <a:pt x="981" y="1162"/>
                  </a:cubicBezTo>
                  <a:cubicBezTo>
                    <a:pt x="982" y="1167"/>
                    <a:pt x="987" y="1169"/>
                    <a:pt x="993" y="1174"/>
                  </a:cubicBezTo>
                  <a:cubicBezTo>
                    <a:pt x="998" y="1179"/>
                    <a:pt x="1000" y="1182"/>
                    <a:pt x="1001" y="1191"/>
                  </a:cubicBezTo>
                  <a:cubicBezTo>
                    <a:pt x="1002" y="1200"/>
                    <a:pt x="1017" y="1204"/>
                    <a:pt x="1021" y="1208"/>
                  </a:cubicBezTo>
                  <a:cubicBezTo>
                    <a:pt x="1025" y="1212"/>
                    <a:pt x="1029" y="1203"/>
                    <a:pt x="1026" y="1199"/>
                  </a:cubicBezTo>
                  <a:cubicBezTo>
                    <a:pt x="1022" y="1195"/>
                    <a:pt x="1016" y="1186"/>
                    <a:pt x="1016" y="1181"/>
                  </a:cubicBezTo>
                  <a:cubicBezTo>
                    <a:pt x="1016" y="1176"/>
                    <a:pt x="1020" y="1175"/>
                    <a:pt x="1024" y="1175"/>
                  </a:cubicBezTo>
                  <a:cubicBezTo>
                    <a:pt x="1027" y="1174"/>
                    <a:pt x="1024" y="1169"/>
                    <a:pt x="1031" y="1170"/>
                  </a:cubicBezTo>
                  <a:cubicBezTo>
                    <a:pt x="1038" y="1171"/>
                    <a:pt x="1044" y="1182"/>
                    <a:pt x="1046" y="1176"/>
                  </a:cubicBezTo>
                  <a:cubicBezTo>
                    <a:pt x="1048" y="1171"/>
                    <a:pt x="1039" y="1164"/>
                    <a:pt x="1035" y="1161"/>
                  </a:cubicBezTo>
                  <a:cubicBezTo>
                    <a:pt x="1032" y="1157"/>
                    <a:pt x="1030" y="1166"/>
                    <a:pt x="1026" y="1164"/>
                  </a:cubicBezTo>
                  <a:cubicBezTo>
                    <a:pt x="1022" y="1161"/>
                    <a:pt x="1017" y="1159"/>
                    <a:pt x="1014" y="1156"/>
                  </a:cubicBezTo>
                  <a:cubicBezTo>
                    <a:pt x="1011" y="1153"/>
                    <a:pt x="1000" y="1157"/>
                    <a:pt x="995" y="1153"/>
                  </a:cubicBezTo>
                  <a:cubicBezTo>
                    <a:pt x="990" y="1150"/>
                    <a:pt x="982" y="1139"/>
                    <a:pt x="976" y="1132"/>
                  </a:cubicBezTo>
                  <a:cubicBezTo>
                    <a:pt x="970" y="1124"/>
                    <a:pt x="968" y="1113"/>
                    <a:pt x="965" y="1107"/>
                  </a:cubicBezTo>
                  <a:cubicBezTo>
                    <a:pt x="961" y="1101"/>
                    <a:pt x="960" y="1093"/>
                    <a:pt x="964" y="1089"/>
                  </a:cubicBezTo>
                  <a:cubicBezTo>
                    <a:pt x="968" y="1085"/>
                    <a:pt x="973" y="1078"/>
                    <a:pt x="982" y="1082"/>
                  </a:cubicBezTo>
                  <a:cubicBezTo>
                    <a:pt x="992" y="1086"/>
                    <a:pt x="995" y="1085"/>
                    <a:pt x="994" y="1083"/>
                  </a:cubicBezTo>
                  <a:cubicBezTo>
                    <a:pt x="992" y="1081"/>
                    <a:pt x="978" y="1078"/>
                    <a:pt x="972" y="1074"/>
                  </a:cubicBezTo>
                  <a:cubicBezTo>
                    <a:pt x="967" y="1070"/>
                    <a:pt x="918" y="1041"/>
                    <a:pt x="913" y="1036"/>
                  </a:cubicBezTo>
                  <a:cubicBezTo>
                    <a:pt x="908" y="1031"/>
                    <a:pt x="900" y="1030"/>
                    <a:pt x="896" y="1026"/>
                  </a:cubicBezTo>
                  <a:cubicBezTo>
                    <a:pt x="892" y="1022"/>
                    <a:pt x="888" y="1023"/>
                    <a:pt x="883" y="1015"/>
                  </a:cubicBezTo>
                  <a:cubicBezTo>
                    <a:pt x="878" y="1008"/>
                    <a:pt x="877" y="1005"/>
                    <a:pt x="873" y="1000"/>
                  </a:cubicBezTo>
                  <a:cubicBezTo>
                    <a:pt x="868" y="995"/>
                    <a:pt x="856" y="986"/>
                    <a:pt x="850" y="982"/>
                  </a:cubicBezTo>
                  <a:cubicBezTo>
                    <a:pt x="844" y="978"/>
                    <a:pt x="839" y="977"/>
                    <a:pt x="834" y="971"/>
                  </a:cubicBezTo>
                  <a:cubicBezTo>
                    <a:pt x="829" y="965"/>
                    <a:pt x="828" y="962"/>
                    <a:pt x="824" y="962"/>
                  </a:cubicBezTo>
                  <a:cubicBezTo>
                    <a:pt x="820" y="963"/>
                    <a:pt x="819" y="968"/>
                    <a:pt x="819" y="968"/>
                  </a:cubicBezTo>
                  <a:close/>
                  <a:moveTo>
                    <a:pt x="720" y="1016"/>
                  </a:moveTo>
                  <a:cubicBezTo>
                    <a:pt x="720" y="1016"/>
                    <a:pt x="720" y="1016"/>
                    <a:pt x="720" y="1016"/>
                  </a:cubicBezTo>
                  <a:cubicBezTo>
                    <a:pt x="719" y="1021"/>
                    <a:pt x="717" y="1023"/>
                    <a:pt x="721" y="1026"/>
                  </a:cubicBezTo>
                  <a:cubicBezTo>
                    <a:pt x="724" y="1029"/>
                    <a:pt x="727" y="1024"/>
                    <a:pt x="729" y="1028"/>
                  </a:cubicBezTo>
                  <a:cubicBezTo>
                    <a:pt x="732" y="1031"/>
                    <a:pt x="734" y="1024"/>
                    <a:pt x="732" y="1019"/>
                  </a:cubicBezTo>
                  <a:cubicBezTo>
                    <a:pt x="728" y="1012"/>
                    <a:pt x="728" y="1010"/>
                    <a:pt x="720" y="1016"/>
                  </a:cubicBezTo>
                  <a:close/>
                  <a:moveTo>
                    <a:pt x="1169" y="1043"/>
                  </a:moveTo>
                  <a:cubicBezTo>
                    <a:pt x="1169" y="1043"/>
                    <a:pt x="1169" y="1043"/>
                    <a:pt x="1169" y="1043"/>
                  </a:cubicBezTo>
                  <a:cubicBezTo>
                    <a:pt x="1168" y="1044"/>
                    <a:pt x="1166" y="1050"/>
                    <a:pt x="1167" y="1057"/>
                  </a:cubicBezTo>
                  <a:cubicBezTo>
                    <a:pt x="1169" y="1063"/>
                    <a:pt x="1168" y="1068"/>
                    <a:pt x="1169" y="1072"/>
                  </a:cubicBezTo>
                  <a:cubicBezTo>
                    <a:pt x="1169" y="1077"/>
                    <a:pt x="1174" y="1078"/>
                    <a:pt x="1174" y="1070"/>
                  </a:cubicBezTo>
                  <a:cubicBezTo>
                    <a:pt x="1174" y="1062"/>
                    <a:pt x="1172" y="1057"/>
                    <a:pt x="1173" y="1052"/>
                  </a:cubicBezTo>
                  <a:cubicBezTo>
                    <a:pt x="1173" y="1047"/>
                    <a:pt x="1173" y="1045"/>
                    <a:pt x="1172" y="1043"/>
                  </a:cubicBezTo>
                  <a:cubicBezTo>
                    <a:pt x="1172" y="1042"/>
                    <a:pt x="1169" y="1043"/>
                    <a:pt x="1169" y="1043"/>
                  </a:cubicBezTo>
                  <a:close/>
                  <a:moveTo>
                    <a:pt x="1172" y="988"/>
                  </a:moveTo>
                  <a:cubicBezTo>
                    <a:pt x="1172" y="988"/>
                    <a:pt x="1172" y="988"/>
                    <a:pt x="1172" y="988"/>
                  </a:cubicBezTo>
                  <a:cubicBezTo>
                    <a:pt x="1172" y="987"/>
                    <a:pt x="1172" y="986"/>
                    <a:pt x="1173" y="986"/>
                  </a:cubicBezTo>
                  <a:cubicBezTo>
                    <a:pt x="1173" y="986"/>
                    <a:pt x="1174" y="986"/>
                    <a:pt x="1174" y="987"/>
                  </a:cubicBezTo>
                  <a:cubicBezTo>
                    <a:pt x="1174" y="987"/>
                    <a:pt x="1180" y="999"/>
                    <a:pt x="1175" y="1003"/>
                  </a:cubicBezTo>
                  <a:cubicBezTo>
                    <a:pt x="1175" y="1004"/>
                    <a:pt x="1174" y="1003"/>
                    <a:pt x="1173" y="1003"/>
                  </a:cubicBezTo>
                  <a:cubicBezTo>
                    <a:pt x="1173" y="1002"/>
                    <a:pt x="1173" y="1001"/>
                    <a:pt x="1173" y="1001"/>
                  </a:cubicBezTo>
                  <a:cubicBezTo>
                    <a:pt x="1177" y="998"/>
                    <a:pt x="1172" y="988"/>
                    <a:pt x="1172" y="988"/>
                  </a:cubicBezTo>
                  <a:close/>
                  <a:moveTo>
                    <a:pt x="1152" y="907"/>
                  </a:moveTo>
                  <a:cubicBezTo>
                    <a:pt x="1152" y="907"/>
                    <a:pt x="1152" y="907"/>
                    <a:pt x="1152" y="907"/>
                  </a:cubicBezTo>
                  <a:cubicBezTo>
                    <a:pt x="1152" y="906"/>
                    <a:pt x="1152" y="906"/>
                    <a:pt x="1153" y="905"/>
                  </a:cubicBezTo>
                  <a:cubicBezTo>
                    <a:pt x="1154" y="905"/>
                    <a:pt x="1154" y="906"/>
                    <a:pt x="1154" y="907"/>
                  </a:cubicBezTo>
                  <a:cubicBezTo>
                    <a:pt x="1155" y="910"/>
                    <a:pt x="1155" y="914"/>
                    <a:pt x="1155" y="914"/>
                  </a:cubicBezTo>
                  <a:cubicBezTo>
                    <a:pt x="1155" y="914"/>
                    <a:pt x="1154" y="915"/>
                    <a:pt x="1153" y="915"/>
                  </a:cubicBezTo>
                  <a:cubicBezTo>
                    <a:pt x="1152" y="914"/>
                    <a:pt x="1152" y="914"/>
                    <a:pt x="1152" y="913"/>
                  </a:cubicBezTo>
                  <a:cubicBezTo>
                    <a:pt x="1152" y="913"/>
                    <a:pt x="1153" y="910"/>
                    <a:pt x="1152" y="907"/>
                  </a:cubicBezTo>
                  <a:close/>
                  <a:moveTo>
                    <a:pt x="1140" y="876"/>
                  </a:moveTo>
                  <a:cubicBezTo>
                    <a:pt x="1140" y="876"/>
                    <a:pt x="1140" y="876"/>
                    <a:pt x="1140" y="876"/>
                  </a:cubicBezTo>
                  <a:cubicBezTo>
                    <a:pt x="1144" y="878"/>
                    <a:pt x="1154" y="885"/>
                    <a:pt x="1150" y="887"/>
                  </a:cubicBezTo>
                  <a:cubicBezTo>
                    <a:pt x="1145" y="888"/>
                    <a:pt x="1141" y="890"/>
                    <a:pt x="1140" y="885"/>
                  </a:cubicBezTo>
                  <a:cubicBezTo>
                    <a:pt x="1139" y="881"/>
                    <a:pt x="1140" y="876"/>
                    <a:pt x="1140" y="876"/>
                  </a:cubicBezTo>
                  <a:close/>
                  <a:moveTo>
                    <a:pt x="1123" y="829"/>
                  </a:moveTo>
                  <a:cubicBezTo>
                    <a:pt x="1123" y="829"/>
                    <a:pt x="1123" y="829"/>
                    <a:pt x="1123" y="829"/>
                  </a:cubicBezTo>
                  <a:cubicBezTo>
                    <a:pt x="1123" y="834"/>
                    <a:pt x="1130" y="841"/>
                    <a:pt x="1127" y="849"/>
                  </a:cubicBezTo>
                  <a:cubicBezTo>
                    <a:pt x="1124" y="857"/>
                    <a:pt x="1132" y="861"/>
                    <a:pt x="1134" y="853"/>
                  </a:cubicBezTo>
                  <a:cubicBezTo>
                    <a:pt x="1136" y="846"/>
                    <a:pt x="1138" y="839"/>
                    <a:pt x="1133" y="833"/>
                  </a:cubicBezTo>
                  <a:cubicBezTo>
                    <a:pt x="1127" y="826"/>
                    <a:pt x="1123" y="829"/>
                    <a:pt x="1123" y="829"/>
                  </a:cubicBezTo>
                  <a:close/>
                  <a:moveTo>
                    <a:pt x="1099" y="545"/>
                  </a:moveTo>
                  <a:cubicBezTo>
                    <a:pt x="1099" y="545"/>
                    <a:pt x="1099" y="545"/>
                    <a:pt x="1099" y="545"/>
                  </a:cubicBezTo>
                  <a:cubicBezTo>
                    <a:pt x="1099" y="545"/>
                    <a:pt x="1096" y="549"/>
                    <a:pt x="1096" y="552"/>
                  </a:cubicBezTo>
                  <a:cubicBezTo>
                    <a:pt x="1096" y="556"/>
                    <a:pt x="1118" y="555"/>
                    <a:pt x="1123" y="553"/>
                  </a:cubicBezTo>
                  <a:cubicBezTo>
                    <a:pt x="1128" y="551"/>
                    <a:pt x="1121" y="545"/>
                    <a:pt x="1118" y="546"/>
                  </a:cubicBezTo>
                  <a:cubicBezTo>
                    <a:pt x="1115" y="546"/>
                    <a:pt x="1102" y="545"/>
                    <a:pt x="1099" y="545"/>
                  </a:cubicBezTo>
                  <a:close/>
                  <a:moveTo>
                    <a:pt x="954" y="508"/>
                  </a:moveTo>
                  <a:cubicBezTo>
                    <a:pt x="954" y="508"/>
                    <a:pt x="954" y="508"/>
                    <a:pt x="954" y="508"/>
                  </a:cubicBezTo>
                  <a:cubicBezTo>
                    <a:pt x="953" y="512"/>
                    <a:pt x="954" y="520"/>
                    <a:pt x="956" y="524"/>
                  </a:cubicBezTo>
                  <a:cubicBezTo>
                    <a:pt x="957" y="526"/>
                    <a:pt x="959" y="525"/>
                    <a:pt x="961" y="527"/>
                  </a:cubicBezTo>
                  <a:cubicBezTo>
                    <a:pt x="963" y="530"/>
                    <a:pt x="961" y="535"/>
                    <a:pt x="966" y="536"/>
                  </a:cubicBezTo>
                  <a:cubicBezTo>
                    <a:pt x="968" y="537"/>
                    <a:pt x="967" y="527"/>
                    <a:pt x="966" y="518"/>
                  </a:cubicBezTo>
                  <a:cubicBezTo>
                    <a:pt x="966" y="510"/>
                    <a:pt x="967" y="509"/>
                    <a:pt x="964" y="508"/>
                  </a:cubicBezTo>
                  <a:cubicBezTo>
                    <a:pt x="960" y="508"/>
                    <a:pt x="954" y="508"/>
                    <a:pt x="954" y="508"/>
                  </a:cubicBezTo>
                  <a:close/>
                  <a:moveTo>
                    <a:pt x="630" y="76"/>
                  </a:moveTo>
                  <a:cubicBezTo>
                    <a:pt x="630" y="76"/>
                    <a:pt x="630" y="76"/>
                    <a:pt x="630" y="76"/>
                  </a:cubicBezTo>
                  <a:cubicBezTo>
                    <a:pt x="630" y="76"/>
                    <a:pt x="620" y="82"/>
                    <a:pt x="619" y="88"/>
                  </a:cubicBezTo>
                  <a:cubicBezTo>
                    <a:pt x="618" y="95"/>
                    <a:pt x="615" y="99"/>
                    <a:pt x="618" y="106"/>
                  </a:cubicBezTo>
                  <a:cubicBezTo>
                    <a:pt x="620" y="113"/>
                    <a:pt x="622" y="118"/>
                    <a:pt x="630" y="121"/>
                  </a:cubicBezTo>
                  <a:cubicBezTo>
                    <a:pt x="637" y="124"/>
                    <a:pt x="641" y="119"/>
                    <a:pt x="638" y="112"/>
                  </a:cubicBezTo>
                  <a:cubicBezTo>
                    <a:pt x="636" y="105"/>
                    <a:pt x="638" y="104"/>
                    <a:pt x="640" y="101"/>
                  </a:cubicBezTo>
                  <a:cubicBezTo>
                    <a:pt x="642" y="98"/>
                    <a:pt x="646" y="91"/>
                    <a:pt x="643" y="82"/>
                  </a:cubicBezTo>
                  <a:cubicBezTo>
                    <a:pt x="640" y="73"/>
                    <a:pt x="636" y="73"/>
                    <a:pt x="630" y="76"/>
                  </a:cubicBezTo>
                  <a:close/>
                  <a:moveTo>
                    <a:pt x="291" y="348"/>
                  </a:moveTo>
                  <a:cubicBezTo>
                    <a:pt x="291" y="348"/>
                    <a:pt x="291" y="348"/>
                    <a:pt x="291" y="348"/>
                  </a:cubicBezTo>
                  <a:cubicBezTo>
                    <a:pt x="291" y="348"/>
                    <a:pt x="293" y="353"/>
                    <a:pt x="298" y="358"/>
                  </a:cubicBezTo>
                  <a:cubicBezTo>
                    <a:pt x="303" y="363"/>
                    <a:pt x="309" y="358"/>
                    <a:pt x="313" y="359"/>
                  </a:cubicBezTo>
                  <a:cubicBezTo>
                    <a:pt x="316" y="359"/>
                    <a:pt x="321" y="357"/>
                    <a:pt x="325" y="355"/>
                  </a:cubicBezTo>
                  <a:cubicBezTo>
                    <a:pt x="330" y="353"/>
                    <a:pt x="335" y="347"/>
                    <a:pt x="337" y="342"/>
                  </a:cubicBezTo>
                  <a:cubicBezTo>
                    <a:pt x="340" y="337"/>
                    <a:pt x="341" y="334"/>
                    <a:pt x="338" y="329"/>
                  </a:cubicBezTo>
                  <a:cubicBezTo>
                    <a:pt x="335" y="325"/>
                    <a:pt x="331" y="325"/>
                    <a:pt x="329" y="326"/>
                  </a:cubicBezTo>
                  <a:cubicBezTo>
                    <a:pt x="328" y="328"/>
                    <a:pt x="320" y="330"/>
                    <a:pt x="319" y="333"/>
                  </a:cubicBezTo>
                  <a:cubicBezTo>
                    <a:pt x="319" y="337"/>
                    <a:pt x="315" y="338"/>
                    <a:pt x="313" y="337"/>
                  </a:cubicBezTo>
                  <a:cubicBezTo>
                    <a:pt x="310" y="336"/>
                    <a:pt x="307" y="336"/>
                    <a:pt x="305" y="340"/>
                  </a:cubicBezTo>
                  <a:cubicBezTo>
                    <a:pt x="302" y="343"/>
                    <a:pt x="304" y="345"/>
                    <a:pt x="300" y="346"/>
                  </a:cubicBezTo>
                  <a:cubicBezTo>
                    <a:pt x="296" y="347"/>
                    <a:pt x="291" y="348"/>
                    <a:pt x="291" y="348"/>
                  </a:cubicBezTo>
                  <a:close/>
                  <a:moveTo>
                    <a:pt x="277" y="395"/>
                  </a:moveTo>
                  <a:cubicBezTo>
                    <a:pt x="277" y="395"/>
                    <a:pt x="277" y="395"/>
                    <a:pt x="277" y="395"/>
                  </a:cubicBezTo>
                  <a:cubicBezTo>
                    <a:pt x="277" y="395"/>
                    <a:pt x="281" y="394"/>
                    <a:pt x="283" y="393"/>
                  </a:cubicBezTo>
                  <a:cubicBezTo>
                    <a:pt x="286" y="392"/>
                    <a:pt x="287" y="388"/>
                    <a:pt x="286" y="386"/>
                  </a:cubicBezTo>
                  <a:cubicBezTo>
                    <a:pt x="285" y="384"/>
                    <a:pt x="281" y="383"/>
                    <a:pt x="283" y="383"/>
                  </a:cubicBezTo>
                  <a:cubicBezTo>
                    <a:pt x="285" y="382"/>
                    <a:pt x="288" y="381"/>
                    <a:pt x="291" y="377"/>
                  </a:cubicBezTo>
                  <a:cubicBezTo>
                    <a:pt x="293" y="373"/>
                    <a:pt x="290" y="371"/>
                    <a:pt x="287" y="366"/>
                  </a:cubicBezTo>
                  <a:cubicBezTo>
                    <a:pt x="284" y="362"/>
                    <a:pt x="281" y="356"/>
                    <a:pt x="276" y="354"/>
                  </a:cubicBezTo>
                  <a:cubicBezTo>
                    <a:pt x="272" y="352"/>
                    <a:pt x="262" y="357"/>
                    <a:pt x="259" y="360"/>
                  </a:cubicBezTo>
                  <a:cubicBezTo>
                    <a:pt x="256" y="363"/>
                    <a:pt x="254" y="366"/>
                    <a:pt x="251" y="365"/>
                  </a:cubicBezTo>
                  <a:cubicBezTo>
                    <a:pt x="248" y="363"/>
                    <a:pt x="240" y="363"/>
                    <a:pt x="239" y="367"/>
                  </a:cubicBezTo>
                  <a:cubicBezTo>
                    <a:pt x="238" y="370"/>
                    <a:pt x="244" y="377"/>
                    <a:pt x="245" y="379"/>
                  </a:cubicBezTo>
                  <a:cubicBezTo>
                    <a:pt x="246" y="381"/>
                    <a:pt x="242" y="384"/>
                    <a:pt x="239" y="382"/>
                  </a:cubicBezTo>
                  <a:cubicBezTo>
                    <a:pt x="236" y="379"/>
                    <a:pt x="233" y="388"/>
                    <a:pt x="228" y="382"/>
                  </a:cubicBezTo>
                  <a:cubicBezTo>
                    <a:pt x="223" y="376"/>
                    <a:pt x="215" y="382"/>
                    <a:pt x="215" y="385"/>
                  </a:cubicBezTo>
                  <a:cubicBezTo>
                    <a:pt x="214" y="389"/>
                    <a:pt x="214" y="405"/>
                    <a:pt x="220" y="410"/>
                  </a:cubicBezTo>
                  <a:cubicBezTo>
                    <a:pt x="227" y="416"/>
                    <a:pt x="225" y="420"/>
                    <a:pt x="229" y="422"/>
                  </a:cubicBezTo>
                  <a:cubicBezTo>
                    <a:pt x="232" y="425"/>
                    <a:pt x="257" y="427"/>
                    <a:pt x="260" y="426"/>
                  </a:cubicBezTo>
                  <a:cubicBezTo>
                    <a:pt x="263" y="425"/>
                    <a:pt x="256" y="417"/>
                    <a:pt x="257" y="412"/>
                  </a:cubicBezTo>
                  <a:cubicBezTo>
                    <a:pt x="257" y="407"/>
                    <a:pt x="263" y="409"/>
                    <a:pt x="265" y="405"/>
                  </a:cubicBezTo>
                  <a:cubicBezTo>
                    <a:pt x="267" y="401"/>
                    <a:pt x="277" y="395"/>
                    <a:pt x="277" y="395"/>
                  </a:cubicBezTo>
                  <a:close/>
                  <a:moveTo>
                    <a:pt x="283" y="426"/>
                  </a:moveTo>
                  <a:cubicBezTo>
                    <a:pt x="283" y="426"/>
                    <a:pt x="283" y="426"/>
                    <a:pt x="283" y="426"/>
                  </a:cubicBezTo>
                  <a:cubicBezTo>
                    <a:pt x="281" y="430"/>
                    <a:pt x="280" y="437"/>
                    <a:pt x="285" y="439"/>
                  </a:cubicBezTo>
                  <a:cubicBezTo>
                    <a:pt x="289" y="441"/>
                    <a:pt x="295" y="433"/>
                    <a:pt x="293" y="428"/>
                  </a:cubicBezTo>
                  <a:cubicBezTo>
                    <a:pt x="291" y="424"/>
                    <a:pt x="283" y="426"/>
                    <a:pt x="283" y="426"/>
                  </a:cubicBezTo>
                  <a:close/>
                  <a:moveTo>
                    <a:pt x="297" y="440"/>
                  </a:moveTo>
                  <a:cubicBezTo>
                    <a:pt x="297" y="440"/>
                    <a:pt x="297" y="440"/>
                    <a:pt x="297" y="440"/>
                  </a:cubicBezTo>
                  <a:cubicBezTo>
                    <a:pt x="297" y="440"/>
                    <a:pt x="301" y="446"/>
                    <a:pt x="299" y="450"/>
                  </a:cubicBezTo>
                  <a:cubicBezTo>
                    <a:pt x="297" y="453"/>
                    <a:pt x="300" y="462"/>
                    <a:pt x="302" y="457"/>
                  </a:cubicBezTo>
                  <a:cubicBezTo>
                    <a:pt x="305" y="453"/>
                    <a:pt x="311" y="451"/>
                    <a:pt x="313" y="451"/>
                  </a:cubicBezTo>
                  <a:cubicBezTo>
                    <a:pt x="316" y="450"/>
                    <a:pt x="333" y="441"/>
                    <a:pt x="333" y="435"/>
                  </a:cubicBezTo>
                  <a:cubicBezTo>
                    <a:pt x="332" y="429"/>
                    <a:pt x="328" y="428"/>
                    <a:pt x="319" y="427"/>
                  </a:cubicBezTo>
                  <a:cubicBezTo>
                    <a:pt x="309" y="426"/>
                    <a:pt x="304" y="428"/>
                    <a:pt x="301" y="430"/>
                  </a:cubicBezTo>
                  <a:cubicBezTo>
                    <a:pt x="298" y="432"/>
                    <a:pt x="297" y="440"/>
                    <a:pt x="297" y="440"/>
                  </a:cubicBezTo>
                  <a:close/>
                  <a:moveTo>
                    <a:pt x="18" y="568"/>
                  </a:moveTo>
                  <a:cubicBezTo>
                    <a:pt x="18" y="568"/>
                    <a:pt x="18" y="568"/>
                    <a:pt x="18" y="568"/>
                  </a:cubicBezTo>
                  <a:cubicBezTo>
                    <a:pt x="13" y="569"/>
                    <a:pt x="9" y="578"/>
                    <a:pt x="5" y="579"/>
                  </a:cubicBezTo>
                  <a:cubicBezTo>
                    <a:pt x="1" y="580"/>
                    <a:pt x="14" y="585"/>
                    <a:pt x="20" y="586"/>
                  </a:cubicBezTo>
                  <a:cubicBezTo>
                    <a:pt x="25" y="586"/>
                    <a:pt x="29" y="577"/>
                    <a:pt x="27" y="573"/>
                  </a:cubicBezTo>
                  <a:cubicBezTo>
                    <a:pt x="26" y="568"/>
                    <a:pt x="18" y="568"/>
                    <a:pt x="18" y="568"/>
                  </a:cubicBezTo>
                  <a:close/>
                </a:path>
              </a:pathLst>
            </a:custGeom>
            <a:solidFill>
              <a:schemeClr val="lt1"/>
            </a:solidFill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" name="Freeform 77"/>
            <p:cNvSpPr>
              <a:spLocks noEditPoints="1"/>
            </p:cNvSpPr>
            <p:nvPr/>
          </p:nvSpPr>
          <p:spPr bwMode="auto">
            <a:xfrm>
              <a:off x="3162300" y="2535709"/>
              <a:ext cx="3500438" cy="3989388"/>
            </a:xfrm>
            <a:custGeom>
              <a:avLst/>
              <a:gdLst>
                <a:gd name="T0" fmla="*/ 805 w 1100"/>
                <a:gd name="T1" fmla="*/ 1030 h 1253"/>
                <a:gd name="T2" fmla="*/ 791 w 1100"/>
                <a:gd name="T3" fmla="*/ 1085 h 1253"/>
                <a:gd name="T4" fmla="*/ 813 w 1100"/>
                <a:gd name="T5" fmla="*/ 958 h 1253"/>
                <a:gd name="T6" fmla="*/ 274 w 1100"/>
                <a:gd name="T7" fmla="*/ 407 h 1253"/>
                <a:gd name="T8" fmla="*/ 280 w 1100"/>
                <a:gd name="T9" fmla="*/ 485 h 1253"/>
                <a:gd name="T10" fmla="*/ 306 w 1100"/>
                <a:gd name="T11" fmla="*/ 502 h 1253"/>
                <a:gd name="T12" fmla="*/ 293 w 1100"/>
                <a:gd name="T13" fmla="*/ 569 h 1253"/>
                <a:gd name="T14" fmla="*/ 303 w 1100"/>
                <a:gd name="T15" fmla="*/ 618 h 1253"/>
                <a:gd name="T16" fmla="*/ 338 w 1100"/>
                <a:gd name="T17" fmla="*/ 670 h 1253"/>
                <a:gd name="T18" fmla="*/ 328 w 1100"/>
                <a:gd name="T19" fmla="*/ 739 h 1253"/>
                <a:gd name="T20" fmla="*/ 288 w 1100"/>
                <a:gd name="T21" fmla="*/ 805 h 1253"/>
                <a:gd name="T22" fmla="*/ 212 w 1100"/>
                <a:gd name="T23" fmla="*/ 806 h 1253"/>
                <a:gd name="T24" fmla="*/ 136 w 1100"/>
                <a:gd name="T25" fmla="*/ 860 h 1253"/>
                <a:gd name="T26" fmla="*/ 52 w 1100"/>
                <a:gd name="T27" fmla="*/ 875 h 1253"/>
                <a:gd name="T28" fmla="*/ 22 w 1100"/>
                <a:gd name="T29" fmla="*/ 893 h 1253"/>
                <a:gd name="T30" fmla="*/ 17 w 1100"/>
                <a:gd name="T31" fmla="*/ 931 h 1253"/>
                <a:gd name="T32" fmla="*/ 8 w 1100"/>
                <a:gd name="T33" fmla="*/ 982 h 1253"/>
                <a:gd name="T34" fmla="*/ 41 w 1100"/>
                <a:gd name="T35" fmla="*/ 1026 h 1253"/>
                <a:gd name="T36" fmla="*/ 90 w 1100"/>
                <a:gd name="T37" fmla="*/ 1039 h 1253"/>
                <a:gd name="T38" fmla="*/ 175 w 1100"/>
                <a:gd name="T39" fmla="*/ 1175 h 1253"/>
                <a:gd name="T40" fmla="*/ 266 w 1100"/>
                <a:gd name="T41" fmla="*/ 1186 h 1253"/>
                <a:gd name="T42" fmla="*/ 330 w 1100"/>
                <a:gd name="T43" fmla="*/ 1235 h 1253"/>
                <a:gd name="T44" fmla="*/ 418 w 1100"/>
                <a:gd name="T45" fmla="*/ 1216 h 1253"/>
                <a:gd name="T46" fmla="*/ 500 w 1100"/>
                <a:gd name="T47" fmla="*/ 1196 h 1253"/>
                <a:gd name="T48" fmla="*/ 595 w 1100"/>
                <a:gd name="T49" fmla="*/ 1216 h 1253"/>
                <a:gd name="T50" fmla="*/ 635 w 1100"/>
                <a:gd name="T51" fmla="*/ 1137 h 1253"/>
                <a:gd name="T52" fmla="*/ 750 w 1100"/>
                <a:gd name="T53" fmla="*/ 1180 h 1253"/>
                <a:gd name="T54" fmla="*/ 868 w 1100"/>
                <a:gd name="T55" fmla="*/ 1184 h 1253"/>
                <a:gd name="T56" fmla="*/ 985 w 1100"/>
                <a:gd name="T57" fmla="*/ 1110 h 1253"/>
                <a:gd name="T58" fmla="*/ 1094 w 1100"/>
                <a:gd name="T59" fmla="*/ 1067 h 1253"/>
                <a:gd name="T60" fmla="*/ 1070 w 1100"/>
                <a:gd name="T61" fmla="*/ 976 h 1253"/>
                <a:gd name="T62" fmla="*/ 1078 w 1100"/>
                <a:gd name="T63" fmla="*/ 895 h 1253"/>
                <a:gd name="T64" fmla="*/ 1041 w 1100"/>
                <a:gd name="T65" fmla="*/ 858 h 1253"/>
                <a:gd name="T66" fmla="*/ 1003 w 1100"/>
                <a:gd name="T67" fmla="*/ 844 h 1253"/>
                <a:gd name="T68" fmla="*/ 969 w 1100"/>
                <a:gd name="T69" fmla="*/ 804 h 1253"/>
                <a:gd name="T70" fmla="*/ 927 w 1100"/>
                <a:gd name="T71" fmla="*/ 766 h 1253"/>
                <a:gd name="T72" fmla="*/ 864 w 1100"/>
                <a:gd name="T73" fmla="*/ 762 h 1253"/>
                <a:gd name="T74" fmla="*/ 836 w 1100"/>
                <a:gd name="T75" fmla="*/ 819 h 1253"/>
                <a:gd name="T76" fmla="*/ 775 w 1100"/>
                <a:gd name="T77" fmla="*/ 825 h 1253"/>
                <a:gd name="T78" fmla="*/ 756 w 1100"/>
                <a:gd name="T79" fmla="*/ 728 h 1253"/>
                <a:gd name="T80" fmla="*/ 730 w 1100"/>
                <a:gd name="T81" fmla="*/ 674 h 1253"/>
                <a:gd name="T82" fmla="*/ 697 w 1100"/>
                <a:gd name="T83" fmla="*/ 651 h 1253"/>
                <a:gd name="T84" fmla="*/ 674 w 1100"/>
                <a:gd name="T85" fmla="*/ 613 h 1253"/>
                <a:gd name="T86" fmla="*/ 643 w 1100"/>
                <a:gd name="T87" fmla="*/ 564 h 1253"/>
                <a:gd name="T88" fmla="*/ 633 w 1100"/>
                <a:gd name="T89" fmla="*/ 461 h 1253"/>
                <a:gd name="T90" fmla="*/ 672 w 1100"/>
                <a:gd name="T91" fmla="*/ 417 h 1253"/>
                <a:gd name="T92" fmla="*/ 677 w 1100"/>
                <a:gd name="T93" fmla="*/ 351 h 1253"/>
                <a:gd name="T94" fmla="*/ 640 w 1100"/>
                <a:gd name="T95" fmla="*/ 280 h 1253"/>
                <a:gd name="T96" fmla="*/ 600 w 1100"/>
                <a:gd name="T97" fmla="*/ 313 h 1253"/>
                <a:gd name="T98" fmla="*/ 650 w 1100"/>
                <a:gd name="T99" fmla="*/ 213 h 1253"/>
                <a:gd name="T100" fmla="*/ 566 w 1100"/>
                <a:gd name="T101" fmla="*/ 184 h 1253"/>
                <a:gd name="T102" fmla="*/ 505 w 1100"/>
                <a:gd name="T103" fmla="*/ 200 h 1253"/>
                <a:gd name="T104" fmla="*/ 394 w 1100"/>
                <a:gd name="T105" fmla="*/ 258 h 1253"/>
                <a:gd name="T106" fmla="*/ 343 w 1100"/>
                <a:gd name="T107" fmla="*/ 318 h 1253"/>
                <a:gd name="T108" fmla="*/ 316 w 1100"/>
                <a:gd name="T109" fmla="*/ 455 h 1253"/>
                <a:gd name="T110" fmla="*/ 502 w 1100"/>
                <a:gd name="T111" fmla="*/ 80 h 1253"/>
                <a:gd name="T112" fmla="*/ 525 w 1100"/>
                <a:gd name="T113" fmla="*/ 89 h 1253"/>
                <a:gd name="T114" fmla="*/ 415 w 1100"/>
                <a:gd name="T115" fmla="*/ 65 h 1253"/>
                <a:gd name="T116" fmla="*/ 460 w 1100"/>
                <a:gd name="T117" fmla="*/ 30 h 1253"/>
                <a:gd name="T118" fmla="*/ 490 w 1100"/>
                <a:gd name="T119" fmla="*/ 96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0" h="1253">
                  <a:moveTo>
                    <a:pt x="262" y="416"/>
                  </a:moveTo>
                  <a:cubicBezTo>
                    <a:pt x="262" y="416"/>
                    <a:pt x="262" y="416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lose/>
                  <a:moveTo>
                    <a:pt x="813" y="958"/>
                  </a:moveTo>
                  <a:cubicBezTo>
                    <a:pt x="813" y="958"/>
                    <a:pt x="813" y="958"/>
                    <a:pt x="813" y="958"/>
                  </a:cubicBezTo>
                  <a:cubicBezTo>
                    <a:pt x="813" y="962"/>
                    <a:pt x="809" y="976"/>
                    <a:pt x="810" y="986"/>
                  </a:cubicBezTo>
                  <a:cubicBezTo>
                    <a:pt x="811" y="996"/>
                    <a:pt x="807" y="1024"/>
                    <a:pt x="805" y="1030"/>
                  </a:cubicBezTo>
                  <a:cubicBezTo>
                    <a:pt x="803" y="1037"/>
                    <a:pt x="795" y="1048"/>
                    <a:pt x="788" y="1053"/>
                  </a:cubicBezTo>
                  <a:cubicBezTo>
                    <a:pt x="782" y="1058"/>
                    <a:pt x="786" y="1067"/>
                    <a:pt x="784" y="1074"/>
                  </a:cubicBezTo>
                  <a:cubicBezTo>
                    <a:pt x="781" y="1081"/>
                    <a:pt x="767" y="1081"/>
                    <a:pt x="767" y="1092"/>
                  </a:cubicBezTo>
                  <a:cubicBezTo>
                    <a:pt x="767" y="1103"/>
                    <a:pt x="760" y="1106"/>
                    <a:pt x="753" y="1112"/>
                  </a:cubicBezTo>
                  <a:cubicBezTo>
                    <a:pt x="745" y="1117"/>
                    <a:pt x="727" y="1121"/>
                    <a:pt x="727" y="1125"/>
                  </a:cubicBezTo>
                  <a:cubicBezTo>
                    <a:pt x="728" y="1129"/>
                    <a:pt x="746" y="1134"/>
                    <a:pt x="759" y="1124"/>
                  </a:cubicBezTo>
                  <a:cubicBezTo>
                    <a:pt x="773" y="1114"/>
                    <a:pt x="784" y="1112"/>
                    <a:pt x="783" y="1097"/>
                  </a:cubicBezTo>
                  <a:cubicBezTo>
                    <a:pt x="781" y="1083"/>
                    <a:pt x="783" y="1091"/>
                    <a:pt x="791" y="1085"/>
                  </a:cubicBezTo>
                  <a:cubicBezTo>
                    <a:pt x="798" y="1080"/>
                    <a:pt x="799" y="1074"/>
                    <a:pt x="804" y="1071"/>
                  </a:cubicBezTo>
                  <a:cubicBezTo>
                    <a:pt x="809" y="1068"/>
                    <a:pt x="815" y="1049"/>
                    <a:pt x="819" y="1044"/>
                  </a:cubicBezTo>
                  <a:cubicBezTo>
                    <a:pt x="822" y="1039"/>
                    <a:pt x="826" y="1038"/>
                    <a:pt x="823" y="1034"/>
                  </a:cubicBezTo>
                  <a:cubicBezTo>
                    <a:pt x="820" y="1030"/>
                    <a:pt x="813" y="1020"/>
                    <a:pt x="821" y="1020"/>
                  </a:cubicBezTo>
                  <a:cubicBezTo>
                    <a:pt x="828" y="1020"/>
                    <a:pt x="832" y="1015"/>
                    <a:pt x="829" y="1006"/>
                  </a:cubicBezTo>
                  <a:cubicBezTo>
                    <a:pt x="827" y="997"/>
                    <a:pt x="827" y="987"/>
                    <a:pt x="827" y="976"/>
                  </a:cubicBezTo>
                  <a:cubicBezTo>
                    <a:pt x="827" y="965"/>
                    <a:pt x="827" y="955"/>
                    <a:pt x="823" y="951"/>
                  </a:cubicBezTo>
                  <a:cubicBezTo>
                    <a:pt x="819" y="948"/>
                    <a:pt x="813" y="958"/>
                    <a:pt x="813" y="958"/>
                  </a:cubicBezTo>
                  <a:close/>
                  <a:moveTo>
                    <a:pt x="270" y="363"/>
                  </a:moveTo>
                  <a:cubicBezTo>
                    <a:pt x="270" y="363"/>
                    <a:pt x="270" y="363"/>
                    <a:pt x="270" y="363"/>
                  </a:cubicBezTo>
                  <a:cubicBezTo>
                    <a:pt x="269" y="374"/>
                    <a:pt x="269" y="374"/>
                    <a:pt x="269" y="374"/>
                  </a:cubicBezTo>
                  <a:cubicBezTo>
                    <a:pt x="281" y="380"/>
                    <a:pt x="281" y="380"/>
                    <a:pt x="281" y="380"/>
                  </a:cubicBezTo>
                  <a:cubicBezTo>
                    <a:pt x="291" y="387"/>
                    <a:pt x="291" y="387"/>
                    <a:pt x="291" y="387"/>
                  </a:cubicBezTo>
                  <a:cubicBezTo>
                    <a:pt x="286" y="398"/>
                    <a:pt x="286" y="398"/>
                    <a:pt x="286" y="398"/>
                  </a:cubicBezTo>
                  <a:cubicBezTo>
                    <a:pt x="281" y="397"/>
                    <a:pt x="281" y="397"/>
                    <a:pt x="281" y="397"/>
                  </a:cubicBezTo>
                  <a:cubicBezTo>
                    <a:pt x="274" y="407"/>
                    <a:pt x="274" y="407"/>
                    <a:pt x="274" y="407"/>
                  </a:cubicBezTo>
                  <a:cubicBezTo>
                    <a:pt x="279" y="414"/>
                    <a:pt x="279" y="414"/>
                    <a:pt x="279" y="414"/>
                  </a:cubicBezTo>
                  <a:cubicBezTo>
                    <a:pt x="289" y="420"/>
                    <a:pt x="289" y="420"/>
                    <a:pt x="289" y="420"/>
                  </a:cubicBezTo>
                  <a:cubicBezTo>
                    <a:pt x="289" y="444"/>
                    <a:pt x="289" y="444"/>
                    <a:pt x="289" y="444"/>
                  </a:cubicBezTo>
                  <a:cubicBezTo>
                    <a:pt x="280" y="446"/>
                    <a:pt x="280" y="446"/>
                    <a:pt x="280" y="446"/>
                  </a:cubicBezTo>
                  <a:cubicBezTo>
                    <a:pt x="262" y="464"/>
                    <a:pt x="262" y="464"/>
                    <a:pt x="262" y="464"/>
                  </a:cubicBezTo>
                  <a:cubicBezTo>
                    <a:pt x="262" y="471"/>
                    <a:pt x="262" y="471"/>
                    <a:pt x="262" y="471"/>
                  </a:cubicBezTo>
                  <a:cubicBezTo>
                    <a:pt x="273" y="484"/>
                    <a:pt x="273" y="484"/>
                    <a:pt x="273" y="484"/>
                  </a:cubicBezTo>
                  <a:cubicBezTo>
                    <a:pt x="280" y="485"/>
                    <a:pt x="280" y="485"/>
                    <a:pt x="280" y="485"/>
                  </a:cubicBezTo>
                  <a:cubicBezTo>
                    <a:pt x="281" y="488"/>
                    <a:pt x="281" y="488"/>
                    <a:pt x="281" y="488"/>
                  </a:cubicBezTo>
                  <a:cubicBezTo>
                    <a:pt x="286" y="494"/>
                    <a:pt x="286" y="494"/>
                    <a:pt x="286" y="494"/>
                  </a:cubicBezTo>
                  <a:cubicBezTo>
                    <a:pt x="289" y="489"/>
                    <a:pt x="289" y="489"/>
                    <a:pt x="289" y="489"/>
                  </a:cubicBezTo>
                  <a:cubicBezTo>
                    <a:pt x="296" y="490"/>
                    <a:pt x="296" y="490"/>
                    <a:pt x="296" y="490"/>
                  </a:cubicBezTo>
                  <a:cubicBezTo>
                    <a:pt x="301" y="486"/>
                    <a:pt x="301" y="486"/>
                    <a:pt x="301" y="486"/>
                  </a:cubicBezTo>
                  <a:cubicBezTo>
                    <a:pt x="301" y="486"/>
                    <a:pt x="302" y="493"/>
                    <a:pt x="302" y="494"/>
                  </a:cubicBezTo>
                  <a:cubicBezTo>
                    <a:pt x="302" y="495"/>
                    <a:pt x="304" y="495"/>
                    <a:pt x="304" y="495"/>
                  </a:cubicBezTo>
                  <a:cubicBezTo>
                    <a:pt x="306" y="502"/>
                    <a:pt x="306" y="502"/>
                    <a:pt x="306" y="502"/>
                  </a:cubicBezTo>
                  <a:cubicBezTo>
                    <a:pt x="310" y="514"/>
                    <a:pt x="310" y="514"/>
                    <a:pt x="310" y="514"/>
                  </a:cubicBezTo>
                  <a:cubicBezTo>
                    <a:pt x="304" y="519"/>
                    <a:pt x="304" y="519"/>
                    <a:pt x="304" y="519"/>
                  </a:cubicBezTo>
                  <a:cubicBezTo>
                    <a:pt x="307" y="530"/>
                    <a:pt x="307" y="530"/>
                    <a:pt x="307" y="530"/>
                  </a:cubicBezTo>
                  <a:cubicBezTo>
                    <a:pt x="299" y="543"/>
                    <a:pt x="299" y="543"/>
                    <a:pt x="299" y="543"/>
                  </a:cubicBezTo>
                  <a:cubicBezTo>
                    <a:pt x="293" y="543"/>
                    <a:pt x="293" y="543"/>
                    <a:pt x="293" y="543"/>
                  </a:cubicBezTo>
                  <a:cubicBezTo>
                    <a:pt x="294" y="554"/>
                    <a:pt x="294" y="554"/>
                    <a:pt x="294" y="554"/>
                  </a:cubicBezTo>
                  <a:cubicBezTo>
                    <a:pt x="301" y="560"/>
                    <a:pt x="301" y="560"/>
                    <a:pt x="301" y="560"/>
                  </a:cubicBezTo>
                  <a:cubicBezTo>
                    <a:pt x="293" y="569"/>
                    <a:pt x="293" y="569"/>
                    <a:pt x="293" y="569"/>
                  </a:cubicBezTo>
                  <a:cubicBezTo>
                    <a:pt x="297" y="573"/>
                    <a:pt x="297" y="573"/>
                    <a:pt x="297" y="573"/>
                  </a:cubicBezTo>
                  <a:cubicBezTo>
                    <a:pt x="298" y="580"/>
                    <a:pt x="298" y="580"/>
                    <a:pt x="298" y="580"/>
                  </a:cubicBezTo>
                  <a:cubicBezTo>
                    <a:pt x="306" y="584"/>
                    <a:pt x="306" y="584"/>
                    <a:pt x="306" y="584"/>
                  </a:cubicBezTo>
                  <a:cubicBezTo>
                    <a:pt x="311" y="591"/>
                    <a:pt x="311" y="591"/>
                    <a:pt x="311" y="591"/>
                  </a:cubicBezTo>
                  <a:cubicBezTo>
                    <a:pt x="305" y="599"/>
                    <a:pt x="305" y="599"/>
                    <a:pt x="305" y="599"/>
                  </a:cubicBezTo>
                  <a:cubicBezTo>
                    <a:pt x="308" y="605"/>
                    <a:pt x="308" y="605"/>
                    <a:pt x="308" y="605"/>
                  </a:cubicBezTo>
                  <a:cubicBezTo>
                    <a:pt x="309" y="615"/>
                    <a:pt x="309" y="615"/>
                    <a:pt x="309" y="615"/>
                  </a:cubicBezTo>
                  <a:cubicBezTo>
                    <a:pt x="303" y="618"/>
                    <a:pt x="303" y="618"/>
                    <a:pt x="303" y="618"/>
                  </a:cubicBezTo>
                  <a:cubicBezTo>
                    <a:pt x="307" y="627"/>
                    <a:pt x="307" y="627"/>
                    <a:pt x="307" y="627"/>
                  </a:cubicBezTo>
                  <a:cubicBezTo>
                    <a:pt x="314" y="626"/>
                    <a:pt x="314" y="626"/>
                    <a:pt x="314" y="626"/>
                  </a:cubicBezTo>
                  <a:cubicBezTo>
                    <a:pt x="322" y="634"/>
                    <a:pt x="322" y="634"/>
                    <a:pt x="322" y="634"/>
                  </a:cubicBezTo>
                  <a:cubicBezTo>
                    <a:pt x="326" y="648"/>
                    <a:pt x="326" y="648"/>
                    <a:pt x="326" y="648"/>
                  </a:cubicBezTo>
                  <a:cubicBezTo>
                    <a:pt x="318" y="656"/>
                    <a:pt x="318" y="656"/>
                    <a:pt x="318" y="656"/>
                  </a:cubicBezTo>
                  <a:cubicBezTo>
                    <a:pt x="322" y="664"/>
                    <a:pt x="322" y="664"/>
                    <a:pt x="322" y="664"/>
                  </a:cubicBezTo>
                  <a:cubicBezTo>
                    <a:pt x="330" y="664"/>
                    <a:pt x="330" y="664"/>
                    <a:pt x="330" y="664"/>
                  </a:cubicBezTo>
                  <a:cubicBezTo>
                    <a:pt x="338" y="670"/>
                    <a:pt x="338" y="670"/>
                    <a:pt x="338" y="670"/>
                  </a:cubicBezTo>
                  <a:cubicBezTo>
                    <a:pt x="343" y="664"/>
                    <a:pt x="343" y="664"/>
                    <a:pt x="343" y="664"/>
                  </a:cubicBezTo>
                  <a:cubicBezTo>
                    <a:pt x="342" y="684"/>
                    <a:pt x="342" y="684"/>
                    <a:pt x="342" y="684"/>
                  </a:cubicBezTo>
                  <a:cubicBezTo>
                    <a:pt x="346" y="692"/>
                    <a:pt x="346" y="692"/>
                    <a:pt x="346" y="692"/>
                  </a:cubicBezTo>
                  <a:cubicBezTo>
                    <a:pt x="335" y="702"/>
                    <a:pt x="335" y="702"/>
                    <a:pt x="335" y="702"/>
                  </a:cubicBezTo>
                  <a:cubicBezTo>
                    <a:pt x="328" y="713"/>
                    <a:pt x="328" y="713"/>
                    <a:pt x="328" y="713"/>
                  </a:cubicBezTo>
                  <a:cubicBezTo>
                    <a:pt x="335" y="722"/>
                    <a:pt x="335" y="722"/>
                    <a:pt x="335" y="722"/>
                  </a:cubicBezTo>
                  <a:cubicBezTo>
                    <a:pt x="336" y="733"/>
                    <a:pt x="336" y="733"/>
                    <a:pt x="336" y="733"/>
                  </a:cubicBezTo>
                  <a:cubicBezTo>
                    <a:pt x="328" y="739"/>
                    <a:pt x="328" y="739"/>
                    <a:pt x="328" y="739"/>
                  </a:cubicBezTo>
                  <a:cubicBezTo>
                    <a:pt x="328" y="749"/>
                    <a:pt x="328" y="749"/>
                    <a:pt x="328" y="749"/>
                  </a:cubicBezTo>
                  <a:cubicBezTo>
                    <a:pt x="315" y="762"/>
                    <a:pt x="315" y="762"/>
                    <a:pt x="315" y="762"/>
                  </a:cubicBezTo>
                  <a:cubicBezTo>
                    <a:pt x="315" y="776"/>
                    <a:pt x="315" y="776"/>
                    <a:pt x="315" y="776"/>
                  </a:cubicBezTo>
                  <a:cubicBezTo>
                    <a:pt x="337" y="790"/>
                    <a:pt x="337" y="790"/>
                    <a:pt x="337" y="790"/>
                  </a:cubicBezTo>
                  <a:cubicBezTo>
                    <a:pt x="327" y="802"/>
                    <a:pt x="327" y="802"/>
                    <a:pt x="327" y="802"/>
                  </a:cubicBezTo>
                  <a:cubicBezTo>
                    <a:pt x="318" y="806"/>
                    <a:pt x="318" y="806"/>
                    <a:pt x="318" y="806"/>
                  </a:cubicBezTo>
                  <a:cubicBezTo>
                    <a:pt x="305" y="816"/>
                    <a:pt x="305" y="816"/>
                    <a:pt x="305" y="816"/>
                  </a:cubicBezTo>
                  <a:cubicBezTo>
                    <a:pt x="288" y="805"/>
                    <a:pt x="288" y="805"/>
                    <a:pt x="288" y="805"/>
                  </a:cubicBezTo>
                  <a:cubicBezTo>
                    <a:pt x="272" y="814"/>
                    <a:pt x="272" y="814"/>
                    <a:pt x="272" y="814"/>
                  </a:cubicBezTo>
                  <a:cubicBezTo>
                    <a:pt x="269" y="823"/>
                    <a:pt x="269" y="823"/>
                    <a:pt x="269" y="823"/>
                  </a:cubicBezTo>
                  <a:cubicBezTo>
                    <a:pt x="257" y="815"/>
                    <a:pt x="257" y="815"/>
                    <a:pt x="257" y="815"/>
                  </a:cubicBezTo>
                  <a:cubicBezTo>
                    <a:pt x="249" y="818"/>
                    <a:pt x="249" y="818"/>
                    <a:pt x="249" y="818"/>
                  </a:cubicBezTo>
                  <a:cubicBezTo>
                    <a:pt x="240" y="808"/>
                    <a:pt x="240" y="808"/>
                    <a:pt x="240" y="808"/>
                  </a:cubicBezTo>
                  <a:cubicBezTo>
                    <a:pt x="230" y="812"/>
                    <a:pt x="230" y="812"/>
                    <a:pt x="230" y="812"/>
                  </a:cubicBezTo>
                  <a:cubicBezTo>
                    <a:pt x="216" y="811"/>
                    <a:pt x="216" y="811"/>
                    <a:pt x="216" y="811"/>
                  </a:cubicBezTo>
                  <a:cubicBezTo>
                    <a:pt x="212" y="806"/>
                    <a:pt x="212" y="806"/>
                    <a:pt x="212" y="806"/>
                  </a:cubicBezTo>
                  <a:cubicBezTo>
                    <a:pt x="196" y="805"/>
                    <a:pt x="196" y="805"/>
                    <a:pt x="196" y="805"/>
                  </a:cubicBezTo>
                  <a:cubicBezTo>
                    <a:pt x="188" y="802"/>
                    <a:pt x="188" y="802"/>
                    <a:pt x="188" y="802"/>
                  </a:cubicBezTo>
                  <a:cubicBezTo>
                    <a:pt x="172" y="804"/>
                    <a:pt x="172" y="804"/>
                    <a:pt x="172" y="804"/>
                  </a:cubicBezTo>
                  <a:cubicBezTo>
                    <a:pt x="162" y="825"/>
                    <a:pt x="162" y="825"/>
                    <a:pt x="162" y="825"/>
                  </a:cubicBezTo>
                  <a:cubicBezTo>
                    <a:pt x="162" y="839"/>
                    <a:pt x="162" y="839"/>
                    <a:pt x="162" y="839"/>
                  </a:cubicBezTo>
                  <a:cubicBezTo>
                    <a:pt x="151" y="842"/>
                    <a:pt x="151" y="842"/>
                    <a:pt x="151" y="842"/>
                  </a:cubicBezTo>
                  <a:cubicBezTo>
                    <a:pt x="137" y="852"/>
                    <a:pt x="137" y="852"/>
                    <a:pt x="137" y="852"/>
                  </a:cubicBezTo>
                  <a:cubicBezTo>
                    <a:pt x="136" y="860"/>
                    <a:pt x="136" y="860"/>
                    <a:pt x="136" y="860"/>
                  </a:cubicBezTo>
                  <a:cubicBezTo>
                    <a:pt x="123" y="870"/>
                    <a:pt x="123" y="870"/>
                    <a:pt x="123" y="870"/>
                  </a:cubicBezTo>
                  <a:cubicBezTo>
                    <a:pt x="105" y="884"/>
                    <a:pt x="105" y="884"/>
                    <a:pt x="105" y="884"/>
                  </a:cubicBezTo>
                  <a:cubicBezTo>
                    <a:pt x="87" y="883"/>
                    <a:pt x="87" y="883"/>
                    <a:pt x="87" y="883"/>
                  </a:cubicBezTo>
                  <a:cubicBezTo>
                    <a:pt x="80" y="878"/>
                    <a:pt x="80" y="878"/>
                    <a:pt x="80" y="878"/>
                  </a:cubicBezTo>
                  <a:cubicBezTo>
                    <a:pt x="76" y="883"/>
                    <a:pt x="76" y="883"/>
                    <a:pt x="76" y="883"/>
                  </a:cubicBezTo>
                  <a:cubicBezTo>
                    <a:pt x="71" y="884"/>
                    <a:pt x="71" y="884"/>
                    <a:pt x="71" y="884"/>
                  </a:cubicBezTo>
                  <a:cubicBezTo>
                    <a:pt x="64" y="881"/>
                    <a:pt x="64" y="881"/>
                    <a:pt x="64" y="881"/>
                  </a:cubicBezTo>
                  <a:cubicBezTo>
                    <a:pt x="52" y="875"/>
                    <a:pt x="52" y="875"/>
                    <a:pt x="52" y="875"/>
                  </a:cubicBezTo>
                  <a:cubicBezTo>
                    <a:pt x="44" y="874"/>
                    <a:pt x="44" y="874"/>
                    <a:pt x="44" y="874"/>
                  </a:cubicBezTo>
                  <a:cubicBezTo>
                    <a:pt x="43" y="869"/>
                    <a:pt x="43" y="869"/>
                    <a:pt x="43" y="869"/>
                  </a:cubicBezTo>
                  <a:cubicBezTo>
                    <a:pt x="48" y="863"/>
                    <a:pt x="48" y="863"/>
                    <a:pt x="48" y="863"/>
                  </a:cubicBezTo>
                  <a:cubicBezTo>
                    <a:pt x="38" y="858"/>
                    <a:pt x="38" y="858"/>
                    <a:pt x="38" y="858"/>
                  </a:cubicBezTo>
                  <a:cubicBezTo>
                    <a:pt x="26" y="874"/>
                    <a:pt x="26" y="874"/>
                    <a:pt x="26" y="874"/>
                  </a:cubicBezTo>
                  <a:cubicBezTo>
                    <a:pt x="26" y="880"/>
                    <a:pt x="26" y="880"/>
                    <a:pt x="26" y="880"/>
                  </a:cubicBezTo>
                  <a:cubicBezTo>
                    <a:pt x="28" y="888"/>
                    <a:pt x="28" y="888"/>
                    <a:pt x="28" y="888"/>
                  </a:cubicBezTo>
                  <a:cubicBezTo>
                    <a:pt x="22" y="893"/>
                    <a:pt x="22" y="893"/>
                    <a:pt x="22" y="893"/>
                  </a:cubicBezTo>
                  <a:cubicBezTo>
                    <a:pt x="22" y="896"/>
                    <a:pt x="22" y="896"/>
                    <a:pt x="22" y="896"/>
                  </a:cubicBezTo>
                  <a:cubicBezTo>
                    <a:pt x="31" y="901"/>
                    <a:pt x="31" y="901"/>
                    <a:pt x="31" y="901"/>
                  </a:cubicBezTo>
                  <a:cubicBezTo>
                    <a:pt x="35" y="908"/>
                    <a:pt x="35" y="908"/>
                    <a:pt x="35" y="908"/>
                  </a:cubicBezTo>
                  <a:cubicBezTo>
                    <a:pt x="42" y="916"/>
                    <a:pt x="42" y="916"/>
                    <a:pt x="42" y="916"/>
                  </a:cubicBezTo>
                  <a:cubicBezTo>
                    <a:pt x="38" y="920"/>
                    <a:pt x="38" y="920"/>
                    <a:pt x="38" y="920"/>
                  </a:cubicBezTo>
                  <a:cubicBezTo>
                    <a:pt x="33" y="922"/>
                    <a:pt x="33" y="922"/>
                    <a:pt x="33" y="922"/>
                  </a:cubicBezTo>
                  <a:cubicBezTo>
                    <a:pt x="27" y="923"/>
                    <a:pt x="27" y="923"/>
                    <a:pt x="27" y="923"/>
                  </a:cubicBezTo>
                  <a:cubicBezTo>
                    <a:pt x="17" y="931"/>
                    <a:pt x="17" y="931"/>
                    <a:pt x="17" y="931"/>
                  </a:cubicBezTo>
                  <a:cubicBezTo>
                    <a:pt x="18" y="943"/>
                    <a:pt x="18" y="943"/>
                    <a:pt x="18" y="943"/>
                  </a:cubicBezTo>
                  <a:cubicBezTo>
                    <a:pt x="15" y="947"/>
                    <a:pt x="15" y="947"/>
                    <a:pt x="15" y="947"/>
                  </a:cubicBezTo>
                  <a:cubicBezTo>
                    <a:pt x="7" y="951"/>
                    <a:pt x="7" y="951"/>
                    <a:pt x="7" y="951"/>
                  </a:cubicBezTo>
                  <a:cubicBezTo>
                    <a:pt x="6" y="958"/>
                    <a:pt x="6" y="958"/>
                    <a:pt x="6" y="958"/>
                  </a:cubicBezTo>
                  <a:cubicBezTo>
                    <a:pt x="1" y="962"/>
                    <a:pt x="1" y="962"/>
                    <a:pt x="1" y="962"/>
                  </a:cubicBezTo>
                  <a:cubicBezTo>
                    <a:pt x="1" y="968"/>
                    <a:pt x="1" y="968"/>
                    <a:pt x="1" y="968"/>
                  </a:cubicBezTo>
                  <a:cubicBezTo>
                    <a:pt x="3" y="969"/>
                    <a:pt x="6" y="971"/>
                    <a:pt x="6" y="972"/>
                  </a:cubicBezTo>
                  <a:cubicBezTo>
                    <a:pt x="8" y="976"/>
                    <a:pt x="10" y="980"/>
                    <a:pt x="8" y="982"/>
                  </a:cubicBezTo>
                  <a:cubicBezTo>
                    <a:pt x="7" y="985"/>
                    <a:pt x="9" y="987"/>
                    <a:pt x="9" y="992"/>
                  </a:cubicBezTo>
                  <a:cubicBezTo>
                    <a:pt x="8" y="996"/>
                    <a:pt x="7" y="999"/>
                    <a:pt x="5" y="1002"/>
                  </a:cubicBezTo>
                  <a:cubicBezTo>
                    <a:pt x="3" y="1005"/>
                    <a:pt x="0" y="1005"/>
                    <a:pt x="2" y="1008"/>
                  </a:cubicBezTo>
                  <a:cubicBezTo>
                    <a:pt x="4" y="1011"/>
                    <a:pt x="10" y="1012"/>
                    <a:pt x="11" y="1014"/>
                  </a:cubicBezTo>
                  <a:cubicBezTo>
                    <a:pt x="11" y="1016"/>
                    <a:pt x="20" y="1017"/>
                    <a:pt x="23" y="1013"/>
                  </a:cubicBezTo>
                  <a:cubicBezTo>
                    <a:pt x="25" y="1010"/>
                    <a:pt x="28" y="1014"/>
                    <a:pt x="28" y="1017"/>
                  </a:cubicBezTo>
                  <a:cubicBezTo>
                    <a:pt x="28" y="1019"/>
                    <a:pt x="29" y="1029"/>
                    <a:pt x="32" y="1027"/>
                  </a:cubicBezTo>
                  <a:cubicBezTo>
                    <a:pt x="35" y="1024"/>
                    <a:pt x="39" y="1023"/>
                    <a:pt x="41" y="1026"/>
                  </a:cubicBezTo>
                  <a:cubicBezTo>
                    <a:pt x="44" y="1029"/>
                    <a:pt x="51" y="1032"/>
                    <a:pt x="51" y="1032"/>
                  </a:cubicBezTo>
                  <a:cubicBezTo>
                    <a:pt x="51" y="1032"/>
                    <a:pt x="46" y="1036"/>
                    <a:pt x="44" y="1039"/>
                  </a:cubicBezTo>
                  <a:cubicBezTo>
                    <a:pt x="42" y="1041"/>
                    <a:pt x="44" y="1043"/>
                    <a:pt x="45" y="1046"/>
                  </a:cubicBezTo>
                  <a:cubicBezTo>
                    <a:pt x="45" y="1049"/>
                    <a:pt x="52" y="1050"/>
                    <a:pt x="55" y="1047"/>
                  </a:cubicBezTo>
                  <a:cubicBezTo>
                    <a:pt x="58" y="1044"/>
                    <a:pt x="61" y="1047"/>
                    <a:pt x="62" y="1049"/>
                  </a:cubicBezTo>
                  <a:cubicBezTo>
                    <a:pt x="62" y="1051"/>
                    <a:pt x="67" y="1051"/>
                    <a:pt x="71" y="1048"/>
                  </a:cubicBezTo>
                  <a:cubicBezTo>
                    <a:pt x="74" y="1045"/>
                    <a:pt x="82" y="1045"/>
                    <a:pt x="82" y="1045"/>
                  </a:cubicBezTo>
                  <a:cubicBezTo>
                    <a:pt x="83" y="1045"/>
                    <a:pt x="88" y="1042"/>
                    <a:pt x="90" y="1039"/>
                  </a:cubicBezTo>
                  <a:cubicBezTo>
                    <a:pt x="93" y="1036"/>
                    <a:pt x="97" y="1035"/>
                    <a:pt x="100" y="1035"/>
                  </a:cubicBezTo>
                  <a:cubicBezTo>
                    <a:pt x="104" y="1036"/>
                    <a:pt x="108" y="1034"/>
                    <a:pt x="111" y="1033"/>
                  </a:cubicBezTo>
                  <a:cubicBezTo>
                    <a:pt x="113" y="1032"/>
                    <a:pt x="119" y="1031"/>
                    <a:pt x="121" y="1031"/>
                  </a:cubicBezTo>
                  <a:cubicBezTo>
                    <a:pt x="124" y="1031"/>
                    <a:pt x="126" y="1035"/>
                    <a:pt x="123" y="1037"/>
                  </a:cubicBezTo>
                  <a:cubicBezTo>
                    <a:pt x="120" y="1039"/>
                    <a:pt x="117" y="1038"/>
                    <a:pt x="117" y="1042"/>
                  </a:cubicBezTo>
                  <a:cubicBezTo>
                    <a:pt x="117" y="1047"/>
                    <a:pt x="126" y="1060"/>
                    <a:pt x="132" y="1065"/>
                  </a:cubicBezTo>
                  <a:cubicBezTo>
                    <a:pt x="138" y="1070"/>
                    <a:pt x="146" y="1090"/>
                    <a:pt x="150" y="1103"/>
                  </a:cubicBezTo>
                  <a:cubicBezTo>
                    <a:pt x="153" y="1117"/>
                    <a:pt x="175" y="1175"/>
                    <a:pt x="175" y="1175"/>
                  </a:cubicBezTo>
                  <a:cubicBezTo>
                    <a:pt x="187" y="1171"/>
                    <a:pt x="187" y="1171"/>
                    <a:pt x="187" y="1171"/>
                  </a:cubicBezTo>
                  <a:cubicBezTo>
                    <a:pt x="187" y="1171"/>
                    <a:pt x="186" y="1162"/>
                    <a:pt x="191" y="1161"/>
                  </a:cubicBezTo>
                  <a:cubicBezTo>
                    <a:pt x="196" y="1160"/>
                    <a:pt x="203" y="1160"/>
                    <a:pt x="202" y="1164"/>
                  </a:cubicBezTo>
                  <a:cubicBezTo>
                    <a:pt x="201" y="1168"/>
                    <a:pt x="201" y="1171"/>
                    <a:pt x="203" y="1175"/>
                  </a:cubicBezTo>
                  <a:cubicBezTo>
                    <a:pt x="205" y="1179"/>
                    <a:pt x="209" y="1178"/>
                    <a:pt x="214" y="1182"/>
                  </a:cubicBezTo>
                  <a:cubicBezTo>
                    <a:pt x="219" y="1186"/>
                    <a:pt x="225" y="1183"/>
                    <a:pt x="230" y="1185"/>
                  </a:cubicBezTo>
                  <a:cubicBezTo>
                    <a:pt x="234" y="1187"/>
                    <a:pt x="243" y="1182"/>
                    <a:pt x="245" y="1178"/>
                  </a:cubicBezTo>
                  <a:cubicBezTo>
                    <a:pt x="248" y="1175"/>
                    <a:pt x="257" y="1178"/>
                    <a:pt x="266" y="1186"/>
                  </a:cubicBezTo>
                  <a:cubicBezTo>
                    <a:pt x="276" y="1194"/>
                    <a:pt x="271" y="1203"/>
                    <a:pt x="271" y="1206"/>
                  </a:cubicBezTo>
                  <a:cubicBezTo>
                    <a:pt x="272" y="1208"/>
                    <a:pt x="278" y="1209"/>
                    <a:pt x="282" y="1211"/>
                  </a:cubicBezTo>
                  <a:cubicBezTo>
                    <a:pt x="285" y="1214"/>
                    <a:pt x="291" y="1217"/>
                    <a:pt x="292" y="1222"/>
                  </a:cubicBezTo>
                  <a:cubicBezTo>
                    <a:pt x="292" y="1227"/>
                    <a:pt x="295" y="1232"/>
                    <a:pt x="295" y="1232"/>
                  </a:cubicBezTo>
                  <a:cubicBezTo>
                    <a:pt x="295" y="1232"/>
                    <a:pt x="307" y="1232"/>
                    <a:pt x="308" y="1235"/>
                  </a:cubicBezTo>
                  <a:cubicBezTo>
                    <a:pt x="310" y="1237"/>
                    <a:pt x="317" y="1239"/>
                    <a:pt x="320" y="1235"/>
                  </a:cubicBezTo>
                  <a:cubicBezTo>
                    <a:pt x="323" y="1232"/>
                    <a:pt x="329" y="1226"/>
                    <a:pt x="330" y="1228"/>
                  </a:cubicBezTo>
                  <a:cubicBezTo>
                    <a:pt x="331" y="1229"/>
                    <a:pt x="329" y="1232"/>
                    <a:pt x="330" y="1235"/>
                  </a:cubicBezTo>
                  <a:cubicBezTo>
                    <a:pt x="330" y="1237"/>
                    <a:pt x="334" y="1241"/>
                    <a:pt x="337" y="1244"/>
                  </a:cubicBezTo>
                  <a:cubicBezTo>
                    <a:pt x="340" y="1248"/>
                    <a:pt x="345" y="1253"/>
                    <a:pt x="350" y="1253"/>
                  </a:cubicBezTo>
                  <a:cubicBezTo>
                    <a:pt x="354" y="1253"/>
                    <a:pt x="362" y="1252"/>
                    <a:pt x="363" y="1249"/>
                  </a:cubicBezTo>
                  <a:cubicBezTo>
                    <a:pt x="365" y="1245"/>
                    <a:pt x="368" y="1240"/>
                    <a:pt x="372" y="1240"/>
                  </a:cubicBezTo>
                  <a:cubicBezTo>
                    <a:pt x="377" y="1240"/>
                    <a:pt x="382" y="1240"/>
                    <a:pt x="387" y="1240"/>
                  </a:cubicBezTo>
                  <a:cubicBezTo>
                    <a:pt x="392" y="1240"/>
                    <a:pt x="404" y="1234"/>
                    <a:pt x="404" y="1232"/>
                  </a:cubicBezTo>
                  <a:cubicBezTo>
                    <a:pt x="403" y="1229"/>
                    <a:pt x="403" y="1223"/>
                    <a:pt x="408" y="1222"/>
                  </a:cubicBezTo>
                  <a:cubicBezTo>
                    <a:pt x="413" y="1222"/>
                    <a:pt x="415" y="1218"/>
                    <a:pt x="418" y="1216"/>
                  </a:cubicBezTo>
                  <a:cubicBezTo>
                    <a:pt x="422" y="1214"/>
                    <a:pt x="428" y="1211"/>
                    <a:pt x="431" y="1209"/>
                  </a:cubicBezTo>
                  <a:cubicBezTo>
                    <a:pt x="435" y="1208"/>
                    <a:pt x="435" y="1204"/>
                    <a:pt x="439" y="1204"/>
                  </a:cubicBezTo>
                  <a:cubicBezTo>
                    <a:pt x="443" y="1203"/>
                    <a:pt x="445" y="1201"/>
                    <a:pt x="447" y="1199"/>
                  </a:cubicBezTo>
                  <a:cubicBezTo>
                    <a:pt x="449" y="1196"/>
                    <a:pt x="455" y="1194"/>
                    <a:pt x="458" y="1194"/>
                  </a:cubicBezTo>
                  <a:cubicBezTo>
                    <a:pt x="461" y="1194"/>
                    <a:pt x="461" y="1191"/>
                    <a:pt x="466" y="1191"/>
                  </a:cubicBezTo>
                  <a:cubicBezTo>
                    <a:pt x="470" y="1190"/>
                    <a:pt x="472" y="1188"/>
                    <a:pt x="475" y="1192"/>
                  </a:cubicBezTo>
                  <a:cubicBezTo>
                    <a:pt x="478" y="1195"/>
                    <a:pt x="488" y="1197"/>
                    <a:pt x="490" y="1197"/>
                  </a:cubicBezTo>
                  <a:cubicBezTo>
                    <a:pt x="492" y="1197"/>
                    <a:pt x="498" y="1194"/>
                    <a:pt x="500" y="1196"/>
                  </a:cubicBezTo>
                  <a:cubicBezTo>
                    <a:pt x="502" y="1197"/>
                    <a:pt x="514" y="1195"/>
                    <a:pt x="514" y="1197"/>
                  </a:cubicBezTo>
                  <a:cubicBezTo>
                    <a:pt x="515" y="1199"/>
                    <a:pt x="515" y="1204"/>
                    <a:pt x="517" y="1208"/>
                  </a:cubicBezTo>
                  <a:cubicBezTo>
                    <a:pt x="518" y="1212"/>
                    <a:pt x="528" y="1217"/>
                    <a:pt x="533" y="1217"/>
                  </a:cubicBezTo>
                  <a:cubicBezTo>
                    <a:pt x="539" y="1218"/>
                    <a:pt x="544" y="1221"/>
                    <a:pt x="548" y="1218"/>
                  </a:cubicBezTo>
                  <a:cubicBezTo>
                    <a:pt x="551" y="1215"/>
                    <a:pt x="557" y="1212"/>
                    <a:pt x="559" y="1215"/>
                  </a:cubicBezTo>
                  <a:cubicBezTo>
                    <a:pt x="562" y="1217"/>
                    <a:pt x="568" y="1217"/>
                    <a:pt x="571" y="1217"/>
                  </a:cubicBezTo>
                  <a:cubicBezTo>
                    <a:pt x="573" y="1217"/>
                    <a:pt x="579" y="1215"/>
                    <a:pt x="581" y="1218"/>
                  </a:cubicBezTo>
                  <a:cubicBezTo>
                    <a:pt x="584" y="1222"/>
                    <a:pt x="590" y="1222"/>
                    <a:pt x="595" y="1216"/>
                  </a:cubicBezTo>
                  <a:cubicBezTo>
                    <a:pt x="601" y="1210"/>
                    <a:pt x="600" y="1209"/>
                    <a:pt x="605" y="1206"/>
                  </a:cubicBezTo>
                  <a:cubicBezTo>
                    <a:pt x="610" y="1203"/>
                    <a:pt x="609" y="1195"/>
                    <a:pt x="603" y="1188"/>
                  </a:cubicBezTo>
                  <a:cubicBezTo>
                    <a:pt x="597" y="1181"/>
                    <a:pt x="594" y="1178"/>
                    <a:pt x="594" y="1172"/>
                  </a:cubicBezTo>
                  <a:cubicBezTo>
                    <a:pt x="594" y="1166"/>
                    <a:pt x="597" y="1156"/>
                    <a:pt x="601" y="1154"/>
                  </a:cubicBezTo>
                  <a:cubicBezTo>
                    <a:pt x="605" y="1153"/>
                    <a:pt x="602" y="1148"/>
                    <a:pt x="607" y="1144"/>
                  </a:cubicBezTo>
                  <a:cubicBezTo>
                    <a:pt x="611" y="1141"/>
                    <a:pt x="614" y="1140"/>
                    <a:pt x="614" y="1137"/>
                  </a:cubicBezTo>
                  <a:cubicBezTo>
                    <a:pt x="614" y="1134"/>
                    <a:pt x="616" y="1127"/>
                    <a:pt x="621" y="1131"/>
                  </a:cubicBezTo>
                  <a:cubicBezTo>
                    <a:pt x="626" y="1136"/>
                    <a:pt x="628" y="1135"/>
                    <a:pt x="635" y="1137"/>
                  </a:cubicBezTo>
                  <a:cubicBezTo>
                    <a:pt x="641" y="1139"/>
                    <a:pt x="644" y="1138"/>
                    <a:pt x="652" y="1137"/>
                  </a:cubicBezTo>
                  <a:cubicBezTo>
                    <a:pt x="659" y="1136"/>
                    <a:pt x="666" y="1140"/>
                    <a:pt x="667" y="1142"/>
                  </a:cubicBezTo>
                  <a:cubicBezTo>
                    <a:pt x="668" y="1143"/>
                    <a:pt x="673" y="1145"/>
                    <a:pt x="681" y="1145"/>
                  </a:cubicBezTo>
                  <a:cubicBezTo>
                    <a:pt x="688" y="1145"/>
                    <a:pt x="692" y="1141"/>
                    <a:pt x="694" y="1149"/>
                  </a:cubicBezTo>
                  <a:cubicBezTo>
                    <a:pt x="696" y="1155"/>
                    <a:pt x="699" y="1163"/>
                    <a:pt x="700" y="1168"/>
                  </a:cubicBezTo>
                  <a:cubicBezTo>
                    <a:pt x="701" y="1173"/>
                    <a:pt x="701" y="1173"/>
                    <a:pt x="709" y="1177"/>
                  </a:cubicBezTo>
                  <a:cubicBezTo>
                    <a:pt x="716" y="1182"/>
                    <a:pt x="735" y="1185"/>
                    <a:pt x="737" y="1186"/>
                  </a:cubicBezTo>
                  <a:cubicBezTo>
                    <a:pt x="740" y="1186"/>
                    <a:pt x="746" y="1181"/>
                    <a:pt x="750" y="1180"/>
                  </a:cubicBezTo>
                  <a:cubicBezTo>
                    <a:pt x="753" y="1179"/>
                    <a:pt x="756" y="1171"/>
                    <a:pt x="762" y="1170"/>
                  </a:cubicBezTo>
                  <a:cubicBezTo>
                    <a:pt x="769" y="1168"/>
                    <a:pt x="785" y="1160"/>
                    <a:pt x="793" y="1164"/>
                  </a:cubicBezTo>
                  <a:cubicBezTo>
                    <a:pt x="801" y="1169"/>
                    <a:pt x="803" y="1160"/>
                    <a:pt x="806" y="1161"/>
                  </a:cubicBezTo>
                  <a:cubicBezTo>
                    <a:pt x="809" y="1161"/>
                    <a:pt x="816" y="1163"/>
                    <a:pt x="816" y="1168"/>
                  </a:cubicBezTo>
                  <a:cubicBezTo>
                    <a:pt x="817" y="1174"/>
                    <a:pt x="828" y="1173"/>
                    <a:pt x="831" y="1171"/>
                  </a:cubicBezTo>
                  <a:cubicBezTo>
                    <a:pt x="835" y="1169"/>
                    <a:pt x="840" y="1165"/>
                    <a:pt x="840" y="1172"/>
                  </a:cubicBezTo>
                  <a:cubicBezTo>
                    <a:pt x="840" y="1178"/>
                    <a:pt x="847" y="1179"/>
                    <a:pt x="851" y="1183"/>
                  </a:cubicBezTo>
                  <a:cubicBezTo>
                    <a:pt x="855" y="1187"/>
                    <a:pt x="863" y="1187"/>
                    <a:pt x="868" y="1184"/>
                  </a:cubicBezTo>
                  <a:cubicBezTo>
                    <a:pt x="872" y="1181"/>
                    <a:pt x="877" y="1179"/>
                    <a:pt x="881" y="1182"/>
                  </a:cubicBezTo>
                  <a:cubicBezTo>
                    <a:pt x="885" y="1186"/>
                    <a:pt x="890" y="1183"/>
                    <a:pt x="895" y="1182"/>
                  </a:cubicBezTo>
                  <a:cubicBezTo>
                    <a:pt x="900" y="1181"/>
                    <a:pt x="904" y="1176"/>
                    <a:pt x="908" y="1178"/>
                  </a:cubicBezTo>
                  <a:cubicBezTo>
                    <a:pt x="912" y="1180"/>
                    <a:pt x="917" y="1174"/>
                    <a:pt x="920" y="1170"/>
                  </a:cubicBezTo>
                  <a:cubicBezTo>
                    <a:pt x="922" y="1166"/>
                    <a:pt x="943" y="1152"/>
                    <a:pt x="951" y="1151"/>
                  </a:cubicBezTo>
                  <a:cubicBezTo>
                    <a:pt x="959" y="1151"/>
                    <a:pt x="961" y="1147"/>
                    <a:pt x="962" y="1140"/>
                  </a:cubicBezTo>
                  <a:cubicBezTo>
                    <a:pt x="963" y="1132"/>
                    <a:pt x="967" y="1131"/>
                    <a:pt x="971" y="1124"/>
                  </a:cubicBezTo>
                  <a:cubicBezTo>
                    <a:pt x="975" y="1118"/>
                    <a:pt x="980" y="1110"/>
                    <a:pt x="985" y="1110"/>
                  </a:cubicBezTo>
                  <a:cubicBezTo>
                    <a:pt x="990" y="1110"/>
                    <a:pt x="1000" y="1108"/>
                    <a:pt x="1005" y="1112"/>
                  </a:cubicBezTo>
                  <a:cubicBezTo>
                    <a:pt x="1009" y="1116"/>
                    <a:pt x="1020" y="1110"/>
                    <a:pt x="1023" y="1106"/>
                  </a:cubicBezTo>
                  <a:cubicBezTo>
                    <a:pt x="1027" y="1103"/>
                    <a:pt x="1034" y="1101"/>
                    <a:pt x="1036" y="1103"/>
                  </a:cubicBezTo>
                  <a:cubicBezTo>
                    <a:pt x="1039" y="1106"/>
                    <a:pt x="1042" y="1106"/>
                    <a:pt x="1047" y="1106"/>
                  </a:cubicBezTo>
                  <a:cubicBezTo>
                    <a:pt x="1052" y="1107"/>
                    <a:pt x="1059" y="1107"/>
                    <a:pt x="1064" y="1107"/>
                  </a:cubicBezTo>
                  <a:cubicBezTo>
                    <a:pt x="1070" y="1106"/>
                    <a:pt x="1077" y="1101"/>
                    <a:pt x="1078" y="1096"/>
                  </a:cubicBezTo>
                  <a:cubicBezTo>
                    <a:pt x="1079" y="1091"/>
                    <a:pt x="1085" y="1082"/>
                    <a:pt x="1090" y="1079"/>
                  </a:cubicBezTo>
                  <a:cubicBezTo>
                    <a:pt x="1095" y="1076"/>
                    <a:pt x="1098" y="1072"/>
                    <a:pt x="1094" y="1067"/>
                  </a:cubicBezTo>
                  <a:cubicBezTo>
                    <a:pt x="1091" y="1063"/>
                    <a:pt x="1087" y="1059"/>
                    <a:pt x="1088" y="1055"/>
                  </a:cubicBezTo>
                  <a:cubicBezTo>
                    <a:pt x="1089" y="1052"/>
                    <a:pt x="1089" y="1048"/>
                    <a:pt x="1089" y="1043"/>
                  </a:cubicBezTo>
                  <a:cubicBezTo>
                    <a:pt x="1088" y="1039"/>
                    <a:pt x="1090" y="1033"/>
                    <a:pt x="1089" y="1025"/>
                  </a:cubicBezTo>
                  <a:cubicBezTo>
                    <a:pt x="1089" y="1018"/>
                    <a:pt x="1087" y="1013"/>
                    <a:pt x="1090" y="1009"/>
                  </a:cubicBezTo>
                  <a:cubicBezTo>
                    <a:pt x="1094" y="1005"/>
                    <a:pt x="1095" y="991"/>
                    <a:pt x="1092" y="987"/>
                  </a:cubicBezTo>
                  <a:cubicBezTo>
                    <a:pt x="1088" y="982"/>
                    <a:pt x="1091" y="978"/>
                    <a:pt x="1087" y="976"/>
                  </a:cubicBezTo>
                  <a:cubicBezTo>
                    <a:pt x="1083" y="974"/>
                    <a:pt x="1079" y="979"/>
                    <a:pt x="1076" y="981"/>
                  </a:cubicBezTo>
                  <a:cubicBezTo>
                    <a:pt x="1073" y="984"/>
                    <a:pt x="1068" y="984"/>
                    <a:pt x="1070" y="976"/>
                  </a:cubicBezTo>
                  <a:cubicBezTo>
                    <a:pt x="1072" y="968"/>
                    <a:pt x="1075" y="958"/>
                    <a:pt x="1075" y="954"/>
                  </a:cubicBezTo>
                  <a:cubicBezTo>
                    <a:pt x="1075" y="950"/>
                    <a:pt x="1091" y="943"/>
                    <a:pt x="1095" y="937"/>
                  </a:cubicBezTo>
                  <a:cubicBezTo>
                    <a:pt x="1096" y="936"/>
                    <a:pt x="1098" y="934"/>
                    <a:pt x="1100" y="933"/>
                  </a:cubicBezTo>
                  <a:cubicBezTo>
                    <a:pt x="1093" y="922"/>
                    <a:pt x="1093" y="922"/>
                    <a:pt x="1093" y="922"/>
                  </a:cubicBezTo>
                  <a:cubicBezTo>
                    <a:pt x="1084" y="920"/>
                    <a:pt x="1084" y="920"/>
                    <a:pt x="1084" y="920"/>
                  </a:cubicBezTo>
                  <a:cubicBezTo>
                    <a:pt x="1077" y="908"/>
                    <a:pt x="1077" y="908"/>
                    <a:pt x="1077" y="908"/>
                  </a:cubicBezTo>
                  <a:cubicBezTo>
                    <a:pt x="1084" y="904"/>
                    <a:pt x="1084" y="904"/>
                    <a:pt x="1084" y="904"/>
                  </a:cubicBezTo>
                  <a:cubicBezTo>
                    <a:pt x="1078" y="895"/>
                    <a:pt x="1078" y="895"/>
                    <a:pt x="1078" y="895"/>
                  </a:cubicBezTo>
                  <a:cubicBezTo>
                    <a:pt x="1072" y="895"/>
                    <a:pt x="1072" y="895"/>
                    <a:pt x="1072" y="895"/>
                  </a:cubicBezTo>
                  <a:cubicBezTo>
                    <a:pt x="1072" y="881"/>
                    <a:pt x="1072" y="881"/>
                    <a:pt x="1072" y="881"/>
                  </a:cubicBezTo>
                  <a:cubicBezTo>
                    <a:pt x="1065" y="870"/>
                    <a:pt x="1065" y="870"/>
                    <a:pt x="1065" y="870"/>
                  </a:cubicBezTo>
                  <a:cubicBezTo>
                    <a:pt x="1060" y="867"/>
                    <a:pt x="1060" y="867"/>
                    <a:pt x="1060" y="867"/>
                  </a:cubicBezTo>
                  <a:cubicBezTo>
                    <a:pt x="1055" y="871"/>
                    <a:pt x="1055" y="871"/>
                    <a:pt x="1055" y="871"/>
                  </a:cubicBezTo>
                  <a:cubicBezTo>
                    <a:pt x="1050" y="870"/>
                    <a:pt x="1050" y="870"/>
                    <a:pt x="1050" y="870"/>
                  </a:cubicBezTo>
                  <a:cubicBezTo>
                    <a:pt x="1048" y="862"/>
                    <a:pt x="1048" y="862"/>
                    <a:pt x="1048" y="862"/>
                  </a:cubicBezTo>
                  <a:cubicBezTo>
                    <a:pt x="1041" y="858"/>
                    <a:pt x="1041" y="858"/>
                    <a:pt x="1041" y="858"/>
                  </a:cubicBezTo>
                  <a:cubicBezTo>
                    <a:pt x="1032" y="866"/>
                    <a:pt x="1032" y="866"/>
                    <a:pt x="1032" y="866"/>
                  </a:cubicBezTo>
                  <a:cubicBezTo>
                    <a:pt x="1030" y="870"/>
                    <a:pt x="1030" y="870"/>
                    <a:pt x="1030" y="870"/>
                  </a:cubicBezTo>
                  <a:cubicBezTo>
                    <a:pt x="1021" y="864"/>
                    <a:pt x="1021" y="864"/>
                    <a:pt x="1021" y="864"/>
                  </a:cubicBezTo>
                  <a:cubicBezTo>
                    <a:pt x="1027" y="856"/>
                    <a:pt x="1027" y="856"/>
                    <a:pt x="1027" y="856"/>
                  </a:cubicBezTo>
                  <a:cubicBezTo>
                    <a:pt x="1023" y="851"/>
                    <a:pt x="1023" y="851"/>
                    <a:pt x="1023" y="851"/>
                  </a:cubicBezTo>
                  <a:cubicBezTo>
                    <a:pt x="1016" y="853"/>
                    <a:pt x="1016" y="853"/>
                    <a:pt x="1016" y="853"/>
                  </a:cubicBezTo>
                  <a:cubicBezTo>
                    <a:pt x="1008" y="849"/>
                    <a:pt x="1008" y="849"/>
                    <a:pt x="1008" y="849"/>
                  </a:cubicBezTo>
                  <a:cubicBezTo>
                    <a:pt x="1003" y="844"/>
                    <a:pt x="1003" y="844"/>
                    <a:pt x="1003" y="844"/>
                  </a:cubicBezTo>
                  <a:cubicBezTo>
                    <a:pt x="1003" y="841"/>
                    <a:pt x="1003" y="841"/>
                    <a:pt x="1003" y="841"/>
                  </a:cubicBezTo>
                  <a:cubicBezTo>
                    <a:pt x="999" y="839"/>
                    <a:pt x="999" y="839"/>
                    <a:pt x="999" y="839"/>
                  </a:cubicBezTo>
                  <a:cubicBezTo>
                    <a:pt x="998" y="831"/>
                    <a:pt x="998" y="831"/>
                    <a:pt x="998" y="831"/>
                  </a:cubicBezTo>
                  <a:cubicBezTo>
                    <a:pt x="991" y="827"/>
                    <a:pt x="991" y="827"/>
                    <a:pt x="991" y="827"/>
                  </a:cubicBezTo>
                  <a:cubicBezTo>
                    <a:pt x="983" y="819"/>
                    <a:pt x="983" y="819"/>
                    <a:pt x="983" y="819"/>
                  </a:cubicBezTo>
                  <a:cubicBezTo>
                    <a:pt x="975" y="818"/>
                    <a:pt x="975" y="818"/>
                    <a:pt x="975" y="818"/>
                  </a:cubicBezTo>
                  <a:cubicBezTo>
                    <a:pt x="973" y="807"/>
                    <a:pt x="973" y="807"/>
                    <a:pt x="973" y="807"/>
                  </a:cubicBezTo>
                  <a:cubicBezTo>
                    <a:pt x="969" y="804"/>
                    <a:pt x="969" y="804"/>
                    <a:pt x="969" y="804"/>
                  </a:cubicBezTo>
                  <a:cubicBezTo>
                    <a:pt x="971" y="796"/>
                    <a:pt x="971" y="796"/>
                    <a:pt x="971" y="796"/>
                  </a:cubicBezTo>
                  <a:cubicBezTo>
                    <a:pt x="955" y="780"/>
                    <a:pt x="955" y="780"/>
                    <a:pt x="955" y="780"/>
                  </a:cubicBezTo>
                  <a:cubicBezTo>
                    <a:pt x="954" y="776"/>
                    <a:pt x="954" y="776"/>
                    <a:pt x="954" y="776"/>
                  </a:cubicBezTo>
                  <a:cubicBezTo>
                    <a:pt x="949" y="776"/>
                    <a:pt x="949" y="776"/>
                    <a:pt x="949" y="776"/>
                  </a:cubicBezTo>
                  <a:cubicBezTo>
                    <a:pt x="949" y="769"/>
                    <a:pt x="949" y="769"/>
                    <a:pt x="949" y="769"/>
                  </a:cubicBezTo>
                  <a:cubicBezTo>
                    <a:pt x="935" y="755"/>
                    <a:pt x="935" y="755"/>
                    <a:pt x="935" y="755"/>
                  </a:cubicBezTo>
                  <a:cubicBezTo>
                    <a:pt x="931" y="760"/>
                    <a:pt x="931" y="760"/>
                    <a:pt x="931" y="760"/>
                  </a:cubicBezTo>
                  <a:cubicBezTo>
                    <a:pt x="927" y="766"/>
                    <a:pt x="927" y="766"/>
                    <a:pt x="927" y="766"/>
                  </a:cubicBezTo>
                  <a:cubicBezTo>
                    <a:pt x="919" y="769"/>
                    <a:pt x="919" y="769"/>
                    <a:pt x="919" y="769"/>
                  </a:cubicBezTo>
                  <a:cubicBezTo>
                    <a:pt x="913" y="761"/>
                    <a:pt x="913" y="761"/>
                    <a:pt x="913" y="761"/>
                  </a:cubicBezTo>
                  <a:cubicBezTo>
                    <a:pt x="911" y="753"/>
                    <a:pt x="911" y="753"/>
                    <a:pt x="911" y="753"/>
                  </a:cubicBezTo>
                  <a:cubicBezTo>
                    <a:pt x="901" y="750"/>
                    <a:pt x="901" y="750"/>
                    <a:pt x="901" y="750"/>
                  </a:cubicBezTo>
                  <a:cubicBezTo>
                    <a:pt x="901" y="750"/>
                    <a:pt x="893" y="746"/>
                    <a:pt x="892" y="746"/>
                  </a:cubicBezTo>
                  <a:cubicBezTo>
                    <a:pt x="892" y="746"/>
                    <a:pt x="873" y="747"/>
                    <a:pt x="873" y="747"/>
                  </a:cubicBezTo>
                  <a:cubicBezTo>
                    <a:pt x="867" y="755"/>
                    <a:pt x="867" y="755"/>
                    <a:pt x="867" y="755"/>
                  </a:cubicBezTo>
                  <a:cubicBezTo>
                    <a:pt x="864" y="762"/>
                    <a:pt x="864" y="762"/>
                    <a:pt x="864" y="762"/>
                  </a:cubicBezTo>
                  <a:cubicBezTo>
                    <a:pt x="860" y="765"/>
                    <a:pt x="860" y="765"/>
                    <a:pt x="860" y="765"/>
                  </a:cubicBezTo>
                  <a:cubicBezTo>
                    <a:pt x="866" y="774"/>
                    <a:pt x="866" y="774"/>
                    <a:pt x="866" y="774"/>
                  </a:cubicBezTo>
                  <a:cubicBezTo>
                    <a:pt x="858" y="783"/>
                    <a:pt x="858" y="783"/>
                    <a:pt x="858" y="783"/>
                  </a:cubicBezTo>
                  <a:cubicBezTo>
                    <a:pt x="851" y="792"/>
                    <a:pt x="851" y="792"/>
                    <a:pt x="851" y="792"/>
                  </a:cubicBezTo>
                  <a:cubicBezTo>
                    <a:pt x="853" y="807"/>
                    <a:pt x="853" y="807"/>
                    <a:pt x="853" y="807"/>
                  </a:cubicBezTo>
                  <a:cubicBezTo>
                    <a:pt x="842" y="814"/>
                    <a:pt x="842" y="814"/>
                    <a:pt x="842" y="814"/>
                  </a:cubicBezTo>
                  <a:cubicBezTo>
                    <a:pt x="841" y="824"/>
                    <a:pt x="841" y="824"/>
                    <a:pt x="841" y="824"/>
                  </a:cubicBezTo>
                  <a:cubicBezTo>
                    <a:pt x="836" y="819"/>
                    <a:pt x="836" y="819"/>
                    <a:pt x="836" y="819"/>
                  </a:cubicBezTo>
                  <a:cubicBezTo>
                    <a:pt x="835" y="811"/>
                    <a:pt x="835" y="811"/>
                    <a:pt x="835" y="811"/>
                  </a:cubicBezTo>
                  <a:cubicBezTo>
                    <a:pt x="831" y="806"/>
                    <a:pt x="831" y="806"/>
                    <a:pt x="831" y="806"/>
                  </a:cubicBezTo>
                  <a:cubicBezTo>
                    <a:pt x="825" y="812"/>
                    <a:pt x="825" y="812"/>
                    <a:pt x="825" y="812"/>
                  </a:cubicBezTo>
                  <a:cubicBezTo>
                    <a:pt x="819" y="816"/>
                    <a:pt x="819" y="816"/>
                    <a:pt x="819" y="816"/>
                  </a:cubicBezTo>
                  <a:cubicBezTo>
                    <a:pt x="806" y="819"/>
                    <a:pt x="806" y="819"/>
                    <a:pt x="806" y="819"/>
                  </a:cubicBezTo>
                  <a:cubicBezTo>
                    <a:pt x="797" y="833"/>
                    <a:pt x="797" y="833"/>
                    <a:pt x="797" y="833"/>
                  </a:cubicBezTo>
                  <a:cubicBezTo>
                    <a:pt x="787" y="834"/>
                    <a:pt x="787" y="834"/>
                    <a:pt x="787" y="834"/>
                  </a:cubicBezTo>
                  <a:cubicBezTo>
                    <a:pt x="775" y="825"/>
                    <a:pt x="775" y="825"/>
                    <a:pt x="775" y="825"/>
                  </a:cubicBezTo>
                  <a:cubicBezTo>
                    <a:pt x="776" y="789"/>
                    <a:pt x="776" y="789"/>
                    <a:pt x="776" y="789"/>
                  </a:cubicBezTo>
                  <a:cubicBezTo>
                    <a:pt x="776" y="773"/>
                    <a:pt x="776" y="773"/>
                    <a:pt x="776" y="773"/>
                  </a:cubicBezTo>
                  <a:cubicBezTo>
                    <a:pt x="778" y="758"/>
                    <a:pt x="778" y="758"/>
                    <a:pt x="778" y="758"/>
                  </a:cubicBezTo>
                  <a:cubicBezTo>
                    <a:pt x="765" y="750"/>
                    <a:pt x="765" y="750"/>
                    <a:pt x="765" y="750"/>
                  </a:cubicBezTo>
                  <a:cubicBezTo>
                    <a:pt x="764" y="744"/>
                    <a:pt x="764" y="744"/>
                    <a:pt x="764" y="744"/>
                  </a:cubicBezTo>
                  <a:cubicBezTo>
                    <a:pt x="760" y="737"/>
                    <a:pt x="760" y="737"/>
                    <a:pt x="760" y="737"/>
                  </a:cubicBezTo>
                  <a:cubicBezTo>
                    <a:pt x="757" y="734"/>
                    <a:pt x="757" y="734"/>
                    <a:pt x="757" y="734"/>
                  </a:cubicBezTo>
                  <a:cubicBezTo>
                    <a:pt x="756" y="728"/>
                    <a:pt x="756" y="728"/>
                    <a:pt x="756" y="728"/>
                  </a:cubicBezTo>
                  <a:cubicBezTo>
                    <a:pt x="760" y="725"/>
                    <a:pt x="760" y="725"/>
                    <a:pt x="760" y="725"/>
                  </a:cubicBezTo>
                  <a:cubicBezTo>
                    <a:pt x="760" y="717"/>
                    <a:pt x="760" y="717"/>
                    <a:pt x="760" y="717"/>
                  </a:cubicBezTo>
                  <a:cubicBezTo>
                    <a:pt x="754" y="713"/>
                    <a:pt x="754" y="713"/>
                    <a:pt x="754" y="713"/>
                  </a:cubicBezTo>
                  <a:cubicBezTo>
                    <a:pt x="742" y="710"/>
                    <a:pt x="742" y="710"/>
                    <a:pt x="742" y="710"/>
                  </a:cubicBezTo>
                  <a:cubicBezTo>
                    <a:pt x="745" y="700"/>
                    <a:pt x="745" y="700"/>
                    <a:pt x="745" y="700"/>
                  </a:cubicBezTo>
                  <a:cubicBezTo>
                    <a:pt x="740" y="692"/>
                    <a:pt x="740" y="692"/>
                    <a:pt x="740" y="692"/>
                  </a:cubicBezTo>
                  <a:cubicBezTo>
                    <a:pt x="736" y="682"/>
                    <a:pt x="736" y="682"/>
                    <a:pt x="736" y="682"/>
                  </a:cubicBezTo>
                  <a:cubicBezTo>
                    <a:pt x="730" y="674"/>
                    <a:pt x="730" y="674"/>
                    <a:pt x="730" y="674"/>
                  </a:cubicBezTo>
                  <a:cubicBezTo>
                    <a:pt x="717" y="677"/>
                    <a:pt x="717" y="677"/>
                    <a:pt x="717" y="677"/>
                  </a:cubicBezTo>
                  <a:cubicBezTo>
                    <a:pt x="713" y="670"/>
                    <a:pt x="713" y="670"/>
                    <a:pt x="713" y="670"/>
                  </a:cubicBezTo>
                  <a:cubicBezTo>
                    <a:pt x="721" y="664"/>
                    <a:pt x="721" y="664"/>
                    <a:pt x="721" y="664"/>
                  </a:cubicBezTo>
                  <a:cubicBezTo>
                    <a:pt x="716" y="657"/>
                    <a:pt x="716" y="657"/>
                    <a:pt x="716" y="657"/>
                  </a:cubicBezTo>
                  <a:cubicBezTo>
                    <a:pt x="714" y="650"/>
                    <a:pt x="714" y="650"/>
                    <a:pt x="714" y="650"/>
                  </a:cubicBezTo>
                  <a:cubicBezTo>
                    <a:pt x="709" y="650"/>
                    <a:pt x="709" y="650"/>
                    <a:pt x="709" y="650"/>
                  </a:cubicBezTo>
                  <a:cubicBezTo>
                    <a:pt x="703" y="654"/>
                    <a:pt x="703" y="654"/>
                    <a:pt x="703" y="654"/>
                  </a:cubicBezTo>
                  <a:cubicBezTo>
                    <a:pt x="697" y="651"/>
                    <a:pt x="697" y="651"/>
                    <a:pt x="697" y="651"/>
                  </a:cubicBezTo>
                  <a:cubicBezTo>
                    <a:pt x="690" y="655"/>
                    <a:pt x="690" y="655"/>
                    <a:pt x="690" y="655"/>
                  </a:cubicBezTo>
                  <a:cubicBezTo>
                    <a:pt x="685" y="650"/>
                    <a:pt x="685" y="650"/>
                    <a:pt x="685" y="650"/>
                  </a:cubicBezTo>
                  <a:cubicBezTo>
                    <a:pt x="676" y="654"/>
                    <a:pt x="676" y="654"/>
                    <a:pt x="676" y="654"/>
                  </a:cubicBezTo>
                  <a:cubicBezTo>
                    <a:pt x="666" y="654"/>
                    <a:pt x="666" y="654"/>
                    <a:pt x="666" y="654"/>
                  </a:cubicBezTo>
                  <a:cubicBezTo>
                    <a:pt x="666" y="642"/>
                    <a:pt x="666" y="642"/>
                    <a:pt x="666" y="642"/>
                  </a:cubicBezTo>
                  <a:cubicBezTo>
                    <a:pt x="668" y="639"/>
                    <a:pt x="668" y="639"/>
                    <a:pt x="668" y="639"/>
                  </a:cubicBezTo>
                  <a:cubicBezTo>
                    <a:pt x="668" y="630"/>
                    <a:pt x="668" y="630"/>
                    <a:pt x="668" y="630"/>
                  </a:cubicBezTo>
                  <a:cubicBezTo>
                    <a:pt x="674" y="613"/>
                    <a:pt x="674" y="613"/>
                    <a:pt x="674" y="613"/>
                  </a:cubicBezTo>
                  <a:cubicBezTo>
                    <a:pt x="664" y="601"/>
                    <a:pt x="664" y="601"/>
                    <a:pt x="664" y="601"/>
                  </a:cubicBezTo>
                  <a:cubicBezTo>
                    <a:pt x="663" y="591"/>
                    <a:pt x="663" y="591"/>
                    <a:pt x="663" y="591"/>
                  </a:cubicBezTo>
                  <a:cubicBezTo>
                    <a:pt x="656" y="586"/>
                    <a:pt x="656" y="586"/>
                    <a:pt x="656" y="586"/>
                  </a:cubicBezTo>
                  <a:cubicBezTo>
                    <a:pt x="654" y="579"/>
                    <a:pt x="654" y="579"/>
                    <a:pt x="654" y="579"/>
                  </a:cubicBezTo>
                  <a:cubicBezTo>
                    <a:pt x="658" y="576"/>
                    <a:pt x="658" y="576"/>
                    <a:pt x="658" y="576"/>
                  </a:cubicBezTo>
                  <a:cubicBezTo>
                    <a:pt x="654" y="570"/>
                    <a:pt x="654" y="570"/>
                    <a:pt x="654" y="570"/>
                  </a:cubicBezTo>
                  <a:cubicBezTo>
                    <a:pt x="654" y="564"/>
                    <a:pt x="654" y="564"/>
                    <a:pt x="654" y="564"/>
                  </a:cubicBezTo>
                  <a:cubicBezTo>
                    <a:pt x="643" y="564"/>
                    <a:pt x="643" y="564"/>
                    <a:pt x="643" y="564"/>
                  </a:cubicBezTo>
                  <a:cubicBezTo>
                    <a:pt x="642" y="559"/>
                    <a:pt x="642" y="559"/>
                    <a:pt x="642" y="559"/>
                  </a:cubicBezTo>
                  <a:cubicBezTo>
                    <a:pt x="650" y="550"/>
                    <a:pt x="650" y="550"/>
                    <a:pt x="650" y="550"/>
                  </a:cubicBezTo>
                  <a:cubicBezTo>
                    <a:pt x="657" y="547"/>
                    <a:pt x="657" y="547"/>
                    <a:pt x="657" y="547"/>
                  </a:cubicBezTo>
                  <a:cubicBezTo>
                    <a:pt x="652" y="511"/>
                    <a:pt x="652" y="511"/>
                    <a:pt x="652" y="511"/>
                  </a:cubicBezTo>
                  <a:cubicBezTo>
                    <a:pt x="646" y="497"/>
                    <a:pt x="646" y="497"/>
                    <a:pt x="646" y="497"/>
                  </a:cubicBezTo>
                  <a:cubicBezTo>
                    <a:pt x="644" y="484"/>
                    <a:pt x="644" y="484"/>
                    <a:pt x="644" y="484"/>
                  </a:cubicBezTo>
                  <a:cubicBezTo>
                    <a:pt x="633" y="468"/>
                    <a:pt x="633" y="468"/>
                    <a:pt x="633" y="468"/>
                  </a:cubicBezTo>
                  <a:cubicBezTo>
                    <a:pt x="633" y="461"/>
                    <a:pt x="633" y="461"/>
                    <a:pt x="633" y="461"/>
                  </a:cubicBezTo>
                  <a:cubicBezTo>
                    <a:pt x="639" y="459"/>
                    <a:pt x="639" y="459"/>
                    <a:pt x="639" y="459"/>
                  </a:cubicBezTo>
                  <a:cubicBezTo>
                    <a:pt x="651" y="442"/>
                    <a:pt x="651" y="442"/>
                    <a:pt x="651" y="442"/>
                  </a:cubicBezTo>
                  <a:cubicBezTo>
                    <a:pt x="659" y="445"/>
                    <a:pt x="659" y="445"/>
                    <a:pt x="659" y="445"/>
                  </a:cubicBezTo>
                  <a:cubicBezTo>
                    <a:pt x="665" y="445"/>
                    <a:pt x="665" y="445"/>
                    <a:pt x="665" y="445"/>
                  </a:cubicBezTo>
                  <a:cubicBezTo>
                    <a:pt x="669" y="434"/>
                    <a:pt x="669" y="434"/>
                    <a:pt x="669" y="434"/>
                  </a:cubicBezTo>
                  <a:cubicBezTo>
                    <a:pt x="664" y="428"/>
                    <a:pt x="664" y="428"/>
                    <a:pt x="664" y="428"/>
                  </a:cubicBezTo>
                  <a:cubicBezTo>
                    <a:pt x="667" y="417"/>
                    <a:pt x="667" y="417"/>
                    <a:pt x="667" y="417"/>
                  </a:cubicBezTo>
                  <a:cubicBezTo>
                    <a:pt x="672" y="417"/>
                    <a:pt x="672" y="417"/>
                    <a:pt x="672" y="417"/>
                  </a:cubicBezTo>
                  <a:cubicBezTo>
                    <a:pt x="672" y="402"/>
                    <a:pt x="672" y="402"/>
                    <a:pt x="672" y="402"/>
                  </a:cubicBezTo>
                  <a:cubicBezTo>
                    <a:pt x="686" y="389"/>
                    <a:pt x="686" y="389"/>
                    <a:pt x="686" y="389"/>
                  </a:cubicBezTo>
                  <a:cubicBezTo>
                    <a:pt x="688" y="383"/>
                    <a:pt x="688" y="383"/>
                    <a:pt x="688" y="383"/>
                  </a:cubicBezTo>
                  <a:cubicBezTo>
                    <a:pt x="691" y="383"/>
                    <a:pt x="691" y="383"/>
                    <a:pt x="691" y="383"/>
                  </a:cubicBezTo>
                  <a:cubicBezTo>
                    <a:pt x="692" y="371"/>
                    <a:pt x="692" y="371"/>
                    <a:pt x="692" y="371"/>
                  </a:cubicBezTo>
                  <a:cubicBezTo>
                    <a:pt x="684" y="373"/>
                    <a:pt x="684" y="373"/>
                    <a:pt x="684" y="373"/>
                  </a:cubicBezTo>
                  <a:cubicBezTo>
                    <a:pt x="679" y="363"/>
                    <a:pt x="679" y="363"/>
                    <a:pt x="679" y="363"/>
                  </a:cubicBezTo>
                  <a:cubicBezTo>
                    <a:pt x="677" y="351"/>
                    <a:pt x="677" y="351"/>
                    <a:pt x="677" y="351"/>
                  </a:cubicBezTo>
                  <a:cubicBezTo>
                    <a:pt x="663" y="338"/>
                    <a:pt x="663" y="338"/>
                    <a:pt x="663" y="338"/>
                  </a:cubicBezTo>
                  <a:cubicBezTo>
                    <a:pt x="661" y="333"/>
                    <a:pt x="661" y="333"/>
                    <a:pt x="661" y="333"/>
                  </a:cubicBezTo>
                  <a:cubicBezTo>
                    <a:pt x="652" y="331"/>
                    <a:pt x="652" y="331"/>
                    <a:pt x="652" y="331"/>
                  </a:cubicBezTo>
                  <a:cubicBezTo>
                    <a:pt x="649" y="324"/>
                    <a:pt x="649" y="324"/>
                    <a:pt x="649" y="324"/>
                  </a:cubicBezTo>
                  <a:cubicBezTo>
                    <a:pt x="650" y="312"/>
                    <a:pt x="650" y="312"/>
                    <a:pt x="650" y="312"/>
                  </a:cubicBezTo>
                  <a:cubicBezTo>
                    <a:pt x="641" y="301"/>
                    <a:pt x="641" y="301"/>
                    <a:pt x="641" y="301"/>
                  </a:cubicBezTo>
                  <a:cubicBezTo>
                    <a:pt x="646" y="292"/>
                    <a:pt x="646" y="292"/>
                    <a:pt x="646" y="292"/>
                  </a:cubicBezTo>
                  <a:cubicBezTo>
                    <a:pt x="640" y="280"/>
                    <a:pt x="640" y="280"/>
                    <a:pt x="640" y="280"/>
                  </a:cubicBezTo>
                  <a:cubicBezTo>
                    <a:pt x="638" y="276"/>
                    <a:pt x="638" y="276"/>
                    <a:pt x="638" y="276"/>
                  </a:cubicBezTo>
                  <a:cubicBezTo>
                    <a:pt x="634" y="278"/>
                    <a:pt x="629" y="276"/>
                    <a:pt x="627" y="279"/>
                  </a:cubicBezTo>
                  <a:cubicBezTo>
                    <a:pt x="626" y="281"/>
                    <a:pt x="626" y="290"/>
                    <a:pt x="630" y="290"/>
                  </a:cubicBezTo>
                  <a:cubicBezTo>
                    <a:pt x="633" y="291"/>
                    <a:pt x="640" y="288"/>
                    <a:pt x="637" y="293"/>
                  </a:cubicBezTo>
                  <a:cubicBezTo>
                    <a:pt x="633" y="298"/>
                    <a:pt x="622" y="306"/>
                    <a:pt x="618" y="308"/>
                  </a:cubicBezTo>
                  <a:cubicBezTo>
                    <a:pt x="615" y="309"/>
                    <a:pt x="610" y="313"/>
                    <a:pt x="606" y="316"/>
                  </a:cubicBezTo>
                  <a:cubicBezTo>
                    <a:pt x="601" y="319"/>
                    <a:pt x="593" y="322"/>
                    <a:pt x="594" y="320"/>
                  </a:cubicBezTo>
                  <a:cubicBezTo>
                    <a:pt x="596" y="317"/>
                    <a:pt x="598" y="316"/>
                    <a:pt x="600" y="313"/>
                  </a:cubicBezTo>
                  <a:cubicBezTo>
                    <a:pt x="601" y="310"/>
                    <a:pt x="603" y="308"/>
                    <a:pt x="606" y="304"/>
                  </a:cubicBezTo>
                  <a:cubicBezTo>
                    <a:pt x="609" y="300"/>
                    <a:pt x="611" y="296"/>
                    <a:pt x="614" y="292"/>
                  </a:cubicBezTo>
                  <a:cubicBezTo>
                    <a:pt x="617" y="288"/>
                    <a:pt x="619" y="285"/>
                    <a:pt x="620" y="282"/>
                  </a:cubicBezTo>
                  <a:cubicBezTo>
                    <a:pt x="621" y="279"/>
                    <a:pt x="623" y="274"/>
                    <a:pt x="625" y="267"/>
                  </a:cubicBezTo>
                  <a:cubicBezTo>
                    <a:pt x="627" y="261"/>
                    <a:pt x="626" y="260"/>
                    <a:pt x="631" y="253"/>
                  </a:cubicBezTo>
                  <a:cubicBezTo>
                    <a:pt x="636" y="246"/>
                    <a:pt x="637" y="248"/>
                    <a:pt x="639" y="243"/>
                  </a:cubicBezTo>
                  <a:cubicBezTo>
                    <a:pt x="641" y="239"/>
                    <a:pt x="640" y="236"/>
                    <a:pt x="645" y="232"/>
                  </a:cubicBezTo>
                  <a:cubicBezTo>
                    <a:pt x="649" y="228"/>
                    <a:pt x="651" y="223"/>
                    <a:pt x="650" y="213"/>
                  </a:cubicBezTo>
                  <a:cubicBezTo>
                    <a:pt x="649" y="202"/>
                    <a:pt x="647" y="207"/>
                    <a:pt x="646" y="202"/>
                  </a:cubicBezTo>
                  <a:cubicBezTo>
                    <a:pt x="645" y="196"/>
                    <a:pt x="644" y="194"/>
                    <a:pt x="643" y="191"/>
                  </a:cubicBezTo>
                  <a:cubicBezTo>
                    <a:pt x="642" y="189"/>
                    <a:pt x="635" y="182"/>
                    <a:pt x="632" y="181"/>
                  </a:cubicBezTo>
                  <a:cubicBezTo>
                    <a:pt x="629" y="180"/>
                    <a:pt x="623" y="178"/>
                    <a:pt x="617" y="172"/>
                  </a:cubicBezTo>
                  <a:cubicBezTo>
                    <a:pt x="611" y="165"/>
                    <a:pt x="608" y="164"/>
                    <a:pt x="604" y="168"/>
                  </a:cubicBezTo>
                  <a:cubicBezTo>
                    <a:pt x="600" y="172"/>
                    <a:pt x="591" y="171"/>
                    <a:pt x="584" y="173"/>
                  </a:cubicBezTo>
                  <a:cubicBezTo>
                    <a:pt x="577" y="175"/>
                    <a:pt x="582" y="179"/>
                    <a:pt x="577" y="184"/>
                  </a:cubicBezTo>
                  <a:cubicBezTo>
                    <a:pt x="572" y="189"/>
                    <a:pt x="564" y="187"/>
                    <a:pt x="566" y="184"/>
                  </a:cubicBezTo>
                  <a:cubicBezTo>
                    <a:pt x="568" y="181"/>
                    <a:pt x="572" y="167"/>
                    <a:pt x="570" y="167"/>
                  </a:cubicBezTo>
                  <a:cubicBezTo>
                    <a:pt x="568" y="166"/>
                    <a:pt x="558" y="164"/>
                    <a:pt x="555" y="166"/>
                  </a:cubicBezTo>
                  <a:cubicBezTo>
                    <a:pt x="552" y="167"/>
                    <a:pt x="541" y="167"/>
                    <a:pt x="548" y="160"/>
                  </a:cubicBezTo>
                  <a:cubicBezTo>
                    <a:pt x="556" y="154"/>
                    <a:pt x="555" y="153"/>
                    <a:pt x="548" y="149"/>
                  </a:cubicBezTo>
                  <a:cubicBezTo>
                    <a:pt x="541" y="144"/>
                    <a:pt x="534" y="144"/>
                    <a:pt x="527" y="150"/>
                  </a:cubicBezTo>
                  <a:cubicBezTo>
                    <a:pt x="519" y="156"/>
                    <a:pt x="518" y="164"/>
                    <a:pt x="513" y="176"/>
                  </a:cubicBezTo>
                  <a:cubicBezTo>
                    <a:pt x="508" y="187"/>
                    <a:pt x="510" y="187"/>
                    <a:pt x="513" y="192"/>
                  </a:cubicBezTo>
                  <a:cubicBezTo>
                    <a:pt x="516" y="198"/>
                    <a:pt x="509" y="199"/>
                    <a:pt x="505" y="200"/>
                  </a:cubicBezTo>
                  <a:cubicBezTo>
                    <a:pt x="501" y="200"/>
                    <a:pt x="495" y="201"/>
                    <a:pt x="496" y="206"/>
                  </a:cubicBezTo>
                  <a:cubicBezTo>
                    <a:pt x="497" y="211"/>
                    <a:pt x="496" y="213"/>
                    <a:pt x="492" y="214"/>
                  </a:cubicBezTo>
                  <a:cubicBezTo>
                    <a:pt x="488" y="216"/>
                    <a:pt x="484" y="222"/>
                    <a:pt x="480" y="226"/>
                  </a:cubicBezTo>
                  <a:cubicBezTo>
                    <a:pt x="475" y="229"/>
                    <a:pt x="468" y="225"/>
                    <a:pt x="465" y="220"/>
                  </a:cubicBezTo>
                  <a:cubicBezTo>
                    <a:pt x="462" y="215"/>
                    <a:pt x="442" y="220"/>
                    <a:pt x="436" y="225"/>
                  </a:cubicBezTo>
                  <a:cubicBezTo>
                    <a:pt x="431" y="229"/>
                    <a:pt x="440" y="235"/>
                    <a:pt x="435" y="236"/>
                  </a:cubicBezTo>
                  <a:cubicBezTo>
                    <a:pt x="430" y="237"/>
                    <a:pt x="420" y="244"/>
                    <a:pt x="413" y="243"/>
                  </a:cubicBezTo>
                  <a:cubicBezTo>
                    <a:pt x="406" y="243"/>
                    <a:pt x="399" y="252"/>
                    <a:pt x="394" y="258"/>
                  </a:cubicBezTo>
                  <a:cubicBezTo>
                    <a:pt x="389" y="264"/>
                    <a:pt x="387" y="258"/>
                    <a:pt x="379" y="258"/>
                  </a:cubicBezTo>
                  <a:cubicBezTo>
                    <a:pt x="372" y="258"/>
                    <a:pt x="378" y="266"/>
                    <a:pt x="379" y="271"/>
                  </a:cubicBezTo>
                  <a:cubicBezTo>
                    <a:pt x="380" y="277"/>
                    <a:pt x="371" y="278"/>
                    <a:pt x="368" y="275"/>
                  </a:cubicBezTo>
                  <a:cubicBezTo>
                    <a:pt x="366" y="273"/>
                    <a:pt x="361" y="279"/>
                    <a:pt x="365" y="283"/>
                  </a:cubicBezTo>
                  <a:cubicBezTo>
                    <a:pt x="369" y="287"/>
                    <a:pt x="371" y="290"/>
                    <a:pt x="365" y="290"/>
                  </a:cubicBezTo>
                  <a:cubicBezTo>
                    <a:pt x="360" y="290"/>
                    <a:pt x="368" y="300"/>
                    <a:pt x="371" y="301"/>
                  </a:cubicBezTo>
                  <a:cubicBezTo>
                    <a:pt x="374" y="301"/>
                    <a:pt x="385" y="311"/>
                    <a:pt x="369" y="313"/>
                  </a:cubicBezTo>
                  <a:cubicBezTo>
                    <a:pt x="353" y="315"/>
                    <a:pt x="349" y="317"/>
                    <a:pt x="343" y="318"/>
                  </a:cubicBezTo>
                  <a:cubicBezTo>
                    <a:pt x="337" y="319"/>
                    <a:pt x="322" y="318"/>
                    <a:pt x="309" y="317"/>
                  </a:cubicBezTo>
                  <a:cubicBezTo>
                    <a:pt x="297" y="317"/>
                    <a:pt x="294" y="328"/>
                    <a:pt x="300" y="338"/>
                  </a:cubicBezTo>
                  <a:cubicBezTo>
                    <a:pt x="305" y="347"/>
                    <a:pt x="297" y="351"/>
                    <a:pt x="299" y="359"/>
                  </a:cubicBezTo>
                  <a:cubicBezTo>
                    <a:pt x="302" y="367"/>
                    <a:pt x="312" y="373"/>
                    <a:pt x="317" y="379"/>
                  </a:cubicBezTo>
                  <a:cubicBezTo>
                    <a:pt x="322" y="384"/>
                    <a:pt x="333" y="397"/>
                    <a:pt x="329" y="403"/>
                  </a:cubicBezTo>
                  <a:cubicBezTo>
                    <a:pt x="325" y="410"/>
                    <a:pt x="322" y="415"/>
                    <a:pt x="323" y="421"/>
                  </a:cubicBezTo>
                  <a:cubicBezTo>
                    <a:pt x="324" y="427"/>
                    <a:pt x="327" y="442"/>
                    <a:pt x="324" y="444"/>
                  </a:cubicBezTo>
                  <a:cubicBezTo>
                    <a:pt x="321" y="446"/>
                    <a:pt x="319" y="461"/>
                    <a:pt x="316" y="455"/>
                  </a:cubicBezTo>
                  <a:cubicBezTo>
                    <a:pt x="313" y="450"/>
                    <a:pt x="317" y="443"/>
                    <a:pt x="319" y="432"/>
                  </a:cubicBezTo>
                  <a:cubicBezTo>
                    <a:pt x="321" y="421"/>
                    <a:pt x="316" y="427"/>
                    <a:pt x="314" y="424"/>
                  </a:cubicBezTo>
                  <a:cubicBezTo>
                    <a:pt x="312" y="421"/>
                    <a:pt x="314" y="417"/>
                    <a:pt x="319" y="408"/>
                  </a:cubicBezTo>
                  <a:cubicBezTo>
                    <a:pt x="325" y="400"/>
                    <a:pt x="325" y="398"/>
                    <a:pt x="322" y="394"/>
                  </a:cubicBezTo>
                  <a:cubicBezTo>
                    <a:pt x="318" y="389"/>
                    <a:pt x="307" y="394"/>
                    <a:pt x="303" y="390"/>
                  </a:cubicBezTo>
                  <a:cubicBezTo>
                    <a:pt x="298" y="386"/>
                    <a:pt x="293" y="378"/>
                    <a:pt x="289" y="369"/>
                  </a:cubicBezTo>
                  <a:cubicBezTo>
                    <a:pt x="286" y="363"/>
                    <a:pt x="278" y="362"/>
                    <a:pt x="270" y="363"/>
                  </a:cubicBezTo>
                  <a:close/>
                  <a:moveTo>
                    <a:pt x="502" y="80"/>
                  </a:moveTo>
                  <a:cubicBezTo>
                    <a:pt x="502" y="80"/>
                    <a:pt x="502" y="80"/>
                    <a:pt x="502" y="80"/>
                  </a:cubicBezTo>
                  <a:cubicBezTo>
                    <a:pt x="498" y="86"/>
                    <a:pt x="498" y="91"/>
                    <a:pt x="498" y="94"/>
                  </a:cubicBezTo>
                  <a:cubicBezTo>
                    <a:pt x="498" y="97"/>
                    <a:pt x="498" y="109"/>
                    <a:pt x="495" y="116"/>
                  </a:cubicBezTo>
                  <a:cubicBezTo>
                    <a:pt x="492" y="123"/>
                    <a:pt x="491" y="134"/>
                    <a:pt x="491" y="138"/>
                  </a:cubicBezTo>
                  <a:cubicBezTo>
                    <a:pt x="491" y="143"/>
                    <a:pt x="500" y="141"/>
                    <a:pt x="505" y="135"/>
                  </a:cubicBezTo>
                  <a:cubicBezTo>
                    <a:pt x="509" y="129"/>
                    <a:pt x="515" y="128"/>
                    <a:pt x="521" y="128"/>
                  </a:cubicBezTo>
                  <a:cubicBezTo>
                    <a:pt x="526" y="128"/>
                    <a:pt x="538" y="115"/>
                    <a:pt x="538" y="110"/>
                  </a:cubicBezTo>
                  <a:cubicBezTo>
                    <a:pt x="539" y="106"/>
                    <a:pt x="529" y="93"/>
                    <a:pt x="525" y="89"/>
                  </a:cubicBezTo>
                  <a:cubicBezTo>
                    <a:pt x="521" y="85"/>
                    <a:pt x="517" y="86"/>
                    <a:pt x="516" y="87"/>
                  </a:cubicBezTo>
                  <a:cubicBezTo>
                    <a:pt x="514" y="88"/>
                    <a:pt x="512" y="88"/>
                    <a:pt x="512" y="84"/>
                  </a:cubicBezTo>
                  <a:cubicBezTo>
                    <a:pt x="511" y="80"/>
                    <a:pt x="509" y="79"/>
                    <a:pt x="506" y="78"/>
                  </a:cubicBezTo>
                  <a:cubicBezTo>
                    <a:pt x="503" y="78"/>
                    <a:pt x="502" y="80"/>
                    <a:pt x="502" y="80"/>
                  </a:cubicBezTo>
                  <a:close/>
                  <a:moveTo>
                    <a:pt x="438" y="63"/>
                  </a:moveTo>
                  <a:cubicBezTo>
                    <a:pt x="438" y="63"/>
                    <a:pt x="438" y="63"/>
                    <a:pt x="438" y="63"/>
                  </a:cubicBezTo>
                  <a:cubicBezTo>
                    <a:pt x="436" y="65"/>
                    <a:pt x="435" y="73"/>
                    <a:pt x="431" y="72"/>
                  </a:cubicBezTo>
                  <a:cubicBezTo>
                    <a:pt x="428" y="72"/>
                    <a:pt x="418" y="67"/>
                    <a:pt x="415" y="65"/>
                  </a:cubicBezTo>
                  <a:cubicBezTo>
                    <a:pt x="413" y="62"/>
                    <a:pt x="415" y="56"/>
                    <a:pt x="420" y="57"/>
                  </a:cubicBezTo>
                  <a:cubicBezTo>
                    <a:pt x="425" y="57"/>
                    <a:pt x="432" y="57"/>
                    <a:pt x="426" y="50"/>
                  </a:cubicBezTo>
                  <a:cubicBezTo>
                    <a:pt x="420" y="43"/>
                    <a:pt x="420" y="44"/>
                    <a:pt x="425" y="37"/>
                  </a:cubicBezTo>
                  <a:cubicBezTo>
                    <a:pt x="431" y="30"/>
                    <a:pt x="430" y="25"/>
                    <a:pt x="429" y="20"/>
                  </a:cubicBezTo>
                  <a:cubicBezTo>
                    <a:pt x="428" y="15"/>
                    <a:pt x="442" y="15"/>
                    <a:pt x="443" y="11"/>
                  </a:cubicBezTo>
                  <a:cubicBezTo>
                    <a:pt x="443" y="7"/>
                    <a:pt x="445" y="0"/>
                    <a:pt x="451" y="8"/>
                  </a:cubicBezTo>
                  <a:cubicBezTo>
                    <a:pt x="457" y="16"/>
                    <a:pt x="459" y="20"/>
                    <a:pt x="463" y="22"/>
                  </a:cubicBezTo>
                  <a:cubicBezTo>
                    <a:pt x="466" y="23"/>
                    <a:pt x="461" y="26"/>
                    <a:pt x="460" y="30"/>
                  </a:cubicBezTo>
                  <a:cubicBezTo>
                    <a:pt x="459" y="34"/>
                    <a:pt x="462" y="41"/>
                    <a:pt x="462" y="43"/>
                  </a:cubicBezTo>
                  <a:cubicBezTo>
                    <a:pt x="461" y="45"/>
                    <a:pt x="448" y="50"/>
                    <a:pt x="448" y="51"/>
                  </a:cubicBezTo>
                  <a:cubicBezTo>
                    <a:pt x="448" y="52"/>
                    <a:pt x="457" y="52"/>
                    <a:pt x="462" y="49"/>
                  </a:cubicBezTo>
                  <a:cubicBezTo>
                    <a:pt x="466" y="47"/>
                    <a:pt x="467" y="48"/>
                    <a:pt x="466" y="53"/>
                  </a:cubicBezTo>
                  <a:cubicBezTo>
                    <a:pt x="466" y="58"/>
                    <a:pt x="474" y="61"/>
                    <a:pt x="475" y="57"/>
                  </a:cubicBezTo>
                  <a:cubicBezTo>
                    <a:pt x="476" y="53"/>
                    <a:pt x="484" y="56"/>
                    <a:pt x="486" y="64"/>
                  </a:cubicBezTo>
                  <a:cubicBezTo>
                    <a:pt x="488" y="72"/>
                    <a:pt x="486" y="80"/>
                    <a:pt x="486" y="84"/>
                  </a:cubicBezTo>
                  <a:cubicBezTo>
                    <a:pt x="486" y="88"/>
                    <a:pt x="489" y="91"/>
                    <a:pt x="490" y="96"/>
                  </a:cubicBezTo>
                  <a:cubicBezTo>
                    <a:pt x="490" y="102"/>
                    <a:pt x="479" y="108"/>
                    <a:pt x="475" y="108"/>
                  </a:cubicBezTo>
                  <a:cubicBezTo>
                    <a:pt x="470" y="108"/>
                    <a:pt x="457" y="96"/>
                    <a:pt x="451" y="97"/>
                  </a:cubicBezTo>
                  <a:cubicBezTo>
                    <a:pt x="445" y="98"/>
                    <a:pt x="443" y="91"/>
                    <a:pt x="441" y="86"/>
                  </a:cubicBezTo>
                  <a:cubicBezTo>
                    <a:pt x="439" y="82"/>
                    <a:pt x="436" y="83"/>
                    <a:pt x="436" y="78"/>
                  </a:cubicBezTo>
                  <a:cubicBezTo>
                    <a:pt x="437" y="73"/>
                    <a:pt x="443" y="69"/>
                    <a:pt x="442" y="66"/>
                  </a:cubicBezTo>
                  <a:cubicBezTo>
                    <a:pt x="440" y="63"/>
                    <a:pt x="438" y="63"/>
                    <a:pt x="438" y="63"/>
                  </a:cubicBezTo>
                  <a:close/>
                </a:path>
              </a:pathLst>
            </a:custGeom>
            <a:solidFill>
              <a:schemeClr val="lt1"/>
            </a:solidFill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" name="Freeform 70"/>
            <p:cNvSpPr>
              <a:spLocks/>
            </p:cNvSpPr>
            <p:nvPr/>
          </p:nvSpPr>
          <p:spPr bwMode="auto">
            <a:xfrm>
              <a:off x="484188" y="5558309"/>
              <a:ext cx="504825" cy="808038"/>
            </a:xfrm>
            <a:custGeom>
              <a:avLst/>
              <a:gdLst>
                <a:gd name="T0" fmla="*/ 157 w 159"/>
                <a:gd name="T1" fmla="*/ 126 h 254"/>
                <a:gd name="T2" fmla="*/ 156 w 159"/>
                <a:gd name="T3" fmla="*/ 134 h 254"/>
                <a:gd name="T4" fmla="*/ 157 w 159"/>
                <a:gd name="T5" fmla="*/ 159 h 254"/>
                <a:gd name="T6" fmla="*/ 151 w 159"/>
                <a:gd name="T7" fmla="*/ 170 h 254"/>
                <a:gd name="T8" fmla="*/ 141 w 159"/>
                <a:gd name="T9" fmla="*/ 191 h 254"/>
                <a:gd name="T10" fmla="*/ 136 w 159"/>
                <a:gd name="T11" fmla="*/ 209 h 254"/>
                <a:gd name="T12" fmla="*/ 140 w 159"/>
                <a:gd name="T13" fmla="*/ 233 h 254"/>
                <a:gd name="T14" fmla="*/ 141 w 159"/>
                <a:gd name="T15" fmla="*/ 247 h 254"/>
                <a:gd name="T16" fmla="*/ 131 w 159"/>
                <a:gd name="T17" fmla="*/ 248 h 254"/>
                <a:gd name="T18" fmla="*/ 115 w 159"/>
                <a:gd name="T19" fmla="*/ 251 h 254"/>
                <a:gd name="T20" fmla="*/ 102 w 159"/>
                <a:gd name="T21" fmla="*/ 245 h 254"/>
                <a:gd name="T22" fmla="*/ 97 w 159"/>
                <a:gd name="T23" fmla="*/ 227 h 254"/>
                <a:gd name="T24" fmla="*/ 94 w 159"/>
                <a:gd name="T25" fmla="*/ 211 h 254"/>
                <a:gd name="T26" fmla="*/ 81 w 159"/>
                <a:gd name="T27" fmla="*/ 193 h 254"/>
                <a:gd name="T28" fmla="*/ 78 w 159"/>
                <a:gd name="T29" fmla="*/ 178 h 254"/>
                <a:gd name="T30" fmla="*/ 72 w 159"/>
                <a:gd name="T31" fmla="*/ 155 h 254"/>
                <a:gd name="T32" fmla="*/ 64 w 159"/>
                <a:gd name="T33" fmla="*/ 148 h 254"/>
                <a:gd name="T34" fmla="*/ 50 w 159"/>
                <a:gd name="T35" fmla="*/ 143 h 254"/>
                <a:gd name="T36" fmla="*/ 50 w 159"/>
                <a:gd name="T37" fmla="*/ 134 h 254"/>
                <a:gd name="T38" fmla="*/ 44 w 159"/>
                <a:gd name="T39" fmla="*/ 123 h 254"/>
                <a:gd name="T40" fmla="*/ 42 w 159"/>
                <a:gd name="T41" fmla="*/ 112 h 254"/>
                <a:gd name="T42" fmla="*/ 30 w 159"/>
                <a:gd name="T43" fmla="*/ 96 h 254"/>
                <a:gd name="T44" fmla="*/ 18 w 159"/>
                <a:gd name="T45" fmla="*/ 88 h 254"/>
                <a:gd name="T46" fmla="*/ 6 w 159"/>
                <a:gd name="T47" fmla="*/ 68 h 254"/>
                <a:gd name="T48" fmla="*/ 0 w 159"/>
                <a:gd name="T49" fmla="*/ 59 h 254"/>
                <a:gd name="T50" fmla="*/ 1 w 159"/>
                <a:gd name="T51" fmla="*/ 58 h 254"/>
                <a:gd name="T52" fmla="*/ 10 w 159"/>
                <a:gd name="T53" fmla="*/ 54 h 254"/>
                <a:gd name="T54" fmla="*/ 18 w 159"/>
                <a:gd name="T55" fmla="*/ 49 h 254"/>
                <a:gd name="T56" fmla="*/ 25 w 159"/>
                <a:gd name="T57" fmla="*/ 57 h 254"/>
                <a:gd name="T58" fmla="*/ 35 w 159"/>
                <a:gd name="T59" fmla="*/ 59 h 254"/>
                <a:gd name="T60" fmla="*/ 42 w 159"/>
                <a:gd name="T61" fmla="*/ 53 h 254"/>
                <a:gd name="T62" fmla="*/ 43 w 159"/>
                <a:gd name="T63" fmla="*/ 41 h 254"/>
                <a:gd name="T64" fmla="*/ 54 w 159"/>
                <a:gd name="T65" fmla="*/ 35 h 254"/>
                <a:gd name="T66" fmla="*/ 52 w 159"/>
                <a:gd name="T67" fmla="*/ 27 h 254"/>
                <a:gd name="T68" fmla="*/ 51 w 159"/>
                <a:gd name="T69" fmla="*/ 21 h 254"/>
                <a:gd name="T70" fmla="*/ 49 w 159"/>
                <a:gd name="T71" fmla="*/ 13 h 254"/>
                <a:gd name="T72" fmla="*/ 51 w 159"/>
                <a:gd name="T73" fmla="*/ 4 h 254"/>
                <a:gd name="T74" fmla="*/ 62 w 159"/>
                <a:gd name="T75" fmla="*/ 7 h 254"/>
                <a:gd name="T76" fmla="*/ 73 w 159"/>
                <a:gd name="T77" fmla="*/ 2 h 254"/>
                <a:gd name="T78" fmla="*/ 81 w 159"/>
                <a:gd name="T79" fmla="*/ 10 h 254"/>
                <a:gd name="T80" fmla="*/ 89 w 159"/>
                <a:gd name="T81" fmla="*/ 13 h 254"/>
                <a:gd name="T82" fmla="*/ 97 w 159"/>
                <a:gd name="T83" fmla="*/ 20 h 254"/>
                <a:gd name="T84" fmla="*/ 108 w 159"/>
                <a:gd name="T85" fmla="*/ 22 h 254"/>
                <a:gd name="T86" fmla="*/ 114 w 159"/>
                <a:gd name="T87" fmla="*/ 34 h 254"/>
                <a:gd name="T88" fmla="*/ 122 w 159"/>
                <a:gd name="T89" fmla="*/ 43 h 254"/>
                <a:gd name="T90" fmla="*/ 121 w 159"/>
                <a:gd name="T91" fmla="*/ 57 h 254"/>
                <a:gd name="T92" fmla="*/ 131 w 159"/>
                <a:gd name="T93" fmla="*/ 70 h 254"/>
                <a:gd name="T94" fmla="*/ 137 w 159"/>
                <a:gd name="T95" fmla="*/ 82 h 254"/>
                <a:gd name="T96" fmla="*/ 140 w 159"/>
                <a:gd name="T97" fmla="*/ 91 h 254"/>
                <a:gd name="T98" fmla="*/ 141 w 159"/>
                <a:gd name="T99" fmla="*/ 103 h 254"/>
                <a:gd name="T100" fmla="*/ 155 w 159"/>
                <a:gd name="T101" fmla="*/ 114 h 254"/>
                <a:gd name="T102" fmla="*/ 156 w 159"/>
                <a:gd name="T103" fmla="*/ 122 h 254"/>
                <a:gd name="T104" fmla="*/ 157 w 159"/>
                <a:gd name="T105" fmla="*/ 12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9" h="254">
                  <a:moveTo>
                    <a:pt x="157" y="126"/>
                  </a:moveTo>
                  <a:cubicBezTo>
                    <a:pt x="155" y="127"/>
                    <a:pt x="155" y="130"/>
                    <a:pt x="156" y="134"/>
                  </a:cubicBezTo>
                  <a:cubicBezTo>
                    <a:pt x="157" y="140"/>
                    <a:pt x="158" y="153"/>
                    <a:pt x="157" y="159"/>
                  </a:cubicBezTo>
                  <a:cubicBezTo>
                    <a:pt x="156" y="165"/>
                    <a:pt x="159" y="165"/>
                    <a:pt x="151" y="170"/>
                  </a:cubicBezTo>
                  <a:cubicBezTo>
                    <a:pt x="143" y="175"/>
                    <a:pt x="141" y="184"/>
                    <a:pt x="141" y="191"/>
                  </a:cubicBezTo>
                  <a:cubicBezTo>
                    <a:pt x="141" y="197"/>
                    <a:pt x="136" y="203"/>
                    <a:pt x="136" y="209"/>
                  </a:cubicBezTo>
                  <a:cubicBezTo>
                    <a:pt x="136" y="215"/>
                    <a:pt x="140" y="225"/>
                    <a:pt x="140" y="233"/>
                  </a:cubicBezTo>
                  <a:cubicBezTo>
                    <a:pt x="139" y="238"/>
                    <a:pt x="141" y="243"/>
                    <a:pt x="141" y="247"/>
                  </a:cubicBezTo>
                  <a:cubicBezTo>
                    <a:pt x="137" y="247"/>
                    <a:pt x="133" y="248"/>
                    <a:pt x="131" y="248"/>
                  </a:cubicBezTo>
                  <a:cubicBezTo>
                    <a:pt x="124" y="248"/>
                    <a:pt x="119" y="248"/>
                    <a:pt x="115" y="251"/>
                  </a:cubicBezTo>
                  <a:cubicBezTo>
                    <a:pt x="112" y="254"/>
                    <a:pt x="104" y="250"/>
                    <a:pt x="102" y="245"/>
                  </a:cubicBezTo>
                  <a:cubicBezTo>
                    <a:pt x="99" y="241"/>
                    <a:pt x="97" y="232"/>
                    <a:pt x="97" y="227"/>
                  </a:cubicBezTo>
                  <a:cubicBezTo>
                    <a:pt x="97" y="223"/>
                    <a:pt x="95" y="216"/>
                    <a:pt x="94" y="211"/>
                  </a:cubicBezTo>
                  <a:cubicBezTo>
                    <a:pt x="93" y="206"/>
                    <a:pt x="83" y="198"/>
                    <a:pt x="81" y="193"/>
                  </a:cubicBezTo>
                  <a:cubicBezTo>
                    <a:pt x="78" y="188"/>
                    <a:pt x="77" y="187"/>
                    <a:pt x="78" y="178"/>
                  </a:cubicBezTo>
                  <a:cubicBezTo>
                    <a:pt x="79" y="169"/>
                    <a:pt x="74" y="158"/>
                    <a:pt x="72" y="155"/>
                  </a:cubicBezTo>
                  <a:cubicBezTo>
                    <a:pt x="70" y="152"/>
                    <a:pt x="67" y="151"/>
                    <a:pt x="64" y="148"/>
                  </a:cubicBezTo>
                  <a:cubicBezTo>
                    <a:pt x="61" y="145"/>
                    <a:pt x="52" y="146"/>
                    <a:pt x="50" y="143"/>
                  </a:cubicBezTo>
                  <a:cubicBezTo>
                    <a:pt x="48" y="139"/>
                    <a:pt x="49" y="138"/>
                    <a:pt x="50" y="134"/>
                  </a:cubicBezTo>
                  <a:cubicBezTo>
                    <a:pt x="51" y="131"/>
                    <a:pt x="47" y="128"/>
                    <a:pt x="44" y="123"/>
                  </a:cubicBezTo>
                  <a:cubicBezTo>
                    <a:pt x="40" y="118"/>
                    <a:pt x="41" y="118"/>
                    <a:pt x="42" y="112"/>
                  </a:cubicBezTo>
                  <a:cubicBezTo>
                    <a:pt x="44" y="107"/>
                    <a:pt x="33" y="100"/>
                    <a:pt x="30" y="96"/>
                  </a:cubicBezTo>
                  <a:cubicBezTo>
                    <a:pt x="26" y="92"/>
                    <a:pt x="22" y="92"/>
                    <a:pt x="18" y="88"/>
                  </a:cubicBezTo>
                  <a:cubicBezTo>
                    <a:pt x="14" y="85"/>
                    <a:pt x="8" y="76"/>
                    <a:pt x="6" y="68"/>
                  </a:cubicBezTo>
                  <a:cubicBezTo>
                    <a:pt x="5" y="65"/>
                    <a:pt x="3" y="62"/>
                    <a:pt x="0" y="5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4" y="56"/>
                    <a:pt x="9" y="54"/>
                    <a:pt x="10" y="54"/>
                  </a:cubicBezTo>
                  <a:cubicBezTo>
                    <a:pt x="11" y="53"/>
                    <a:pt x="16" y="49"/>
                    <a:pt x="18" y="49"/>
                  </a:cubicBezTo>
                  <a:cubicBezTo>
                    <a:pt x="21" y="48"/>
                    <a:pt x="24" y="55"/>
                    <a:pt x="25" y="57"/>
                  </a:cubicBezTo>
                  <a:cubicBezTo>
                    <a:pt x="27" y="58"/>
                    <a:pt x="32" y="59"/>
                    <a:pt x="35" y="59"/>
                  </a:cubicBezTo>
                  <a:cubicBezTo>
                    <a:pt x="37" y="59"/>
                    <a:pt x="41" y="56"/>
                    <a:pt x="42" y="53"/>
                  </a:cubicBezTo>
                  <a:cubicBezTo>
                    <a:pt x="44" y="49"/>
                    <a:pt x="43" y="41"/>
                    <a:pt x="43" y="41"/>
                  </a:cubicBezTo>
                  <a:cubicBezTo>
                    <a:pt x="43" y="41"/>
                    <a:pt x="53" y="36"/>
                    <a:pt x="54" y="35"/>
                  </a:cubicBezTo>
                  <a:cubicBezTo>
                    <a:pt x="55" y="33"/>
                    <a:pt x="51" y="29"/>
                    <a:pt x="52" y="27"/>
                  </a:cubicBezTo>
                  <a:cubicBezTo>
                    <a:pt x="53" y="25"/>
                    <a:pt x="53" y="22"/>
                    <a:pt x="51" y="21"/>
                  </a:cubicBezTo>
                  <a:cubicBezTo>
                    <a:pt x="50" y="19"/>
                    <a:pt x="46" y="15"/>
                    <a:pt x="49" y="13"/>
                  </a:cubicBezTo>
                  <a:cubicBezTo>
                    <a:pt x="51" y="11"/>
                    <a:pt x="47" y="8"/>
                    <a:pt x="51" y="4"/>
                  </a:cubicBezTo>
                  <a:cubicBezTo>
                    <a:pt x="55" y="0"/>
                    <a:pt x="58" y="6"/>
                    <a:pt x="62" y="7"/>
                  </a:cubicBezTo>
                  <a:cubicBezTo>
                    <a:pt x="66" y="8"/>
                    <a:pt x="69" y="3"/>
                    <a:pt x="73" y="2"/>
                  </a:cubicBezTo>
                  <a:cubicBezTo>
                    <a:pt x="77" y="1"/>
                    <a:pt x="77" y="4"/>
                    <a:pt x="81" y="10"/>
                  </a:cubicBezTo>
                  <a:cubicBezTo>
                    <a:pt x="84" y="15"/>
                    <a:pt x="85" y="14"/>
                    <a:pt x="89" y="13"/>
                  </a:cubicBezTo>
                  <a:cubicBezTo>
                    <a:pt x="93" y="13"/>
                    <a:pt x="93" y="17"/>
                    <a:pt x="97" y="20"/>
                  </a:cubicBezTo>
                  <a:cubicBezTo>
                    <a:pt x="100" y="23"/>
                    <a:pt x="105" y="21"/>
                    <a:pt x="108" y="22"/>
                  </a:cubicBezTo>
                  <a:cubicBezTo>
                    <a:pt x="111" y="24"/>
                    <a:pt x="111" y="27"/>
                    <a:pt x="114" y="34"/>
                  </a:cubicBezTo>
                  <a:cubicBezTo>
                    <a:pt x="117" y="42"/>
                    <a:pt x="118" y="39"/>
                    <a:pt x="122" y="43"/>
                  </a:cubicBezTo>
                  <a:cubicBezTo>
                    <a:pt x="125" y="48"/>
                    <a:pt x="121" y="53"/>
                    <a:pt x="121" y="57"/>
                  </a:cubicBezTo>
                  <a:cubicBezTo>
                    <a:pt x="121" y="61"/>
                    <a:pt x="129" y="64"/>
                    <a:pt x="131" y="70"/>
                  </a:cubicBezTo>
                  <a:cubicBezTo>
                    <a:pt x="132" y="77"/>
                    <a:pt x="137" y="79"/>
                    <a:pt x="137" y="82"/>
                  </a:cubicBezTo>
                  <a:cubicBezTo>
                    <a:pt x="137" y="86"/>
                    <a:pt x="139" y="89"/>
                    <a:pt x="140" y="91"/>
                  </a:cubicBezTo>
                  <a:cubicBezTo>
                    <a:pt x="141" y="93"/>
                    <a:pt x="141" y="103"/>
                    <a:pt x="141" y="103"/>
                  </a:cubicBezTo>
                  <a:cubicBezTo>
                    <a:pt x="155" y="114"/>
                    <a:pt x="155" y="114"/>
                    <a:pt x="155" y="114"/>
                  </a:cubicBezTo>
                  <a:cubicBezTo>
                    <a:pt x="156" y="122"/>
                    <a:pt x="156" y="122"/>
                    <a:pt x="156" y="122"/>
                  </a:cubicBezTo>
                  <a:lnTo>
                    <a:pt x="157" y="126"/>
                  </a:lnTo>
                  <a:close/>
                </a:path>
              </a:pathLst>
            </a:custGeom>
            <a:grpFill/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" name="Freeform 71"/>
            <p:cNvSpPr>
              <a:spLocks/>
            </p:cNvSpPr>
            <p:nvPr/>
          </p:nvSpPr>
          <p:spPr bwMode="auto">
            <a:xfrm>
              <a:off x="352425" y="5105872"/>
              <a:ext cx="1057275" cy="852488"/>
            </a:xfrm>
            <a:custGeom>
              <a:avLst/>
              <a:gdLst>
                <a:gd name="T0" fmla="*/ 327 w 332"/>
                <a:gd name="T1" fmla="*/ 111 h 268"/>
                <a:gd name="T2" fmla="*/ 303 w 332"/>
                <a:gd name="T3" fmla="*/ 138 h 268"/>
                <a:gd name="T4" fmla="*/ 285 w 332"/>
                <a:gd name="T5" fmla="*/ 167 h 268"/>
                <a:gd name="T6" fmla="*/ 293 w 332"/>
                <a:gd name="T7" fmla="*/ 188 h 268"/>
                <a:gd name="T8" fmla="*/ 296 w 332"/>
                <a:gd name="T9" fmla="*/ 227 h 268"/>
                <a:gd name="T10" fmla="*/ 284 w 332"/>
                <a:gd name="T11" fmla="*/ 238 h 268"/>
                <a:gd name="T12" fmla="*/ 280 w 332"/>
                <a:gd name="T13" fmla="*/ 256 h 268"/>
                <a:gd name="T14" fmla="*/ 259 w 332"/>
                <a:gd name="T15" fmla="*/ 256 h 268"/>
                <a:gd name="T16" fmla="*/ 236 w 332"/>
                <a:gd name="T17" fmla="*/ 250 h 268"/>
                <a:gd name="T18" fmla="*/ 205 w 332"/>
                <a:gd name="T19" fmla="*/ 265 h 268"/>
                <a:gd name="T20" fmla="*/ 197 w 332"/>
                <a:gd name="T21" fmla="*/ 264 h 268"/>
                <a:gd name="T22" fmla="*/ 182 w 332"/>
                <a:gd name="T23" fmla="*/ 245 h 268"/>
                <a:gd name="T24" fmla="*/ 178 w 332"/>
                <a:gd name="T25" fmla="*/ 224 h 268"/>
                <a:gd name="T26" fmla="*/ 162 w 332"/>
                <a:gd name="T27" fmla="*/ 199 h 268"/>
                <a:gd name="T28" fmla="*/ 155 w 332"/>
                <a:gd name="T29" fmla="*/ 176 h 268"/>
                <a:gd name="T30" fmla="*/ 138 w 332"/>
                <a:gd name="T31" fmla="*/ 162 h 268"/>
                <a:gd name="T32" fmla="*/ 122 w 332"/>
                <a:gd name="T33" fmla="*/ 152 h 268"/>
                <a:gd name="T34" fmla="*/ 103 w 332"/>
                <a:gd name="T35" fmla="*/ 149 h 268"/>
                <a:gd name="T36" fmla="*/ 90 w 332"/>
                <a:gd name="T37" fmla="*/ 155 h 268"/>
                <a:gd name="T38" fmla="*/ 93 w 332"/>
                <a:gd name="T39" fmla="*/ 169 h 268"/>
                <a:gd name="T40" fmla="*/ 84 w 332"/>
                <a:gd name="T41" fmla="*/ 183 h 268"/>
                <a:gd name="T42" fmla="*/ 76 w 332"/>
                <a:gd name="T43" fmla="*/ 201 h 268"/>
                <a:gd name="T44" fmla="*/ 59 w 332"/>
                <a:gd name="T45" fmla="*/ 191 h 268"/>
                <a:gd name="T46" fmla="*/ 42 w 332"/>
                <a:gd name="T47" fmla="*/ 200 h 268"/>
                <a:gd name="T48" fmla="*/ 30 w 332"/>
                <a:gd name="T49" fmla="*/ 191 h 268"/>
                <a:gd name="T50" fmla="*/ 24 w 332"/>
                <a:gd name="T51" fmla="*/ 184 h 268"/>
                <a:gd name="T52" fmla="*/ 11 w 332"/>
                <a:gd name="T53" fmla="*/ 129 h 268"/>
                <a:gd name="T54" fmla="*/ 3 w 332"/>
                <a:gd name="T55" fmla="*/ 100 h 268"/>
                <a:gd name="T56" fmla="*/ 9 w 332"/>
                <a:gd name="T57" fmla="*/ 77 h 268"/>
                <a:gd name="T58" fmla="*/ 28 w 332"/>
                <a:gd name="T59" fmla="*/ 91 h 268"/>
                <a:gd name="T60" fmla="*/ 49 w 332"/>
                <a:gd name="T61" fmla="*/ 82 h 268"/>
                <a:gd name="T62" fmla="*/ 56 w 332"/>
                <a:gd name="T63" fmla="*/ 64 h 268"/>
                <a:gd name="T64" fmla="*/ 78 w 332"/>
                <a:gd name="T65" fmla="*/ 63 h 268"/>
                <a:gd name="T66" fmla="*/ 102 w 332"/>
                <a:gd name="T67" fmla="*/ 71 h 268"/>
                <a:gd name="T68" fmla="*/ 84 w 332"/>
                <a:gd name="T69" fmla="*/ 57 h 268"/>
                <a:gd name="T70" fmla="*/ 99 w 332"/>
                <a:gd name="T71" fmla="*/ 45 h 268"/>
                <a:gd name="T72" fmla="*/ 121 w 332"/>
                <a:gd name="T73" fmla="*/ 53 h 268"/>
                <a:gd name="T74" fmla="*/ 144 w 332"/>
                <a:gd name="T75" fmla="*/ 52 h 268"/>
                <a:gd name="T76" fmla="*/ 158 w 332"/>
                <a:gd name="T77" fmla="*/ 31 h 268"/>
                <a:gd name="T78" fmla="*/ 177 w 332"/>
                <a:gd name="T79" fmla="*/ 22 h 268"/>
                <a:gd name="T80" fmla="*/ 180 w 332"/>
                <a:gd name="T81" fmla="*/ 17 h 268"/>
                <a:gd name="T82" fmla="*/ 189 w 332"/>
                <a:gd name="T83" fmla="*/ 25 h 268"/>
                <a:gd name="T84" fmla="*/ 200 w 332"/>
                <a:gd name="T85" fmla="*/ 27 h 268"/>
                <a:gd name="T86" fmla="*/ 213 w 332"/>
                <a:gd name="T87" fmla="*/ 25 h 268"/>
                <a:gd name="T88" fmla="*/ 226 w 332"/>
                <a:gd name="T89" fmla="*/ 5 h 268"/>
                <a:gd name="T90" fmla="*/ 245 w 332"/>
                <a:gd name="T91" fmla="*/ 0 h 268"/>
                <a:gd name="T92" fmla="*/ 260 w 332"/>
                <a:gd name="T93" fmla="*/ 9 h 268"/>
                <a:gd name="T94" fmla="*/ 270 w 332"/>
                <a:gd name="T95" fmla="*/ 27 h 268"/>
                <a:gd name="T96" fmla="*/ 286 w 332"/>
                <a:gd name="T97" fmla="*/ 32 h 268"/>
                <a:gd name="T98" fmla="*/ 292 w 332"/>
                <a:gd name="T99" fmla="*/ 35 h 268"/>
                <a:gd name="T100" fmla="*/ 305 w 332"/>
                <a:gd name="T101" fmla="*/ 58 h 268"/>
                <a:gd name="T102" fmla="*/ 304 w 332"/>
                <a:gd name="T103" fmla="*/ 72 h 268"/>
                <a:gd name="T104" fmla="*/ 314 w 332"/>
                <a:gd name="T105" fmla="*/ 72 h 268"/>
                <a:gd name="T106" fmla="*/ 319 w 332"/>
                <a:gd name="T107" fmla="*/ 82 h 268"/>
                <a:gd name="T108" fmla="*/ 326 w 332"/>
                <a:gd name="T109" fmla="*/ 90 h 268"/>
                <a:gd name="T110" fmla="*/ 332 w 332"/>
                <a:gd name="T111" fmla="*/ 107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2" h="268">
                  <a:moveTo>
                    <a:pt x="332" y="107"/>
                  </a:moveTo>
                  <a:cubicBezTo>
                    <a:pt x="330" y="108"/>
                    <a:pt x="329" y="110"/>
                    <a:pt x="327" y="111"/>
                  </a:cubicBezTo>
                  <a:cubicBezTo>
                    <a:pt x="322" y="117"/>
                    <a:pt x="318" y="113"/>
                    <a:pt x="312" y="118"/>
                  </a:cubicBezTo>
                  <a:cubicBezTo>
                    <a:pt x="305" y="123"/>
                    <a:pt x="307" y="131"/>
                    <a:pt x="303" y="138"/>
                  </a:cubicBezTo>
                  <a:cubicBezTo>
                    <a:pt x="300" y="146"/>
                    <a:pt x="292" y="140"/>
                    <a:pt x="284" y="146"/>
                  </a:cubicBezTo>
                  <a:cubicBezTo>
                    <a:pt x="275" y="152"/>
                    <a:pt x="281" y="159"/>
                    <a:pt x="285" y="167"/>
                  </a:cubicBezTo>
                  <a:cubicBezTo>
                    <a:pt x="289" y="175"/>
                    <a:pt x="276" y="174"/>
                    <a:pt x="279" y="180"/>
                  </a:cubicBezTo>
                  <a:cubicBezTo>
                    <a:pt x="281" y="185"/>
                    <a:pt x="289" y="186"/>
                    <a:pt x="293" y="188"/>
                  </a:cubicBezTo>
                  <a:cubicBezTo>
                    <a:pt x="298" y="191"/>
                    <a:pt x="297" y="198"/>
                    <a:pt x="297" y="203"/>
                  </a:cubicBezTo>
                  <a:cubicBezTo>
                    <a:pt x="297" y="208"/>
                    <a:pt x="296" y="213"/>
                    <a:pt x="296" y="227"/>
                  </a:cubicBezTo>
                  <a:cubicBezTo>
                    <a:pt x="296" y="240"/>
                    <a:pt x="289" y="238"/>
                    <a:pt x="288" y="235"/>
                  </a:cubicBezTo>
                  <a:cubicBezTo>
                    <a:pt x="288" y="232"/>
                    <a:pt x="280" y="231"/>
                    <a:pt x="284" y="238"/>
                  </a:cubicBezTo>
                  <a:cubicBezTo>
                    <a:pt x="287" y="242"/>
                    <a:pt x="289" y="250"/>
                    <a:pt x="290" y="255"/>
                  </a:cubicBezTo>
                  <a:cubicBezTo>
                    <a:pt x="288" y="256"/>
                    <a:pt x="283" y="257"/>
                    <a:pt x="280" y="256"/>
                  </a:cubicBezTo>
                  <a:cubicBezTo>
                    <a:pt x="276" y="256"/>
                    <a:pt x="274" y="259"/>
                    <a:pt x="268" y="259"/>
                  </a:cubicBezTo>
                  <a:cubicBezTo>
                    <a:pt x="262" y="259"/>
                    <a:pt x="269" y="258"/>
                    <a:pt x="259" y="256"/>
                  </a:cubicBezTo>
                  <a:cubicBezTo>
                    <a:pt x="249" y="255"/>
                    <a:pt x="247" y="255"/>
                    <a:pt x="244" y="253"/>
                  </a:cubicBezTo>
                  <a:cubicBezTo>
                    <a:pt x="242" y="250"/>
                    <a:pt x="242" y="249"/>
                    <a:pt x="236" y="250"/>
                  </a:cubicBezTo>
                  <a:cubicBezTo>
                    <a:pt x="230" y="251"/>
                    <a:pt x="227" y="257"/>
                    <a:pt x="228" y="257"/>
                  </a:cubicBezTo>
                  <a:cubicBezTo>
                    <a:pt x="219" y="259"/>
                    <a:pt x="212" y="264"/>
                    <a:pt x="205" y="265"/>
                  </a:cubicBezTo>
                  <a:cubicBezTo>
                    <a:pt x="202" y="266"/>
                    <a:pt x="200" y="266"/>
                    <a:pt x="198" y="268"/>
                  </a:cubicBezTo>
                  <a:cubicBezTo>
                    <a:pt x="197" y="264"/>
                    <a:pt x="197" y="264"/>
                    <a:pt x="197" y="264"/>
                  </a:cubicBezTo>
                  <a:cubicBezTo>
                    <a:pt x="196" y="256"/>
                    <a:pt x="196" y="256"/>
                    <a:pt x="196" y="256"/>
                  </a:cubicBezTo>
                  <a:cubicBezTo>
                    <a:pt x="182" y="245"/>
                    <a:pt x="182" y="245"/>
                    <a:pt x="182" y="245"/>
                  </a:cubicBezTo>
                  <a:cubicBezTo>
                    <a:pt x="182" y="245"/>
                    <a:pt x="182" y="235"/>
                    <a:pt x="181" y="233"/>
                  </a:cubicBezTo>
                  <a:cubicBezTo>
                    <a:pt x="180" y="231"/>
                    <a:pt x="178" y="228"/>
                    <a:pt x="178" y="224"/>
                  </a:cubicBezTo>
                  <a:cubicBezTo>
                    <a:pt x="178" y="221"/>
                    <a:pt x="173" y="219"/>
                    <a:pt x="172" y="212"/>
                  </a:cubicBezTo>
                  <a:cubicBezTo>
                    <a:pt x="170" y="206"/>
                    <a:pt x="162" y="203"/>
                    <a:pt x="162" y="199"/>
                  </a:cubicBezTo>
                  <a:cubicBezTo>
                    <a:pt x="162" y="195"/>
                    <a:pt x="166" y="190"/>
                    <a:pt x="163" y="185"/>
                  </a:cubicBezTo>
                  <a:cubicBezTo>
                    <a:pt x="159" y="181"/>
                    <a:pt x="158" y="184"/>
                    <a:pt x="155" y="176"/>
                  </a:cubicBezTo>
                  <a:cubicBezTo>
                    <a:pt x="152" y="169"/>
                    <a:pt x="152" y="166"/>
                    <a:pt x="149" y="164"/>
                  </a:cubicBezTo>
                  <a:cubicBezTo>
                    <a:pt x="146" y="163"/>
                    <a:pt x="141" y="165"/>
                    <a:pt x="138" y="162"/>
                  </a:cubicBezTo>
                  <a:cubicBezTo>
                    <a:pt x="134" y="159"/>
                    <a:pt x="134" y="155"/>
                    <a:pt x="130" y="155"/>
                  </a:cubicBezTo>
                  <a:cubicBezTo>
                    <a:pt x="126" y="156"/>
                    <a:pt x="125" y="157"/>
                    <a:pt x="122" y="152"/>
                  </a:cubicBezTo>
                  <a:cubicBezTo>
                    <a:pt x="118" y="146"/>
                    <a:pt x="118" y="143"/>
                    <a:pt x="114" y="144"/>
                  </a:cubicBezTo>
                  <a:cubicBezTo>
                    <a:pt x="110" y="145"/>
                    <a:pt x="107" y="150"/>
                    <a:pt x="103" y="149"/>
                  </a:cubicBezTo>
                  <a:cubicBezTo>
                    <a:pt x="99" y="148"/>
                    <a:pt x="96" y="142"/>
                    <a:pt x="92" y="146"/>
                  </a:cubicBezTo>
                  <a:cubicBezTo>
                    <a:pt x="88" y="150"/>
                    <a:pt x="92" y="153"/>
                    <a:pt x="90" y="155"/>
                  </a:cubicBezTo>
                  <a:cubicBezTo>
                    <a:pt x="87" y="157"/>
                    <a:pt x="91" y="161"/>
                    <a:pt x="92" y="163"/>
                  </a:cubicBezTo>
                  <a:cubicBezTo>
                    <a:pt x="94" y="164"/>
                    <a:pt x="94" y="167"/>
                    <a:pt x="93" y="169"/>
                  </a:cubicBezTo>
                  <a:cubicBezTo>
                    <a:pt x="92" y="171"/>
                    <a:pt x="96" y="175"/>
                    <a:pt x="95" y="177"/>
                  </a:cubicBezTo>
                  <a:cubicBezTo>
                    <a:pt x="94" y="178"/>
                    <a:pt x="84" y="183"/>
                    <a:pt x="84" y="183"/>
                  </a:cubicBezTo>
                  <a:cubicBezTo>
                    <a:pt x="84" y="183"/>
                    <a:pt x="85" y="191"/>
                    <a:pt x="83" y="195"/>
                  </a:cubicBezTo>
                  <a:cubicBezTo>
                    <a:pt x="82" y="198"/>
                    <a:pt x="78" y="201"/>
                    <a:pt x="76" y="201"/>
                  </a:cubicBezTo>
                  <a:cubicBezTo>
                    <a:pt x="73" y="201"/>
                    <a:pt x="68" y="200"/>
                    <a:pt x="66" y="199"/>
                  </a:cubicBezTo>
                  <a:cubicBezTo>
                    <a:pt x="65" y="197"/>
                    <a:pt x="62" y="190"/>
                    <a:pt x="59" y="191"/>
                  </a:cubicBezTo>
                  <a:cubicBezTo>
                    <a:pt x="57" y="191"/>
                    <a:pt x="52" y="195"/>
                    <a:pt x="51" y="196"/>
                  </a:cubicBezTo>
                  <a:cubicBezTo>
                    <a:pt x="50" y="196"/>
                    <a:pt x="45" y="198"/>
                    <a:pt x="42" y="200"/>
                  </a:cubicBezTo>
                  <a:cubicBezTo>
                    <a:pt x="42" y="200"/>
                    <a:pt x="42" y="200"/>
                    <a:pt x="41" y="201"/>
                  </a:cubicBezTo>
                  <a:cubicBezTo>
                    <a:pt x="37" y="197"/>
                    <a:pt x="32" y="194"/>
                    <a:pt x="30" y="191"/>
                  </a:cubicBezTo>
                  <a:cubicBezTo>
                    <a:pt x="28" y="190"/>
                    <a:pt x="26" y="191"/>
                    <a:pt x="24" y="193"/>
                  </a:cubicBezTo>
                  <a:cubicBezTo>
                    <a:pt x="24" y="190"/>
                    <a:pt x="24" y="187"/>
                    <a:pt x="24" y="184"/>
                  </a:cubicBezTo>
                  <a:cubicBezTo>
                    <a:pt x="24" y="177"/>
                    <a:pt x="24" y="161"/>
                    <a:pt x="23" y="154"/>
                  </a:cubicBezTo>
                  <a:cubicBezTo>
                    <a:pt x="22" y="147"/>
                    <a:pt x="12" y="133"/>
                    <a:pt x="11" y="129"/>
                  </a:cubicBezTo>
                  <a:cubicBezTo>
                    <a:pt x="11" y="125"/>
                    <a:pt x="15" y="118"/>
                    <a:pt x="10" y="113"/>
                  </a:cubicBezTo>
                  <a:cubicBezTo>
                    <a:pt x="5" y="109"/>
                    <a:pt x="1" y="105"/>
                    <a:pt x="3" y="100"/>
                  </a:cubicBezTo>
                  <a:cubicBezTo>
                    <a:pt x="5" y="94"/>
                    <a:pt x="8" y="91"/>
                    <a:pt x="4" y="88"/>
                  </a:cubicBezTo>
                  <a:cubicBezTo>
                    <a:pt x="0" y="84"/>
                    <a:pt x="6" y="77"/>
                    <a:pt x="9" y="77"/>
                  </a:cubicBezTo>
                  <a:cubicBezTo>
                    <a:pt x="12" y="77"/>
                    <a:pt x="16" y="81"/>
                    <a:pt x="17" y="87"/>
                  </a:cubicBezTo>
                  <a:cubicBezTo>
                    <a:pt x="19" y="92"/>
                    <a:pt x="27" y="96"/>
                    <a:pt x="28" y="91"/>
                  </a:cubicBezTo>
                  <a:cubicBezTo>
                    <a:pt x="29" y="86"/>
                    <a:pt x="29" y="83"/>
                    <a:pt x="34" y="84"/>
                  </a:cubicBezTo>
                  <a:cubicBezTo>
                    <a:pt x="39" y="84"/>
                    <a:pt x="45" y="85"/>
                    <a:pt x="49" y="82"/>
                  </a:cubicBezTo>
                  <a:cubicBezTo>
                    <a:pt x="53" y="79"/>
                    <a:pt x="62" y="91"/>
                    <a:pt x="60" y="82"/>
                  </a:cubicBezTo>
                  <a:cubicBezTo>
                    <a:pt x="58" y="74"/>
                    <a:pt x="54" y="68"/>
                    <a:pt x="56" y="64"/>
                  </a:cubicBezTo>
                  <a:cubicBezTo>
                    <a:pt x="59" y="60"/>
                    <a:pt x="70" y="59"/>
                    <a:pt x="70" y="65"/>
                  </a:cubicBezTo>
                  <a:cubicBezTo>
                    <a:pt x="71" y="71"/>
                    <a:pt x="77" y="65"/>
                    <a:pt x="78" y="63"/>
                  </a:cubicBezTo>
                  <a:cubicBezTo>
                    <a:pt x="80" y="62"/>
                    <a:pt x="85" y="68"/>
                    <a:pt x="88" y="69"/>
                  </a:cubicBezTo>
                  <a:cubicBezTo>
                    <a:pt x="90" y="71"/>
                    <a:pt x="102" y="75"/>
                    <a:pt x="102" y="71"/>
                  </a:cubicBezTo>
                  <a:cubicBezTo>
                    <a:pt x="103" y="67"/>
                    <a:pt x="92" y="61"/>
                    <a:pt x="86" y="58"/>
                  </a:cubicBezTo>
                  <a:cubicBezTo>
                    <a:pt x="85" y="58"/>
                    <a:pt x="85" y="57"/>
                    <a:pt x="84" y="57"/>
                  </a:cubicBezTo>
                  <a:cubicBezTo>
                    <a:pt x="86" y="54"/>
                    <a:pt x="89" y="51"/>
                    <a:pt x="90" y="49"/>
                  </a:cubicBezTo>
                  <a:cubicBezTo>
                    <a:pt x="92" y="45"/>
                    <a:pt x="93" y="44"/>
                    <a:pt x="99" y="45"/>
                  </a:cubicBezTo>
                  <a:cubicBezTo>
                    <a:pt x="105" y="47"/>
                    <a:pt x="105" y="48"/>
                    <a:pt x="110" y="47"/>
                  </a:cubicBezTo>
                  <a:cubicBezTo>
                    <a:pt x="115" y="46"/>
                    <a:pt x="118" y="49"/>
                    <a:pt x="121" y="53"/>
                  </a:cubicBezTo>
                  <a:cubicBezTo>
                    <a:pt x="124" y="58"/>
                    <a:pt x="127" y="60"/>
                    <a:pt x="131" y="61"/>
                  </a:cubicBezTo>
                  <a:cubicBezTo>
                    <a:pt x="135" y="63"/>
                    <a:pt x="141" y="55"/>
                    <a:pt x="144" y="52"/>
                  </a:cubicBezTo>
                  <a:cubicBezTo>
                    <a:pt x="148" y="49"/>
                    <a:pt x="150" y="43"/>
                    <a:pt x="151" y="39"/>
                  </a:cubicBezTo>
                  <a:cubicBezTo>
                    <a:pt x="152" y="35"/>
                    <a:pt x="153" y="35"/>
                    <a:pt x="158" y="31"/>
                  </a:cubicBezTo>
                  <a:cubicBezTo>
                    <a:pt x="162" y="26"/>
                    <a:pt x="164" y="30"/>
                    <a:pt x="169" y="30"/>
                  </a:cubicBezTo>
                  <a:cubicBezTo>
                    <a:pt x="174" y="30"/>
                    <a:pt x="175" y="28"/>
                    <a:pt x="177" y="22"/>
                  </a:cubicBezTo>
                  <a:cubicBezTo>
                    <a:pt x="177" y="20"/>
                    <a:pt x="177" y="19"/>
                    <a:pt x="177" y="18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89" y="25"/>
                    <a:pt x="192" y="30"/>
                    <a:pt x="194" y="30"/>
                  </a:cubicBezTo>
                  <a:cubicBezTo>
                    <a:pt x="196" y="30"/>
                    <a:pt x="200" y="29"/>
                    <a:pt x="200" y="27"/>
                  </a:cubicBezTo>
                  <a:cubicBezTo>
                    <a:pt x="200" y="26"/>
                    <a:pt x="203" y="25"/>
                    <a:pt x="203" y="25"/>
                  </a:cubicBezTo>
                  <a:cubicBezTo>
                    <a:pt x="213" y="25"/>
                    <a:pt x="213" y="25"/>
                    <a:pt x="213" y="25"/>
                  </a:cubicBezTo>
                  <a:cubicBezTo>
                    <a:pt x="213" y="25"/>
                    <a:pt x="226" y="14"/>
                    <a:pt x="226" y="11"/>
                  </a:cubicBezTo>
                  <a:cubicBezTo>
                    <a:pt x="225" y="9"/>
                    <a:pt x="226" y="5"/>
                    <a:pt x="226" y="5"/>
                  </a:cubicBezTo>
                  <a:cubicBezTo>
                    <a:pt x="239" y="4"/>
                    <a:pt x="239" y="4"/>
                    <a:pt x="239" y="4"/>
                  </a:cubicBezTo>
                  <a:cubicBezTo>
                    <a:pt x="239" y="4"/>
                    <a:pt x="242" y="0"/>
                    <a:pt x="245" y="0"/>
                  </a:cubicBezTo>
                  <a:cubicBezTo>
                    <a:pt x="248" y="0"/>
                    <a:pt x="254" y="1"/>
                    <a:pt x="254" y="4"/>
                  </a:cubicBezTo>
                  <a:cubicBezTo>
                    <a:pt x="254" y="7"/>
                    <a:pt x="259" y="8"/>
                    <a:pt x="260" y="9"/>
                  </a:cubicBezTo>
                  <a:cubicBezTo>
                    <a:pt x="260" y="9"/>
                    <a:pt x="268" y="9"/>
                    <a:pt x="268" y="9"/>
                  </a:cubicBezTo>
                  <a:cubicBezTo>
                    <a:pt x="270" y="27"/>
                    <a:pt x="270" y="27"/>
                    <a:pt x="270" y="27"/>
                  </a:cubicBezTo>
                  <a:cubicBezTo>
                    <a:pt x="270" y="27"/>
                    <a:pt x="275" y="26"/>
                    <a:pt x="278" y="28"/>
                  </a:cubicBezTo>
                  <a:cubicBezTo>
                    <a:pt x="282" y="31"/>
                    <a:pt x="286" y="32"/>
                    <a:pt x="286" y="32"/>
                  </a:cubicBezTo>
                  <a:cubicBezTo>
                    <a:pt x="286" y="37"/>
                    <a:pt x="286" y="37"/>
                    <a:pt x="286" y="37"/>
                  </a:cubicBezTo>
                  <a:cubicBezTo>
                    <a:pt x="292" y="35"/>
                    <a:pt x="292" y="35"/>
                    <a:pt x="292" y="35"/>
                  </a:cubicBezTo>
                  <a:cubicBezTo>
                    <a:pt x="305" y="47"/>
                    <a:pt x="305" y="47"/>
                    <a:pt x="305" y="47"/>
                  </a:cubicBezTo>
                  <a:cubicBezTo>
                    <a:pt x="305" y="58"/>
                    <a:pt x="305" y="58"/>
                    <a:pt x="305" y="58"/>
                  </a:cubicBezTo>
                  <a:cubicBezTo>
                    <a:pt x="298" y="66"/>
                    <a:pt x="298" y="66"/>
                    <a:pt x="298" y="66"/>
                  </a:cubicBezTo>
                  <a:cubicBezTo>
                    <a:pt x="304" y="72"/>
                    <a:pt x="304" y="72"/>
                    <a:pt x="304" y="72"/>
                  </a:cubicBezTo>
                  <a:cubicBezTo>
                    <a:pt x="308" y="69"/>
                    <a:pt x="308" y="69"/>
                    <a:pt x="308" y="69"/>
                  </a:cubicBezTo>
                  <a:cubicBezTo>
                    <a:pt x="314" y="72"/>
                    <a:pt x="314" y="72"/>
                    <a:pt x="314" y="72"/>
                  </a:cubicBezTo>
                  <a:cubicBezTo>
                    <a:pt x="315" y="79"/>
                    <a:pt x="315" y="79"/>
                    <a:pt x="315" y="79"/>
                  </a:cubicBezTo>
                  <a:cubicBezTo>
                    <a:pt x="319" y="82"/>
                    <a:pt x="319" y="82"/>
                    <a:pt x="319" y="82"/>
                  </a:cubicBezTo>
                  <a:cubicBezTo>
                    <a:pt x="325" y="83"/>
                    <a:pt x="325" y="83"/>
                    <a:pt x="325" y="83"/>
                  </a:cubicBezTo>
                  <a:cubicBezTo>
                    <a:pt x="326" y="90"/>
                    <a:pt x="326" y="90"/>
                    <a:pt x="326" y="90"/>
                  </a:cubicBezTo>
                  <a:cubicBezTo>
                    <a:pt x="331" y="94"/>
                    <a:pt x="331" y="94"/>
                    <a:pt x="331" y="94"/>
                  </a:cubicBezTo>
                  <a:lnTo>
                    <a:pt x="332" y="107"/>
                  </a:lnTo>
                  <a:close/>
                </a:path>
              </a:pathLst>
            </a:custGeom>
            <a:grpFill/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" name="Freeform 73"/>
            <p:cNvSpPr>
              <a:spLocks/>
            </p:cNvSpPr>
            <p:nvPr/>
          </p:nvSpPr>
          <p:spPr bwMode="auto">
            <a:xfrm>
              <a:off x="687388" y="4089872"/>
              <a:ext cx="1339850" cy="1111250"/>
            </a:xfrm>
            <a:custGeom>
              <a:avLst/>
              <a:gdLst>
                <a:gd name="T0" fmla="*/ 63 w 421"/>
                <a:gd name="T1" fmla="*/ 316 h 349"/>
                <a:gd name="T2" fmla="*/ 45 w 421"/>
                <a:gd name="T3" fmla="*/ 294 h 349"/>
                <a:gd name="T4" fmla="*/ 35 w 421"/>
                <a:gd name="T5" fmla="*/ 266 h 349"/>
                <a:gd name="T6" fmla="*/ 17 w 421"/>
                <a:gd name="T7" fmla="*/ 236 h 349"/>
                <a:gd name="T8" fmla="*/ 18 w 421"/>
                <a:gd name="T9" fmla="*/ 202 h 349"/>
                <a:gd name="T10" fmla="*/ 34 w 421"/>
                <a:gd name="T11" fmla="*/ 176 h 349"/>
                <a:gd name="T12" fmla="*/ 17 w 421"/>
                <a:gd name="T13" fmla="*/ 147 h 349"/>
                <a:gd name="T14" fmla="*/ 0 w 421"/>
                <a:gd name="T15" fmla="*/ 135 h 349"/>
                <a:gd name="T16" fmla="*/ 22 w 421"/>
                <a:gd name="T17" fmla="*/ 101 h 349"/>
                <a:gd name="T18" fmla="*/ 51 w 421"/>
                <a:gd name="T19" fmla="*/ 109 h 349"/>
                <a:gd name="T20" fmla="*/ 52 w 421"/>
                <a:gd name="T21" fmla="*/ 84 h 349"/>
                <a:gd name="T22" fmla="*/ 58 w 421"/>
                <a:gd name="T23" fmla="*/ 51 h 349"/>
                <a:gd name="T24" fmla="*/ 82 w 421"/>
                <a:gd name="T25" fmla="*/ 32 h 349"/>
                <a:gd name="T26" fmla="*/ 96 w 421"/>
                <a:gd name="T27" fmla="*/ 31 h 349"/>
                <a:gd name="T28" fmla="*/ 107 w 421"/>
                <a:gd name="T29" fmla="*/ 10 h 349"/>
                <a:gd name="T30" fmla="*/ 122 w 421"/>
                <a:gd name="T31" fmla="*/ 5 h 349"/>
                <a:gd name="T32" fmla="*/ 146 w 421"/>
                <a:gd name="T33" fmla="*/ 10 h 349"/>
                <a:gd name="T34" fmla="*/ 163 w 421"/>
                <a:gd name="T35" fmla="*/ 18 h 349"/>
                <a:gd name="T36" fmla="*/ 180 w 421"/>
                <a:gd name="T37" fmla="*/ 14 h 349"/>
                <a:gd name="T38" fmla="*/ 196 w 421"/>
                <a:gd name="T39" fmla="*/ 17 h 349"/>
                <a:gd name="T40" fmla="*/ 212 w 421"/>
                <a:gd name="T41" fmla="*/ 29 h 349"/>
                <a:gd name="T42" fmla="*/ 236 w 421"/>
                <a:gd name="T43" fmla="*/ 36 h 349"/>
                <a:gd name="T44" fmla="*/ 268 w 421"/>
                <a:gd name="T45" fmla="*/ 52 h 349"/>
                <a:gd name="T46" fmla="*/ 293 w 421"/>
                <a:gd name="T47" fmla="*/ 69 h 349"/>
                <a:gd name="T48" fmla="*/ 321 w 421"/>
                <a:gd name="T49" fmla="*/ 90 h 349"/>
                <a:gd name="T50" fmla="*/ 350 w 421"/>
                <a:gd name="T51" fmla="*/ 102 h 349"/>
                <a:gd name="T52" fmla="*/ 371 w 421"/>
                <a:gd name="T53" fmla="*/ 121 h 349"/>
                <a:gd name="T54" fmla="*/ 397 w 421"/>
                <a:gd name="T55" fmla="*/ 134 h 349"/>
                <a:gd name="T56" fmla="*/ 421 w 421"/>
                <a:gd name="T57" fmla="*/ 137 h 349"/>
                <a:gd name="T58" fmla="*/ 404 w 421"/>
                <a:gd name="T59" fmla="*/ 163 h 349"/>
                <a:gd name="T60" fmla="*/ 383 w 421"/>
                <a:gd name="T61" fmla="*/ 167 h 349"/>
                <a:gd name="T62" fmla="*/ 363 w 421"/>
                <a:gd name="T63" fmla="*/ 170 h 349"/>
                <a:gd name="T64" fmla="*/ 341 w 421"/>
                <a:gd name="T65" fmla="*/ 165 h 349"/>
                <a:gd name="T66" fmla="*/ 327 w 421"/>
                <a:gd name="T67" fmla="*/ 166 h 349"/>
                <a:gd name="T68" fmla="*/ 300 w 421"/>
                <a:gd name="T69" fmla="*/ 175 h 349"/>
                <a:gd name="T70" fmla="*/ 287 w 421"/>
                <a:gd name="T71" fmla="*/ 182 h 349"/>
                <a:gd name="T72" fmla="*/ 262 w 421"/>
                <a:gd name="T73" fmla="*/ 192 h 349"/>
                <a:gd name="T74" fmla="*/ 243 w 421"/>
                <a:gd name="T75" fmla="*/ 199 h 349"/>
                <a:gd name="T76" fmla="*/ 243 w 421"/>
                <a:gd name="T77" fmla="*/ 220 h 349"/>
                <a:gd name="T78" fmla="*/ 228 w 421"/>
                <a:gd name="T79" fmla="*/ 239 h 349"/>
                <a:gd name="T80" fmla="*/ 217 w 421"/>
                <a:gd name="T81" fmla="*/ 248 h 349"/>
                <a:gd name="T82" fmla="*/ 202 w 421"/>
                <a:gd name="T83" fmla="*/ 263 h 349"/>
                <a:gd name="T84" fmla="*/ 203 w 421"/>
                <a:gd name="T85" fmla="*/ 296 h 349"/>
                <a:gd name="T86" fmla="*/ 172 w 421"/>
                <a:gd name="T87" fmla="*/ 314 h 349"/>
                <a:gd name="T88" fmla="*/ 162 w 421"/>
                <a:gd name="T89" fmla="*/ 328 h 349"/>
                <a:gd name="T90" fmla="*/ 140 w 421"/>
                <a:gd name="T91" fmla="*/ 319 h 349"/>
                <a:gd name="T92" fmla="*/ 121 w 421"/>
                <a:gd name="T93" fmla="*/ 330 h 349"/>
                <a:gd name="T94" fmla="*/ 95 w 421"/>
                <a:gd name="T95" fmla="*/ 346 h 349"/>
                <a:gd name="T96" fmla="*/ 77 w 421"/>
                <a:gd name="T97" fmla="*/ 3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349">
                  <a:moveTo>
                    <a:pt x="72" y="337"/>
                  </a:moveTo>
                  <a:cubicBezTo>
                    <a:pt x="71" y="334"/>
                    <a:pt x="67" y="332"/>
                    <a:pt x="68" y="329"/>
                  </a:cubicBezTo>
                  <a:cubicBezTo>
                    <a:pt x="68" y="325"/>
                    <a:pt x="65" y="318"/>
                    <a:pt x="63" y="316"/>
                  </a:cubicBezTo>
                  <a:cubicBezTo>
                    <a:pt x="61" y="314"/>
                    <a:pt x="59" y="312"/>
                    <a:pt x="57" y="307"/>
                  </a:cubicBezTo>
                  <a:cubicBezTo>
                    <a:pt x="55" y="303"/>
                    <a:pt x="55" y="303"/>
                    <a:pt x="54" y="298"/>
                  </a:cubicBezTo>
                  <a:cubicBezTo>
                    <a:pt x="54" y="293"/>
                    <a:pt x="48" y="297"/>
                    <a:pt x="45" y="294"/>
                  </a:cubicBezTo>
                  <a:cubicBezTo>
                    <a:pt x="41" y="291"/>
                    <a:pt x="43" y="289"/>
                    <a:pt x="43" y="285"/>
                  </a:cubicBezTo>
                  <a:cubicBezTo>
                    <a:pt x="43" y="281"/>
                    <a:pt x="47" y="279"/>
                    <a:pt x="47" y="273"/>
                  </a:cubicBezTo>
                  <a:cubicBezTo>
                    <a:pt x="48" y="267"/>
                    <a:pt x="41" y="268"/>
                    <a:pt x="35" y="266"/>
                  </a:cubicBezTo>
                  <a:cubicBezTo>
                    <a:pt x="30" y="263"/>
                    <a:pt x="25" y="260"/>
                    <a:pt x="25" y="255"/>
                  </a:cubicBezTo>
                  <a:cubicBezTo>
                    <a:pt x="25" y="250"/>
                    <a:pt x="25" y="245"/>
                    <a:pt x="21" y="245"/>
                  </a:cubicBezTo>
                  <a:cubicBezTo>
                    <a:pt x="18" y="245"/>
                    <a:pt x="17" y="240"/>
                    <a:pt x="17" y="236"/>
                  </a:cubicBezTo>
                  <a:cubicBezTo>
                    <a:pt x="17" y="232"/>
                    <a:pt x="21" y="230"/>
                    <a:pt x="23" y="227"/>
                  </a:cubicBezTo>
                  <a:cubicBezTo>
                    <a:pt x="25" y="225"/>
                    <a:pt x="26" y="216"/>
                    <a:pt x="26" y="212"/>
                  </a:cubicBezTo>
                  <a:cubicBezTo>
                    <a:pt x="26" y="209"/>
                    <a:pt x="21" y="205"/>
                    <a:pt x="18" y="202"/>
                  </a:cubicBezTo>
                  <a:cubicBezTo>
                    <a:pt x="16" y="200"/>
                    <a:pt x="19" y="192"/>
                    <a:pt x="22" y="187"/>
                  </a:cubicBezTo>
                  <a:cubicBezTo>
                    <a:pt x="25" y="181"/>
                    <a:pt x="25" y="183"/>
                    <a:pt x="30" y="185"/>
                  </a:cubicBezTo>
                  <a:cubicBezTo>
                    <a:pt x="34" y="188"/>
                    <a:pt x="31" y="180"/>
                    <a:pt x="34" y="176"/>
                  </a:cubicBezTo>
                  <a:cubicBezTo>
                    <a:pt x="38" y="171"/>
                    <a:pt x="38" y="165"/>
                    <a:pt x="37" y="160"/>
                  </a:cubicBezTo>
                  <a:cubicBezTo>
                    <a:pt x="36" y="155"/>
                    <a:pt x="31" y="155"/>
                    <a:pt x="28" y="151"/>
                  </a:cubicBezTo>
                  <a:cubicBezTo>
                    <a:pt x="25" y="148"/>
                    <a:pt x="18" y="151"/>
                    <a:pt x="17" y="147"/>
                  </a:cubicBezTo>
                  <a:cubicBezTo>
                    <a:pt x="16" y="144"/>
                    <a:pt x="14" y="140"/>
                    <a:pt x="13" y="140"/>
                  </a:cubicBezTo>
                  <a:cubicBezTo>
                    <a:pt x="12" y="140"/>
                    <a:pt x="10" y="140"/>
                    <a:pt x="6" y="140"/>
                  </a:cubicBezTo>
                  <a:cubicBezTo>
                    <a:pt x="2" y="141"/>
                    <a:pt x="0" y="140"/>
                    <a:pt x="0" y="135"/>
                  </a:cubicBezTo>
                  <a:cubicBezTo>
                    <a:pt x="0" y="130"/>
                    <a:pt x="5" y="127"/>
                    <a:pt x="5" y="123"/>
                  </a:cubicBezTo>
                  <a:cubicBezTo>
                    <a:pt x="6" y="119"/>
                    <a:pt x="15" y="118"/>
                    <a:pt x="15" y="109"/>
                  </a:cubicBezTo>
                  <a:cubicBezTo>
                    <a:pt x="15" y="100"/>
                    <a:pt x="18" y="101"/>
                    <a:pt x="22" y="101"/>
                  </a:cubicBezTo>
                  <a:cubicBezTo>
                    <a:pt x="27" y="102"/>
                    <a:pt x="29" y="103"/>
                    <a:pt x="29" y="110"/>
                  </a:cubicBezTo>
                  <a:cubicBezTo>
                    <a:pt x="29" y="118"/>
                    <a:pt x="36" y="116"/>
                    <a:pt x="42" y="116"/>
                  </a:cubicBezTo>
                  <a:cubicBezTo>
                    <a:pt x="48" y="116"/>
                    <a:pt x="50" y="116"/>
                    <a:pt x="51" y="109"/>
                  </a:cubicBezTo>
                  <a:cubicBezTo>
                    <a:pt x="52" y="102"/>
                    <a:pt x="53" y="103"/>
                    <a:pt x="53" y="100"/>
                  </a:cubicBezTo>
                  <a:cubicBezTo>
                    <a:pt x="52" y="96"/>
                    <a:pt x="47" y="95"/>
                    <a:pt x="46" y="91"/>
                  </a:cubicBezTo>
                  <a:cubicBezTo>
                    <a:pt x="45" y="86"/>
                    <a:pt x="52" y="87"/>
                    <a:pt x="52" y="84"/>
                  </a:cubicBezTo>
                  <a:cubicBezTo>
                    <a:pt x="52" y="81"/>
                    <a:pt x="50" y="78"/>
                    <a:pt x="50" y="74"/>
                  </a:cubicBezTo>
                  <a:cubicBezTo>
                    <a:pt x="50" y="71"/>
                    <a:pt x="55" y="65"/>
                    <a:pt x="58" y="63"/>
                  </a:cubicBezTo>
                  <a:cubicBezTo>
                    <a:pt x="60" y="61"/>
                    <a:pt x="58" y="54"/>
                    <a:pt x="58" y="51"/>
                  </a:cubicBezTo>
                  <a:cubicBezTo>
                    <a:pt x="59" y="48"/>
                    <a:pt x="67" y="47"/>
                    <a:pt x="71" y="47"/>
                  </a:cubicBezTo>
                  <a:cubicBezTo>
                    <a:pt x="75" y="46"/>
                    <a:pt x="71" y="39"/>
                    <a:pt x="78" y="36"/>
                  </a:cubicBezTo>
                  <a:cubicBezTo>
                    <a:pt x="81" y="34"/>
                    <a:pt x="82" y="33"/>
                    <a:pt x="82" y="32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35" y="7"/>
                    <a:pt x="135" y="7"/>
                    <a:pt x="135" y="7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6" y="10"/>
                    <a:pt x="146" y="10"/>
                    <a:pt x="146" y="10"/>
                  </a:cubicBezTo>
                  <a:cubicBezTo>
                    <a:pt x="147" y="14"/>
                    <a:pt x="147" y="14"/>
                    <a:pt x="147" y="14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63" y="18"/>
                    <a:pt x="163" y="18"/>
                    <a:pt x="163" y="18"/>
                  </a:cubicBezTo>
                  <a:cubicBezTo>
                    <a:pt x="168" y="18"/>
                    <a:pt x="168" y="18"/>
                    <a:pt x="168" y="18"/>
                  </a:cubicBezTo>
                  <a:cubicBezTo>
                    <a:pt x="173" y="14"/>
                    <a:pt x="173" y="14"/>
                    <a:pt x="173" y="14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6" y="10"/>
                    <a:pt x="186" y="10"/>
                    <a:pt x="186" y="10"/>
                  </a:cubicBezTo>
                  <a:cubicBezTo>
                    <a:pt x="194" y="10"/>
                    <a:pt x="194" y="10"/>
                    <a:pt x="194" y="10"/>
                  </a:cubicBezTo>
                  <a:cubicBezTo>
                    <a:pt x="196" y="17"/>
                    <a:pt x="196" y="17"/>
                    <a:pt x="196" y="17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206" y="24"/>
                    <a:pt x="206" y="24"/>
                    <a:pt x="206" y="24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16" y="28"/>
                    <a:pt x="216" y="28"/>
                    <a:pt x="216" y="28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36" y="36"/>
                    <a:pt x="236" y="36"/>
                    <a:pt x="236" y="36"/>
                  </a:cubicBezTo>
                  <a:cubicBezTo>
                    <a:pt x="252" y="37"/>
                    <a:pt x="252" y="37"/>
                    <a:pt x="252" y="37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82" y="65"/>
                    <a:pt x="282" y="65"/>
                    <a:pt x="282" y="65"/>
                  </a:cubicBezTo>
                  <a:cubicBezTo>
                    <a:pt x="288" y="62"/>
                    <a:pt x="288" y="62"/>
                    <a:pt x="288" y="62"/>
                  </a:cubicBezTo>
                  <a:cubicBezTo>
                    <a:pt x="293" y="69"/>
                    <a:pt x="293" y="69"/>
                    <a:pt x="293" y="69"/>
                  </a:cubicBezTo>
                  <a:cubicBezTo>
                    <a:pt x="293" y="85"/>
                    <a:pt x="293" y="85"/>
                    <a:pt x="293" y="85"/>
                  </a:cubicBezTo>
                  <a:cubicBezTo>
                    <a:pt x="305" y="96"/>
                    <a:pt x="305" y="96"/>
                    <a:pt x="305" y="96"/>
                  </a:cubicBezTo>
                  <a:cubicBezTo>
                    <a:pt x="321" y="90"/>
                    <a:pt x="321" y="90"/>
                    <a:pt x="321" y="90"/>
                  </a:cubicBezTo>
                  <a:cubicBezTo>
                    <a:pt x="333" y="93"/>
                    <a:pt x="333" y="93"/>
                    <a:pt x="333" y="93"/>
                  </a:cubicBezTo>
                  <a:cubicBezTo>
                    <a:pt x="341" y="88"/>
                    <a:pt x="341" y="88"/>
                    <a:pt x="341" y="88"/>
                  </a:cubicBezTo>
                  <a:cubicBezTo>
                    <a:pt x="350" y="102"/>
                    <a:pt x="350" y="102"/>
                    <a:pt x="350" y="102"/>
                  </a:cubicBezTo>
                  <a:cubicBezTo>
                    <a:pt x="360" y="105"/>
                    <a:pt x="360" y="105"/>
                    <a:pt x="360" y="105"/>
                  </a:cubicBezTo>
                  <a:cubicBezTo>
                    <a:pt x="369" y="114"/>
                    <a:pt x="369" y="114"/>
                    <a:pt x="369" y="114"/>
                  </a:cubicBezTo>
                  <a:cubicBezTo>
                    <a:pt x="371" y="121"/>
                    <a:pt x="371" y="121"/>
                    <a:pt x="371" y="121"/>
                  </a:cubicBezTo>
                  <a:cubicBezTo>
                    <a:pt x="386" y="126"/>
                    <a:pt x="386" y="126"/>
                    <a:pt x="386" y="126"/>
                  </a:cubicBezTo>
                  <a:cubicBezTo>
                    <a:pt x="392" y="138"/>
                    <a:pt x="392" y="138"/>
                    <a:pt x="392" y="138"/>
                  </a:cubicBezTo>
                  <a:cubicBezTo>
                    <a:pt x="397" y="134"/>
                    <a:pt x="397" y="134"/>
                    <a:pt x="397" y="134"/>
                  </a:cubicBezTo>
                  <a:cubicBezTo>
                    <a:pt x="405" y="136"/>
                    <a:pt x="405" y="136"/>
                    <a:pt x="405" y="136"/>
                  </a:cubicBezTo>
                  <a:cubicBezTo>
                    <a:pt x="412" y="127"/>
                    <a:pt x="412" y="127"/>
                    <a:pt x="412" y="127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18" y="140"/>
                    <a:pt x="418" y="140"/>
                    <a:pt x="418" y="140"/>
                  </a:cubicBezTo>
                  <a:cubicBezTo>
                    <a:pt x="416" y="163"/>
                    <a:pt x="416" y="163"/>
                    <a:pt x="416" y="163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397" y="167"/>
                    <a:pt x="397" y="167"/>
                    <a:pt x="397" y="167"/>
                  </a:cubicBezTo>
                  <a:cubicBezTo>
                    <a:pt x="393" y="164"/>
                    <a:pt x="393" y="164"/>
                    <a:pt x="393" y="164"/>
                  </a:cubicBezTo>
                  <a:cubicBezTo>
                    <a:pt x="383" y="167"/>
                    <a:pt x="383" y="167"/>
                    <a:pt x="383" y="167"/>
                  </a:cubicBezTo>
                  <a:cubicBezTo>
                    <a:pt x="377" y="173"/>
                    <a:pt x="377" y="173"/>
                    <a:pt x="377" y="173"/>
                  </a:cubicBezTo>
                  <a:cubicBezTo>
                    <a:pt x="374" y="170"/>
                    <a:pt x="374" y="170"/>
                    <a:pt x="374" y="170"/>
                  </a:cubicBezTo>
                  <a:cubicBezTo>
                    <a:pt x="363" y="170"/>
                    <a:pt x="363" y="170"/>
                    <a:pt x="363" y="170"/>
                  </a:cubicBezTo>
                  <a:cubicBezTo>
                    <a:pt x="357" y="160"/>
                    <a:pt x="357" y="160"/>
                    <a:pt x="357" y="160"/>
                  </a:cubicBezTo>
                  <a:cubicBezTo>
                    <a:pt x="350" y="159"/>
                    <a:pt x="350" y="159"/>
                    <a:pt x="350" y="159"/>
                  </a:cubicBezTo>
                  <a:cubicBezTo>
                    <a:pt x="341" y="165"/>
                    <a:pt x="341" y="165"/>
                    <a:pt x="341" y="165"/>
                  </a:cubicBezTo>
                  <a:cubicBezTo>
                    <a:pt x="335" y="164"/>
                    <a:pt x="335" y="164"/>
                    <a:pt x="335" y="164"/>
                  </a:cubicBezTo>
                  <a:cubicBezTo>
                    <a:pt x="332" y="169"/>
                    <a:pt x="332" y="169"/>
                    <a:pt x="332" y="169"/>
                  </a:cubicBezTo>
                  <a:cubicBezTo>
                    <a:pt x="327" y="166"/>
                    <a:pt x="327" y="166"/>
                    <a:pt x="327" y="166"/>
                  </a:cubicBezTo>
                  <a:cubicBezTo>
                    <a:pt x="311" y="166"/>
                    <a:pt x="311" y="166"/>
                    <a:pt x="311" y="166"/>
                  </a:cubicBezTo>
                  <a:cubicBezTo>
                    <a:pt x="311" y="173"/>
                    <a:pt x="311" y="173"/>
                    <a:pt x="311" y="173"/>
                  </a:cubicBezTo>
                  <a:cubicBezTo>
                    <a:pt x="300" y="175"/>
                    <a:pt x="300" y="175"/>
                    <a:pt x="300" y="175"/>
                  </a:cubicBezTo>
                  <a:cubicBezTo>
                    <a:pt x="294" y="168"/>
                    <a:pt x="294" y="168"/>
                    <a:pt x="294" y="168"/>
                  </a:cubicBezTo>
                  <a:cubicBezTo>
                    <a:pt x="289" y="173"/>
                    <a:pt x="289" y="173"/>
                    <a:pt x="289" y="173"/>
                  </a:cubicBezTo>
                  <a:cubicBezTo>
                    <a:pt x="287" y="182"/>
                    <a:pt x="287" y="182"/>
                    <a:pt x="287" y="182"/>
                  </a:cubicBezTo>
                  <a:cubicBezTo>
                    <a:pt x="280" y="188"/>
                    <a:pt x="280" y="188"/>
                    <a:pt x="280" y="188"/>
                  </a:cubicBezTo>
                  <a:cubicBezTo>
                    <a:pt x="270" y="189"/>
                    <a:pt x="270" y="189"/>
                    <a:pt x="270" y="189"/>
                  </a:cubicBezTo>
                  <a:cubicBezTo>
                    <a:pt x="262" y="192"/>
                    <a:pt x="262" y="192"/>
                    <a:pt x="262" y="192"/>
                  </a:cubicBezTo>
                  <a:cubicBezTo>
                    <a:pt x="253" y="193"/>
                    <a:pt x="253" y="193"/>
                    <a:pt x="253" y="193"/>
                  </a:cubicBezTo>
                  <a:cubicBezTo>
                    <a:pt x="248" y="199"/>
                    <a:pt x="248" y="199"/>
                    <a:pt x="248" y="199"/>
                  </a:cubicBezTo>
                  <a:cubicBezTo>
                    <a:pt x="243" y="199"/>
                    <a:pt x="243" y="199"/>
                    <a:pt x="243" y="199"/>
                  </a:cubicBezTo>
                  <a:cubicBezTo>
                    <a:pt x="236" y="203"/>
                    <a:pt x="236" y="203"/>
                    <a:pt x="236" y="203"/>
                  </a:cubicBezTo>
                  <a:cubicBezTo>
                    <a:pt x="235" y="212"/>
                    <a:pt x="235" y="212"/>
                    <a:pt x="235" y="212"/>
                  </a:cubicBezTo>
                  <a:cubicBezTo>
                    <a:pt x="243" y="220"/>
                    <a:pt x="243" y="220"/>
                    <a:pt x="243" y="220"/>
                  </a:cubicBezTo>
                  <a:cubicBezTo>
                    <a:pt x="243" y="231"/>
                    <a:pt x="243" y="231"/>
                    <a:pt x="243" y="231"/>
                  </a:cubicBezTo>
                  <a:cubicBezTo>
                    <a:pt x="232" y="232"/>
                    <a:pt x="232" y="232"/>
                    <a:pt x="232" y="232"/>
                  </a:cubicBezTo>
                  <a:cubicBezTo>
                    <a:pt x="228" y="239"/>
                    <a:pt x="228" y="239"/>
                    <a:pt x="228" y="239"/>
                  </a:cubicBezTo>
                  <a:cubicBezTo>
                    <a:pt x="222" y="239"/>
                    <a:pt x="222" y="239"/>
                    <a:pt x="222" y="239"/>
                  </a:cubicBezTo>
                  <a:cubicBezTo>
                    <a:pt x="222" y="243"/>
                    <a:pt x="222" y="243"/>
                    <a:pt x="222" y="243"/>
                  </a:cubicBezTo>
                  <a:cubicBezTo>
                    <a:pt x="217" y="248"/>
                    <a:pt x="217" y="248"/>
                    <a:pt x="217" y="248"/>
                  </a:cubicBezTo>
                  <a:cubicBezTo>
                    <a:pt x="209" y="248"/>
                    <a:pt x="209" y="248"/>
                    <a:pt x="209" y="248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02" y="263"/>
                    <a:pt x="202" y="263"/>
                    <a:pt x="202" y="263"/>
                  </a:cubicBezTo>
                  <a:cubicBezTo>
                    <a:pt x="200" y="277"/>
                    <a:pt x="200" y="277"/>
                    <a:pt x="200" y="277"/>
                  </a:cubicBezTo>
                  <a:cubicBezTo>
                    <a:pt x="203" y="282"/>
                    <a:pt x="203" y="282"/>
                    <a:pt x="203" y="282"/>
                  </a:cubicBezTo>
                  <a:cubicBezTo>
                    <a:pt x="203" y="296"/>
                    <a:pt x="203" y="296"/>
                    <a:pt x="203" y="296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1" y="301"/>
                    <a:pt x="191" y="301"/>
                    <a:pt x="191" y="301"/>
                  </a:cubicBezTo>
                  <a:cubicBezTo>
                    <a:pt x="172" y="314"/>
                    <a:pt x="172" y="314"/>
                    <a:pt x="172" y="314"/>
                  </a:cubicBezTo>
                  <a:cubicBezTo>
                    <a:pt x="163" y="317"/>
                    <a:pt x="163" y="317"/>
                    <a:pt x="163" y="317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2" y="328"/>
                    <a:pt x="162" y="328"/>
                    <a:pt x="162" y="328"/>
                  </a:cubicBezTo>
                  <a:cubicBezTo>
                    <a:pt x="161" y="328"/>
                    <a:pt x="155" y="328"/>
                    <a:pt x="155" y="328"/>
                  </a:cubicBezTo>
                  <a:cubicBezTo>
                    <a:pt x="154" y="327"/>
                    <a:pt x="149" y="326"/>
                    <a:pt x="149" y="323"/>
                  </a:cubicBezTo>
                  <a:cubicBezTo>
                    <a:pt x="149" y="320"/>
                    <a:pt x="143" y="319"/>
                    <a:pt x="140" y="319"/>
                  </a:cubicBezTo>
                  <a:cubicBezTo>
                    <a:pt x="137" y="319"/>
                    <a:pt x="134" y="323"/>
                    <a:pt x="134" y="323"/>
                  </a:cubicBezTo>
                  <a:cubicBezTo>
                    <a:pt x="121" y="324"/>
                    <a:pt x="121" y="324"/>
                    <a:pt x="121" y="324"/>
                  </a:cubicBezTo>
                  <a:cubicBezTo>
                    <a:pt x="121" y="324"/>
                    <a:pt x="120" y="328"/>
                    <a:pt x="121" y="330"/>
                  </a:cubicBezTo>
                  <a:cubicBezTo>
                    <a:pt x="121" y="333"/>
                    <a:pt x="108" y="344"/>
                    <a:pt x="108" y="344"/>
                  </a:cubicBezTo>
                  <a:cubicBezTo>
                    <a:pt x="98" y="344"/>
                    <a:pt x="98" y="344"/>
                    <a:pt x="98" y="344"/>
                  </a:cubicBezTo>
                  <a:cubicBezTo>
                    <a:pt x="98" y="344"/>
                    <a:pt x="95" y="345"/>
                    <a:pt x="95" y="346"/>
                  </a:cubicBezTo>
                  <a:cubicBezTo>
                    <a:pt x="95" y="348"/>
                    <a:pt x="91" y="349"/>
                    <a:pt x="89" y="349"/>
                  </a:cubicBezTo>
                  <a:cubicBezTo>
                    <a:pt x="87" y="349"/>
                    <a:pt x="84" y="344"/>
                    <a:pt x="84" y="344"/>
                  </a:cubicBezTo>
                  <a:cubicBezTo>
                    <a:pt x="77" y="343"/>
                    <a:pt x="77" y="343"/>
                    <a:pt x="77" y="343"/>
                  </a:cubicBezTo>
                  <a:cubicBezTo>
                    <a:pt x="75" y="336"/>
                    <a:pt x="75" y="336"/>
                    <a:pt x="75" y="336"/>
                  </a:cubicBezTo>
                  <a:lnTo>
                    <a:pt x="72" y="337"/>
                  </a:lnTo>
                  <a:close/>
                </a:path>
              </a:pathLst>
            </a:custGeom>
            <a:grpFill/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" name="Freeform 74"/>
            <p:cNvSpPr>
              <a:spLocks noEditPoints="1"/>
            </p:cNvSpPr>
            <p:nvPr/>
          </p:nvSpPr>
          <p:spPr bwMode="auto">
            <a:xfrm>
              <a:off x="374650" y="2294409"/>
              <a:ext cx="3563938" cy="2374900"/>
            </a:xfrm>
            <a:custGeom>
              <a:avLst/>
              <a:gdLst>
                <a:gd name="T0" fmla="*/ 283 w 1120"/>
                <a:gd name="T1" fmla="*/ 448 h 746"/>
                <a:gd name="T2" fmla="*/ 397 w 1120"/>
                <a:gd name="T3" fmla="*/ 385 h 746"/>
                <a:gd name="T4" fmla="*/ 457 w 1120"/>
                <a:gd name="T5" fmla="*/ 333 h 746"/>
                <a:gd name="T6" fmla="*/ 544 w 1120"/>
                <a:gd name="T7" fmla="*/ 233 h 746"/>
                <a:gd name="T8" fmla="*/ 598 w 1120"/>
                <a:gd name="T9" fmla="*/ 260 h 746"/>
                <a:gd name="T10" fmla="*/ 625 w 1120"/>
                <a:gd name="T11" fmla="*/ 394 h 746"/>
                <a:gd name="T12" fmla="*/ 520 w 1120"/>
                <a:gd name="T13" fmla="*/ 330 h 746"/>
                <a:gd name="T14" fmla="*/ 480 w 1120"/>
                <a:gd name="T15" fmla="*/ 414 h 746"/>
                <a:gd name="T16" fmla="*/ 498 w 1120"/>
                <a:gd name="T17" fmla="*/ 445 h 746"/>
                <a:gd name="T18" fmla="*/ 549 w 1120"/>
                <a:gd name="T19" fmla="*/ 472 h 746"/>
                <a:gd name="T20" fmla="*/ 622 w 1120"/>
                <a:gd name="T21" fmla="*/ 464 h 746"/>
                <a:gd name="T22" fmla="*/ 700 w 1120"/>
                <a:gd name="T23" fmla="*/ 406 h 746"/>
                <a:gd name="T24" fmla="*/ 692 w 1120"/>
                <a:gd name="T25" fmla="*/ 469 h 746"/>
                <a:gd name="T26" fmla="*/ 807 w 1120"/>
                <a:gd name="T27" fmla="*/ 457 h 746"/>
                <a:gd name="T28" fmla="*/ 842 w 1120"/>
                <a:gd name="T29" fmla="*/ 491 h 746"/>
                <a:gd name="T30" fmla="*/ 891 w 1120"/>
                <a:gd name="T31" fmla="*/ 491 h 746"/>
                <a:gd name="T32" fmla="*/ 917 w 1120"/>
                <a:gd name="T33" fmla="*/ 478 h 746"/>
                <a:gd name="T34" fmla="*/ 941 w 1120"/>
                <a:gd name="T35" fmla="*/ 551 h 746"/>
                <a:gd name="T36" fmla="*/ 919 w 1120"/>
                <a:gd name="T37" fmla="*/ 594 h 746"/>
                <a:gd name="T38" fmla="*/ 825 w 1120"/>
                <a:gd name="T39" fmla="*/ 644 h 746"/>
                <a:gd name="T40" fmla="*/ 779 w 1120"/>
                <a:gd name="T41" fmla="*/ 687 h 746"/>
                <a:gd name="T42" fmla="*/ 759 w 1120"/>
                <a:gd name="T43" fmla="*/ 739 h 746"/>
                <a:gd name="T44" fmla="*/ 689 w 1120"/>
                <a:gd name="T45" fmla="*/ 731 h 746"/>
                <a:gd name="T46" fmla="*/ 645 w 1120"/>
                <a:gd name="T47" fmla="*/ 715 h 746"/>
                <a:gd name="T48" fmla="*/ 619 w 1120"/>
                <a:gd name="T49" fmla="*/ 722 h 746"/>
                <a:gd name="T50" fmla="*/ 584 w 1120"/>
                <a:gd name="T51" fmla="*/ 733 h 746"/>
                <a:gd name="T52" fmla="*/ 553 w 1120"/>
                <a:gd name="T53" fmla="*/ 734 h 746"/>
                <a:gd name="T54" fmla="*/ 563 w 1120"/>
                <a:gd name="T55" fmla="*/ 684 h 746"/>
                <a:gd name="T56" fmla="*/ 518 w 1120"/>
                <a:gd name="T57" fmla="*/ 677 h 746"/>
                <a:gd name="T58" fmla="*/ 495 w 1120"/>
                <a:gd name="T59" fmla="*/ 698 h 746"/>
                <a:gd name="T60" fmla="*/ 439 w 1120"/>
                <a:gd name="T61" fmla="*/ 652 h 746"/>
                <a:gd name="T62" fmla="*/ 380 w 1120"/>
                <a:gd name="T63" fmla="*/ 629 h 746"/>
                <a:gd name="T64" fmla="*/ 310 w 1120"/>
                <a:gd name="T65" fmla="*/ 593 h 746"/>
                <a:gd name="T66" fmla="*/ 271 w 1120"/>
                <a:gd name="T67" fmla="*/ 578 h 746"/>
                <a:gd name="T68" fmla="*/ 233 w 1120"/>
                <a:gd name="T69" fmla="*/ 571 h 746"/>
                <a:gd name="T70" fmla="*/ 194 w 1120"/>
                <a:gd name="T71" fmla="*/ 595 h 746"/>
                <a:gd name="T72" fmla="*/ 162 w 1120"/>
                <a:gd name="T73" fmla="*/ 553 h 746"/>
                <a:gd name="T74" fmla="*/ 213 w 1120"/>
                <a:gd name="T75" fmla="*/ 479 h 746"/>
                <a:gd name="T76" fmla="*/ 14 w 1120"/>
                <a:gd name="T77" fmla="*/ 435 h 746"/>
                <a:gd name="T78" fmla="*/ 37 w 1120"/>
                <a:gd name="T79" fmla="*/ 486 h 746"/>
                <a:gd name="T80" fmla="*/ 756 w 1120"/>
                <a:gd name="T81" fmla="*/ 426 h 746"/>
                <a:gd name="T82" fmla="*/ 1001 w 1120"/>
                <a:gd name="T83" fmla="*/ 19 h 746"/>
                <a:gd name="T84" fmla="*/ 1040 w 1120"/>
                <a:gd name="T85" fmla="*/ 70 h 746"/>
                <a:gd name="T86" fmla="*/ 1118 w 1120"/>
                <a:gd name="T87" fmla="*/ 66 h 746"/>
                <a:gd name="T88" fmla="*/ 1077 w 1120"/>
                <a:gd name="T89" fmla="*/ 55 h 746"/>
                <a:gd name="T90" fmla="*/ 1053 w 1120"/>
                <a:gd name="T91" fmla="*/ 27 h 746"/>
                <a:gd name="T92" fmla="*/ 1068 w 1120"/>
                <a:gd name="T93" fmla="*/ 45 h 746"/>
                <a:gd name="T94" fmla="*/ 1005 w 1120"/>
                <a:gd name="T95" fmla="*/ 27 h 746"/>
                <a:gd name="T96" fmla="*/ 983 w 1120"/>
                <a:gd name="T97" fmla="*/ 32 h 746"/>
                <a:gd name="T98" fmla="*/ 833 w 1120"/>
                <a:gd name="T99" fmla="*/ 359 h 746"/>
                <a:gd name="T100" fmla="*/ 836 w 1120"/>
                <a:gd name="T101" fmla="*/ 391 h 746"/>
                <a:gd name="T102" fmla="*/ 883 w 1120"/>
                <a:gd name="T103" fmla="*/ 355 h 746"/>
                <a:gd name="T104" fmla="*/ 999 w 1120"/>
                <a:gd name="T105" fmla="*/ 273 h 746"/>
                <a:gd name="T106" fmla="*/ 1008 w 1120"/>
                <a:gd name="T107" fmla="*/ 234 h 746"/>
                <a:gd name="T108" fmla="*/ 897 w 1120"/>
                <a:gd name="T109" fmla="*/ 291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0" h="746">
                  <a:moveTo>
                    <a:pt x="253" y="454"/>
                  </a:moveTo>
                  <a:cubicBezTo>
                    <a:pt x="255" y="453"/>
                    <a:pt x="256" y="451"/>
                    <a:pt x="258" y="449"/>
                  </a:cubicBezTo>
                  <a:cubicBezTo>
                    <a:pt x="261" y="445"/>
                    <a:pt x="269" y="451"/>
                    <a:pt x="271" y="455"/>
                  </a:cubicBezTo>
                  <a:cubicBezTo>
                    <a:pt x="273" y="459"/>
                    <a:pt x="277" y="459"/>
                    <a:pt x="280" y="460"/>
                  </a:cubicBezTo>
                  <a:cubicBezTo>
                    <a:pt x="283" y="460"/>
                    <a:pt x="286" y="469"/>
                    <a:pt x="287" y="470"/>
                  </a:cubicBezTo>
                  <a:cubicBezTo>
                    <a:pt x="287" y="472"/>
                    <a:pt x="295" y="466"/>
                    <a:pt x="289" y="460"/>
                  </a:cubicBezTo>
                  <a:cubicBezTo>
                    <a:pt x="284" y="455"/>
                    <a:pt x="282" y="453"/>
                    <a:pt x="283" y="448"/>
                  </a:cubicBezTo>
                  <a:cubicBezTo>
                    <a:pt x="284" y="444"/>
                    <a:pt x="293" y="442"/>
                    <a:pt x="282" y="434"/>
                  </a:cubicBezTo>
                  <a:cubicBezTo>
                    <a:pt x="280" y="433"/>
                    <a:pt x="279" y="431"/>
                    <a:pt x="278" y="430"/>
                  </a:cubicBezTo>
                  <a:cubicBezTo>
                    <a:pt x="292" y="430"/>
                    <a:pt x="310" y="431"/>
                    <a:pt x="317" y="431"/>
                  </a:cubicBezTo>
                  <a:cubicBezTo>
                    <a:pt x="331" y="431"/>
                    <a:pt x="345" y="431"/>
                    <a:pt x="360" y="431"/>
                  </a:cubicBezTo>
                  <a:cubicBezTo>
                    <a:pt x="375" y="431"/>
                    <a:pt x="380" y="427"/>
                    <a:pt x="389" y="425"/>
                  </a:cubicBezTo>
                  <a:cubicBezTo>
                    <a:pt x="399" y="424"/>
                    <a:pt x="395" y="417"/>
                    <a:pt x="395" y="409"/>
                  </a:cubicBezTo>
                  <a:cubicBezTo>
                    <a:pt x="396" y="402"/>
                    <a:pt x="397" y="389"/>
                    <a:pt x="397" y="385"/>
                  </a:cubicBezTo>
                  <a:cubicBezTo>
                    <a:pt x="397" y="381"/>
                    <a:pt x="402" y="381"/>
                    <a:pt x="409" y="381"/>
                  </a:cubicBezTo>
                  <a:cubicBezTo>
                    <a:pt x="417" y="381"/>
                    <a:pt x="417" y="377"/>
                    <a:pt x="417" y="368"/>
                  </a:cubicBezTo>
                  <a:cubicBezTo>
                    <a:pt x="417" y="359"/>
                    <a:pt x="417" y="358"/>
                    <a:pt x="423" y="358"/>
                  </a:cubicBezTo>
                  <a:cubicBezTo>
                    <a:pt x="429" y="359"/>
                    <a:pt x="426" y="356"/>
                    <a:pt x="426" y="352"/>
                  </a:cubicBezTo>
                  <a:cubicBezTo>
                    <a:pt x="425" y="347"/>
                    <a:pt x="433" y="347"/>
                    <a:pt x="435" y="344"/>
                  </a:cubicBezTo>
                  <a:cubicBezTo>
                    <a:pt x="437" y="341"/>
                    <a:pt x="444" y="335"/>
                    <a:pt x="449" y="332"/>
                  </a:cubicBezTo>
                  <a:cubicBezTo>
                    <a:pt x="453" y="329"/>
                    <a:pt x="455" y="335"/>
                    <a:pt x="457" y="333"/>
                  </a:cubicBezTo>
                  <a:cubicBezTo>
                    <a:pt x="459" y="331"/>
                    <a:pt x="476" y="298"/>
                    <a:pt x="480" y="292"/>
                  </a:cubicBezTo>
                  <a:cubicBezTo>
                    <a:pt x="484" y="286"/>
                    <a:pt x="495" y="287"/>
                    <a:pt x="505" y="287"/>
                  </a:cubicBezTo>
                  <a:cubicBezTo>
                    <a:pt x="514" y="287"/>
                    <a:pt x="512" y="280"/>
                    <a:pt x="512" y="275"/>
                  </a:cubicBezTo>
                  <a:cubicBezTo>
                    <a:pt x="512" y="271"/>
                    <a:pt x="519" y="268"/>
                    <a:pt x="516" y="263"/>
                  </a:cubicBezTo>
                  <a:cubicBezTo>
                    <a:pt x="513" y="259"/>
                    <a:pt x="516" y="251"/>
                    <a:pt x="520" y="249"/>
                  </a:cubicBezTo>
                  <a:cubicBezTo>
                    <a:pt x="524" y="247"/>
                    <a:pt x="527" y="241"/>
                    <a:pt x="534" y="240"/>
                  </a:cubicBezTo>
                  <a:cubicBezTo>
                    <a:pt x="542" y="239"/>
                    <a:pt x="540" y="236"/>
                    <a:pt x="544" y="233"/>
                  </a:cubicBezTo>
                  <a:cubicBezTo>
                    <a:pt x="548" y="230"/>
                    <a:pt x="552" y="236"/>
                    <a:pt x="552" y="236"/>
                  </a:cubicBezTo>
                  <a:cubicBezTo>
                    <a:pt x="552" y="236"/>
                    <a:pt x="560" y="242"/>
                    <a:pt x="564" y="238"/>
                  </a:cubicBezTo>
                  <a:cubicBezTo>
                    <a:pt x="568" y="234"/>
                    <a:pt x="570" y="244"/>
                    <a:pt x="574" y="244"/>
                  </a:cubicBezTo>
                  <a:cubicBezTo>
                    <a:pt x="577" y="244"/>
                    <a:pt x="580" y="241"/>
                    <a:pt x="583" y="238"/>
                  </a:cubicBezTo>
                  <a:cubicBezTo>
                    <a:pt x="585" y="242"/>
                    <a:pt x="581" y="244"/>
                    <a:pt x="587" y="243"/>
                  </a:cubicBezTo>
                  <a:cubicBezTo>
                    <a:pt x="594" y="242"/>
                    <a:pt x="596" y="243"/>
                    <a:pt x="598" y="248"/>
                  </a:cubicBezTo>
                  <a:cubicBezTo>
                    <a:pt x="600" y="252"/>
                    <a:pt x="601" y="261"/>
                    <a:pt x="598" y="260"/>
                  </a:cubicBezTo>
                  <a:cubicBezTo>
                    <a:pt x="594" y="258"/>
                    <a:pt x="591" y="257"/>
                    <a:pt x="589" y="259"/>
                  </a:cubicBezTo>
                  <a:cubicBezTo>
                    <a:pt x="586" y="261"/>
                    <a:pt x="591" y="268"/>
                    <a:pt x="594" y="273"/>
                  </a:cubicBezTo>
                  <a:cubicBezTo>
                    <a:pt x="597" y="278"/>
                    <a:pt x="599" y="288"/>
                    <a:pt x="607" y="293"/>
                  </a:cubicBezTo>
                  <a:cubicBezTo>
                    <a:pt x="614" y="298"/>
                    <a:pt x="617" y="308"/>
                    <a:pt x="616" y="314"/>
                  </a:cubicBezTo>
                  <a:cubicBezTo>
                    <a:pt x="615" y="319"/>
                    <a:pt x="617" y="340"/>
                    <a:pt x="617" y="348"/>
                  </a:cubicBezTo>
                  <a:cubicBezTo>
                    <a:pt x="618" y="356"/>
                    <a:pt x="618" y="363"/>
                    <a:pt x="622" y="373"/>
                  </a:cubicBezTo>
                  <a:cubicBezTo>
                    <a:pt x="627" y="383"/>
                    <a:pt x="627" y="390"/>
                    <a:pt x="625" y="394"/>
                  </a:cubicBezTo>
                  <a:cubicBezTo>
                    <a:pt x="624" y="398"/>
                    <a:pt x="620" y="409"/>
                    <a:pt x="617" y="414"/>
                  </a:cubicBezTo>
                  <a:cubicBezTo>
                    <a:pt x="614" y="420"/>
                    <a:pt x="586" y="425"/>
                    <a:pt x="577" y="424"/>
                  </a:cubicBezTo>
                  <a:cubicBezTo>
                    <a:pt x="568" y="424"/>
                    <a:pt x="561" y="419"/>
                    <a:pt x="556" y="414"/>
                  </a:cubicBezTo>
                  <a:cubicBezTo>
                    <a:pt x="550" y="408"/>
                    <a:pt x="549" y="394"/>
                    <a:pt x="544" y="388"/>
                  </a:cubicBezTo>
                  <a:cubicBezTo>
                    <a:pt x="538" y="381"/>
                    <a:pt x="530" y="377"/>
                    <a:pt x="531" y="370"/>
                  </a:cubicBezTo>
                  <a:cubicBezTo>
                    <a:pt x="531" y="362"/>
                    <a:pt x="525" y="353"/>
                    <a:pt x="522" y="347"/>
                  </a:cubicBezTo>
                  <a:cubicBezTo>
                    <a:pt x="520" y="341"/>
                    <a:pt x="521" y="335"/>
                    <a:pt x="520" y="330"/>
                  </a:cubicBezTo>
                  <a:cubicBezTo>
                    <a:pt x="519" y="324"/>
                    <a:pt x="517" y="319"/>
                    <a:pt x="515" y="324"/>
                  </a:cubicBezTo>
                  <a:cubicBezTo>
                    <a:pt x="514" y="329"/>
                    <a:pt x="516" y="338"/>
                    <a:pt x="513" y="346"/>
                  </a:cubicBezTo>
                  <a:cubicBezTo>
                    <a:pt x="511" y="354"/>
                    <a:pt x="508" y="349"/>
                    <a:pt x="512" y="361"/>
                  </a:cubicBezTo>
                  <a:cubicBezTo>
                    <a:pt x="517" y="373"/>
                    <a:pt x="515" y="377"/>
                    <a:pt x="512" y="380"/>
                  </a:cubicBezTo>
                  <a:cubicBezTo>
                    <a:pt x="509" y="382"/>
                    <a:pt x="502" y="388"/>
                    <a:pt x="498" y="389"/>
                  </a:cubicBezTo>
                  <a:cubicBezTo>
                    <a:pt x="494" y="389"/>
                    <a:pt x="489" y="389"/>
                    <a:pt x="489" y="395"/>
                  </a:cubicBezTo>
                  <a:cubicBezTo>
                    <a:pt x="489" y="401"/>
                    <a:pt x="486" y="411"/>
                    <a:pt x="480" y="414"/>
                  </a:cubicBezTo>
                  <a:cubicBezTo>
                    <a:pt x="474" y="416"/>
                    <a:pt x="474" y="422"/>
                    <a:pt x="473" y="425"/>
                  </a:cubicBezTo>
                  <a:cubicBezTo>
                    <a:pt x="472" y="427"/>
                    <a:pt x="480" y="431"/>
                    <a:pt x="480" y="436"/>
                  </a:cubicBezTo>
                  <a:cubicBezTo>
                    <a:pt x="481" y="442"/>
                    <a:pt x="477" y="445"/>
                    <a:pt x="478" y="450"/>
                  </a:cubicBezTo>
                  <a:cubicBezTo>
                    <a:pt x="479" y="455"/>
                    <a:pt x="484" y="458"/>
                    <a:pt x="486" y="463"/>
                  </a:cubicBezTo>
                  <a:cubicBezTo>
                    <a:pt x="487" y="468"/>
                    <a:pt x="491" y="470"/>
                    <a:pt x="497" y="468"/>
                  </a:cubicBezTo>
                  <a:cubicBezTo>
                    <a:pt x="502" y="466"/>
                    <a:pt x="507" y="460"/>
                    <a:pt x="505" y="456"/>
                  </a:cubicBezTo>
                  <a:cubicBezTo>
                    <a:pt x="503" y="452"/>
                    <a:pt x="497" y="453"/>
                    <a:pt x="498" y="445"/>
                  </a:cubicBezTo>
                  <a:cubicBezTo>
                    <a:pt x="500" y="436"/>
                    <a:pt x="501" y="431"/>
                    <a:pt x="500" y="429"/>
                  </a:cubicBezTo>
                  <a:cubicBezTo>
                    <a:pt x="499" y="426"/>
                    <a:pt x="506" y="423"/>
                    <a:pt x="510" y="425"/>
                  </a:cubicBezTo>
                  <a:cubicBezTo>
                    <a:pt x="514" y="426"/>
                    <a:pt x="517" y="417"/>
                    <a:pt x="520" y="426"/>
                  </a:cubicBezTo>
                  <a:cubicBezTo>
                    <a:pt x="522" y="435"/>
                    <a:pt x="521" y="443"/>
                    <a:pt x="522" y="447"/>
                  </a:cubicBezTo>
                  <a:cubicBezTo>
                    <a:pt x="523" y="451"/>
                    <a:pt x="528" y="455"/>
                    <a:pt x="529" y="460"/>
                  </a:cubicBezTo>
                  <a:cubicBezTo>
                    <a:pt x="530" y="466"/>
                    <a:pt x="535" y="472"/>
                    <a:pt x="536" y="473"/>
                  </a:cubicBezTo>
                  <a:cubicBezTo>
                    <a:pt x="537" y="474"/>
                    <a:pt x="547" y="480"/>
                    <a:pt x="549" y="472"/>
                  </a:cubicBezTo>
                  <a:cubicBezTo>
                    <a:pt x="551" y="463"/>
                    <a:pt x="550" y="457"/>
                    <a:pt x="553" y="450"/>
                  </a:cubicBezTo>
                  <a:cubicBezTo>
                    <a:pt x="556" y="443"/>
                    <a:pt x="553" y="442"/>
                    <a:pt x="561" y="442"/>
                  </a:cubicBezTo>
                  <a:cubicBezTo>
                    <a:pt x="569" y="442"/>
                    <a:pt x="579" y="442"/>
                    <a:pt x="583" y="442"/>
                  </a:cubicBezTo>
                  <a:cubicBezTo>
                    <a:pt x="588" y="443"/>
                    <a:pt x="595" y="445"/>
                    <a:pt x="598" y="443"/>
                  </a:cubicBezTo>
                  <a:cubicBezTo>
                    <a:pt x="601" y="441"/>
                    <a:pt x="607" y="435"/>
                    <a:pt x="613" y="440"/>
                  </a:cubicBezTo>
                  <a:cubicBezTo>
                    <a:pt x="618" y="444"/>
                    <a:pt x="622" y="451"/>
                    <a:pt x="623" y="455"/>
                  </a:cubicBezTo>
                  <a:cubicBezTo>
                    <a:pt x="624" y="459"/>
                    <a:pt x="622" y="461"/>
                    <a:pt x="622" y="464"/>
                  </a:cubicBezTo>
                  <a:cubicBezTo>
                    <a:pt x="623" y="468"/>
                    <a:pt x="629" y="465"/>
                    <a:pt x="634" y="460"/>
                  </a:cubicBezTo>
                  <a:cubicBezTo>
                    <a:pt x="639" y="455"/>
                    <a:pt x="647" y="450"/>
                    <a:pt x="646" y="444"/>
                  </a:cubicBezTo>
                  <a:cubicBezTo>
                    <a:pt x="646" y="438"/>
                    <a:pt x="643" y="434"/>
                    <a:pt x="648" y="428"/>
                  </a:cubicBezTo>
                  <a:cubicBezTo>
                    <a:pt x="653" y="423"/>
                    <a:pt x="672" y="413"/>
                    <a:pt x="674" y="408"/>
                  </a:cubicBezTo>
                  <a:cubicBezTo>
                    <a:pt x="676" y="404"/>
                    <a:pt x="673" y="386"/>
                    <a:pt x="673" y="385"/>
                  </a:cubicBezTo>
                  <a:cubicBezTo>
                    <a:pt x="672" y="384"/>
                    <a:pt x="677" y="379"/>
                    <a:pt x="682" y="390"/>
                  </a:cubicBezTo>
                  <a:cubicBezTo>
                    <a:pt x="688" y="400"/>
                    <a:pt x="694" y="403"/>
                    <a:pt x="700" y="406"/>
                  </a:cubicBezTo>
                  <a:cubicBezTo>
                    <a:pt x="706" y="409"/>
                    <a:pt x="703" y="420"/>
                    <a:pt x="700" y="428"/>
                  </a:cubicBezTo>
                  <a:cubicBezTo>
                    <a:pt x="697" y="436"/>
                    <a:pt x="697" y="441"/>
                    <a:pt x="692" y="438"/>
                  </a:cubicBezTo>
                  <a:cubicBezTo>
                    <a:pt x="686" y="434"/>
                    <a:pt x="675" y="433"/>
                    <a:pt x="671" y="435"/>
                  </a:cubicBezTo>
                  <a:cubicBezTo>
                    <a:pt x="667" y="437"/>
                    <a:pt x="663" y="439"/>
                    <a:pt x="665" y="443"/>
                  </a:cubicBezTo>
                  <a:cubicBezTo>
                    <a:pt x="667" y="448"/>
                    <a:pt x="668" y="450"/>
                    <a:pt x="665" y="455"/>
                  </a:cubicBezTo>
                  <a:cubicBezTo>
                    <a:pt x="662" y="460"/>
                    <a:pt x="667" y="467"/>
                    <a:pt x="671" y="469"/>
                  </a:cubicBezTo>
                  <a:cubicBezTo>
                    <a:pt x="676" y="472"/>
                    <a:pt x="689" y="473"/>
                    <a:pt x="692" y="469"/>
                  </a:cubicBezTo>
                  <a:cubicBezTo>
                    <a:pt x="694" y="465"/>
                    <a:pt x="701" y="450"/>
                    <a:pt x="706" y="454"/>
                  </a:cubicBezTo>
                  <a:cubicBezTo>
                    <a:pt x="711" y="458"/>
                    <a:pt x="717" y="462"/>
                    <a:pt x="720" y="458"/>
                  </a:cubicBezTo>
                  <a:cubicBezTo>
                    <a:pt x="723" y="455"/>
                    <a:pt x="732" y="461"/>
                    <a:pt x="739" y="457"/>
                  </a:cubicBezTo>
                  <a:cubicBezTo>
                    <a:pt x="746" y="453"/>
                    <a:pt x="757" y="451"/>
                    <a:pt x="765" y="457"/>
                  </a:cubicBezTo>
                  <a:cubicBezTo>
                    <a:pt x="774" y="462"/>
                    <a:pt x="777" y="471"/>
                    <a:pt x="781" y="464"/>
                  </a:cubicBezTo>
                  <a:cubicBezTo>
                    <a:pt x="784" y="458"/>
                    <a:pt x="787" y="456"/>
                    <a:pt x="790" y="454"/>
                  </a:cubicBezTo>
                  <a:cubicBezTo>
                    <a:pt x="793" y="453"/>
                    <a:pt x="805" y="454"/>
                    <a:pt x="807" y="457"/>
                  </a:cubicBezTo>
                  <a:cubicBezTo>
                    <a:pt x="808" y="460"/>
                    <a:pt x="805" y="462"/>
                    <a:pt x="802" y="465"/>
                  </a:cubicBezTo>
                  <a:cubicBezTo>
                    <a:pt x="799" y="469"/>
                    <a:pt x="797" y="471"/>
                    <a:pt x="796" y="474"/>
                  </a:cubicBezTo>
                  <a:cubicBezTo>
                    <a:pt x="795" y="476"/>
                    <a:pt x="789" y="474"/>
                    <a:pt x="790" y="476"/>
                  </a:cubicBezTo>
                  <a:cubicBezTo>
                    <a:pt x="791" y="479"/>
                    <a:pt x="797" y="490"/>
                    <a:pt x="803" y="486"/>
                  </a:cubicBezTo>
                  <a:cubicBezTo>
                    <a:pt x="809" y="482"/>
                    <a:pt x="809" y="480"/>
                    <a:pt x="817" y="480"/>
                  </a:cubicBezTo>
                  <a:cubicBezTo>
                    <a:pt x="825" y="480"/>
                    <a:pt x="829" y="482"/>
                    <a:pt x="832" y="486"/>
                  </a:cubicBezTo>
                  <a:cubicBezTo>
                    <a:pt x="834" y="489"/>
                    <a:pt x="837" y="494"/>
                    <a:pt x="842" y="491"/>
                  </a:cubicBezTo>
                  <a:cubicBezTo>
                    <a:pt x="847" y="489"/>
                    <a:pt x="853" y="489"/>
                    <a:pt x="856" y="488"/>
                  </a:cubicBezTo>
                  <a:cubicBezTo>
                    <a:pt x="860" y="487"/>
                    <a:pt x="861" y="482"/>
                    <a:pt x="867" y="487"/>
                  </a:cubicBezTo>
                  <a:cubicBezTo>
                    <a:pt x="873" y="492"/>
                    <a:pt x="870" y="496"/>
                    <a:pt x="865" y="500"/>
                  </a:cubicBezTo>
                  <a:cubicBezTo>
                    <a:pt x="861" y="505"/>
                    <a:pt x="863" y="510"/>
                    <a:pt x="866" y="512"/>
                  </a:cubicBezTo>
                  <a:cubicBezTo>
                    <a:pt x="868" y="513"/>
                    <a:pt x="873" y="507"/>
                    <a:pt x="873" y="504"/>
                  </a:cubicBezTo>
                  <a:cubicBezTo>
                    <a:pt x="872" y="500"/>
                    <a:pt x="881" y="503"/>
                    <a:pt x="885" y="505"/>
                  </a:cubicBezTo>
                  <a:cubicBezTo>
                    <a:pt x="888" y="507"/>
                    <a:pt x="894" y="497"/>
                    <a:pt x="891" y="491"/>
                  </a:cubicBezTo>
                  <a:cubicBezTo>
                    <a:pt x="889" y="485"/>
                    <a:pt x="891" y="479"/>
                    <a:pt x="893" y="475"/>
                  </a:cubicBezTo>
                  <a:cubicBezTo>
                    <a:pt x="894" y="470"/>
                    <a:pt x="891" y="466"/>
                    <a:pt x="886" y="462"/>
                  </a:cubicBezTo>
                  <a:cubicBezTo>
                    <a:pt x="881" y="457"/>
                    <a:pt x="877" y="453"/>
                    <a:pt x="879" y="446"/>
                  </a:cubicBezTo>
                  <a:cubicBezTo>
                    <a:pt x="881" y="439"/>
                    <a:pt x="889" y="431"/>
                    <a:pt x="893" y="437"/>
                  </a:cubicBezTo>
                  <a:cubicBezTo>
                    <a:pt x="897" y="443"/>
                    <a:pt x="901" y="457"/>
                    <a:pt x="900" y="461"/>
                  </a:cubicBezTo>
                  <a:cubicBezTo>
                    <a:pt x="900" y="466"/>
                    <a:pt x="900" y="471"/>
                    <a:pt x="905" y="471"/>
                  </a:cubicBezTo>
                  <a:cubicBezTo>
                    <a:pt x="909" y="470"/>
                    <a:pt x="914" y="474"/>
                    <a:pt x="917" y="478"/>
                  </a:cubicBezTo>
                  <a:cubicBezTo>
                    <a:pt x="920" y="482"/>
                    <a:pt x="929" y="481"/>
                    <a:pt x="937" y="490"/>
                  </a:cubicBezTo>
                  <a:cubicBezTo>
                    <a:pt x="944" y="500"/>
                    <a:pt x="943" y="502"/>
                    <a:pt x="948" y="510"/>
                  </a:cubicBezTo>
                  <a:cubicBezTo>
                    <a:pt x="949" y="511"/>
                    <a:pt x="950" y="512"/>
                    <a:pt x="951" y="514"/>
                  </a:cubicBezTo>
                  <a:cubicBezTo>
                    <a:pt x="941" y="527"/>
                    <a:pt x="941" y="527"/>
                    <a:pt x="941" y="527"/>
                  </a:cubicBezTo>
                  <a:cubicBezTo>
                    <a:pt x="949" y="534"/>
                    <a:pt x="949" y="534"/>
                    <a:pt x="949" y="534"/>
                  </a:cubicBezTo>
                  <a:cubicBezTo>
                    <a:pt x="948" y="547"/>
                    <a:pt x="948" y="547"/>
                    <a:pt x="948" y="547"/>
                  </a:cubicBezTo>
                  <a:cubicBezTo>
                    <a:pt x="941" y="551"/>
                    <a:pt x="941" y="551"/>
                    <a:pt x="941" y="551"/>
                  </a:cubicBezTo>
                  <a:cubicBezTo>
                    <a:pt x="938" y="562"/>
                    <a:pt x="938" y="562"/>
                    <a:pt x="938" y="562"/>
                  </a:cubicBezTo>
                  <a:cubicBezTo>
                    <a:pt x="946" y="569"/>
                    <a:pt x="946" y="569"/>
                    <a:pt x="946" y="569"/>
                  </a:cubicBezTo>
                  <a:cubicBezTo>
                    <a:pt x="937" y="576"/>
                    <a:pt x="937" y="576"/>
                    <a:pt x="937" y="576"/>
                  </a:cubicBezTo>
                  <a:cubicBezTo>
                    <a:pt x="944" y="582"/>
                    <a:pt x="944" y="582"/>
                    <a:pt x="944" y="582"/>
                  </a:cubicBezTo>
                  <a:cubicBezTo>
                    <a:pt x="934" y="586"/>
                    <a:pt x="934" y="586"/>
                    <a:pt x="934" y="586"/>
                  </a:cubicBezTo>
                  <a:cubicBezTo>
                    <a:pt x="926" y="594"/>
                    <a:pt x="926" y="594"/>
                    <a:pt x="926" y="594"/>
                  </a:cubicBezTo>
                  <a:cubicBezTo>
                    <a:pt x="919" y="594"/>
                    <a:pt x="919" y="594"/>
                    <a:pt x="919" y="594"/>
                  </a:cubicBezTo>
                  <a:cubicBezTo>
                    <a:pt x="916" y="604"/>
                    <a:pt x="916" y="604"/>
                    <a:pt x="916" y="604"/>
                  </a:cubicBezTo>
                  <a:cubicBezTo>
                    <a:pt x="893" y="604"/>
                    <a:pt x="893" y="604"/>
                    <a:pt x="893" y="604"/>
                  </a:cubicBezTo>
                  <a:cubicBezTo>
                    <a:pt x="873" y="614"/>
                    <a:pt x="873" y="614"/>
                    <a:pt x="873" y="614"/>
                  </a:cubicBezTo>
                  <a:cubicBezTo>
                    <a:pt x="872" y="623"/>
                    <a:pt x="872" y="623"/>
                    <a:pt x="872" y="623"/>
                  </a:cubicBezTo>
                  <a:cubicBezTo>
                    <a:pt x="854" y="623"/>
                    <a:pt x="854" y="623"/>
                    <a:pt x="854" y="623"/>
                  </a:cubicBezTo>
                  <a:cubicBezTo>
                    <a:pt x="833" y="643"/>
                    <a:pt x="833" y="643"/>
                    <a:pt x="833" y="643"/>
                  </a:cubicBezTo>
                  <a:cubicBezTo>
                    <a:pt x="825" y="644"/>
                    <a:pt x="825" y="644"/>
                    <a:pt x="825" y="644"/>
                  </a:cubicBezTo>
                  <a:cubicBezTo>
                    <a:pt x="827" y="638"/>
                    <a:pt x="827" y="638"/>
                    <a:pt x="827" y="638"/>
                  </a:cubicBezTo>
                  <a:cubicBezTo>
                    <a:pt x="819" y="636"/>
                    <a:pt x="819" y="636"/>
                    <a:pt x="819" y="636"/>
                  </a:cubicBezTo>
                  <a:cubicBezTo>
                    <a:pt x="800" y="656"/>
                    <a:pt x="800" y="656"/>
                    <a:pt x="800" y="656"/>
                  </a:cubicBezTo>
                  <a:cubicBezTo>
                    <a:pt x="802" y="666"/>
                    <a:pt x="802" y="666"/>
                    <a:pt x="802" y="666"/>
                  </a:cubicBezTo>
                  <a:cubicBezTo>
                    <a:pt x="791" y="670"/>
                    <a:pt x="791" y="670"/>
                    <a:pt x="791" y="670"/>
                  </a:cubicBezTo>
                  <a:cubicBezTo>
                    <a:pt x="792" y="681"/>
                    <a:pt x="792" y="681"/>
                    <a:pt x="792" y="681"/>
                  </a:cubicBezTo>
                  <a:cubicBezTo>
                    <a:pt x="779" y="687"/>
                    <a:pt x="779" y="687"/>
                    <a:pt x="779" y="687"/>
                  </a:cubicBezTo>
                  <a:cubicBezTo>
                    <a:pt x="775" y="699"/>
                    <a:pt x="775" y="699"/>
                    <a:pt x="775" y="699"/>
                  </a:cubicBezTo>
                  <a:cubicBezTo>
                    <a:pt x="776" y="708"/>
                    <a:pt x="776" y="708"/>
                    <a:pt x="776" y="708"/>
                  </a:cubicBezTo>
                  <a:cubicBezTo>
                    <a:pt x="774" y="710"/>
                    <a:pt x="774" y="710"/>
                    <a:pt x="774" y="710"/>
                  </a:cubicBezTo>
                  <a:cubicBezTo>
                    <a:pt x="772" y="719"/>
                    <a:pt x="772" y="719"/>
                    <a:pt x="772" y="719"/>
                  </a:cubicBezTo>
                  <a:cubicBezTo>
                    <a:pt x="761" y="730"/>
                    <a:pt x="761" y="730"/>
                    <a:pt x="761" y="730"/>
                  </a:cubicBezTo>
                  <a:cubicBezTo>
                    <a:pt x="762" y="737"/>
                    <a:pt x="762" y="737"/>
                    <a:pt x="762" y="737"/>
                  </a:cubicBezTo>
                  <a:cubicBezTo>
                    <a:pt x="759" y="739"/>
                    <a:pt x="759" y="739"/>
                    <a:pt x="759" y="739"/>
                  </a:cubicBezTo>
                  <a:cubicBezTo>
                    <a:pt x="753" y="746"/>
                    <a:pt x="753" y="746"/>
                    <a:pt x="753" y="746"/>
                  </a:cubicBezTo>
                  <a:cubicBezTo>
                    <a:pt x="738" y="744"/>
                    <a:pt x="738" y="744"/>
                    <a:pt x="738" y="744"/>
                  </a:cubicBezTo>
                  <a:cubicBezTo>
                    <a:pt x="715" y="731"/>
                    <a:pt x="715" y="731"/>
                    <a:pt x="715" y="731"/>
                  </a:cubicBezTo>
                  <a:cubicBezTo>
                    <a:pt x="705" y="728"/>
                    <a:pt x="705" y="728"/>
                    <a:pt x="705" y="728"/>
                  </a:cubicBezTo>
                  <a:cubicBezTo>
                    <a:pt x="698" y="735"/>
                    <a:pt x="698" y="735"/>
                    <a:pt x="698" y="735"/>
                  </a:cubicBezTo>
                  <a:cubicBezTo>
                    <a:pt x="695" y="733"/>
                    <a:pt x="695" y="733"/>
                    <a:pt x="695" y="733"/>
                  </a:cubicBezTo>
                  <a:cubicBezTo>
                    <a:pt x="689" y="731"/>
                    <a:pt x="689" y="731"/>
                    <a:pt x="689" y="731"/>
                  </a:cubicBezTo>
                  <a:cubicBezTo>
                    <a:pt x="685" y="737"/>
                    <a:pt x="685" y="737"/>
                    <a:pt x="685" y="737"/>
                  </a:cubicBezTo>
                  <a:cubicBezTo>
                    <a:pt x="677" y="732"/>
                    <a:pt x="677" y="732"/>
                    <a:pt x="677" y="732"/>
                  </a:cubicBezTo>
                  <a:cubicBezTo>
                    <a:pt x="670" y="735"/>
                    <a:pt x="670" y="735"/>
                    <a:pt x="670" y="735"/>
                  </a:cubicBezTo>
                  <a:cubicBezTo>
                    <a:pt x="658" y="726"/>
                    <a:pt x="658" y="726"/>
                    <a:pt x="658" y="726"/>
                  </a:cubicBezTo>
                  <a:cubicBezTo>
                    <a:pt x="650" y="728"/>
                    <a:pt x="650" y="728"/>
                    <a:pt x="650" y="728"/>
                  </a:cubicBezTo>
                  <a:cubicBezTo>
                    <a:pt x="645" y="724"/>
                    <a:pt x="645" y="724"/>
                    <a:pt x="645" y="724"/>
                  </a:cubicBezTo>
                  <a:cubicBezTo>
                    <a:pt x="645" y="715"/>
                    <a:pt x="645" y="715"/>
                    <a:pt x="645" y="715"/>
                  </a:cubicBezTo>
                  <a:cubicBezTo>
                    <a:pt x="639" y="710"/>
                    <a:pt x="639" y="710"/>
                    <a:pt x="639" y="710"/>
                  </a:cubicBezTo>
                  <a:cubicBezTo>
                    <a:pt x="634" y="714"/>
                    <a:pt x="634" y="714"/>
                    <a:pt x="634" y="714"/>
                  </a:cubicBezTo>
                  <a:cubicBezTo>
                    <a:pt x="632" y="713"/>
                    <a:pt x="632" y="713"/>
                    <a:pt x="632" y="713"/>
                  </a:cubicBezTo>
                  <a:cubicBezTo>
                    <a:pt x="629" y="715"/>
                    <a:pt x="629" y="715"/>
                    <a:pt x="629" y="715"/>
                  </a:cubicBezTo>
                  <a:cubicBezTo>
                    <a:pt x="620" y="711"/>
                    <a:pt x="620" y="711"/>
                    <a:pt x="620" y="711"/>
                  </a:cubicBezTo>
                  <a:cubicBezTo>
                    <a:pt x="615" y="719"/>
                    <a:pt x="615" y="719"/>
                    <a:pt x="615" y="719"/>
                  </a:cubicBezTo>
                  <a:cubicBezTo>
                    <a:pt x="619" y="722"/>
                    <a:pt x="619" y="722"/>
                    <a:pt x="619" y="722"/>
                  </a:cubicBezTo>
                  <a:cubicBezTo>
                    <a:pt x="619" y="726"/>
                    <a:pt x="619" y="726"/>
                    <a:pt x="619" y="726"/>
                  </a:cubicBezTo>
                  <a:cubicBezTo>
                    <a:pt x="617" y="729"/>
                    <a:pt x="617" y="729"/>
                    <a:pt x="617" y="729"/>
                  </a:cubicBezTo>
                  <a:cubicBezTo>
                    <a:pt x="605" y="730"/>
                    <a:pt x="605" y="730"/>
                    <a:pt x="605" y="730"/>
                  </a:cubicBezTo>
                  <a:cubicBezTo>
                    <a:pt x="601" y="735"/>
                    <a:pt x="601" y="735"/>
                    <a:pt x="601" y="735"/>
                  </a:cubicBezTo>
                  <a:cubicBezTo>
                    <a:pt x="596" y="735"/>
                    <a:pt x="596" y="735"/>
                    <a:pt x="596" y="735"/>
                  </a:cubicBezTo>
                  <a:cubicBezTo>
                    <a:pt x="591" y="727"/>
                    <a:pt x="591" y="727"/>
                    <a:pt x="591" y="727"/>
                  </a:cubicBezTo>
                  <a:cubicBezTo>
                    <a:pt x="584" y="733"/>
                    <a:pt x="584" y="733"/>
                    <a:pt x="584" y="733"/>
                  </a:cubicBezTo>
                  <a:cubicBezTo>
                    <a:pt x="580" y="730"/>
                    <a:pt x="580" y="730"/>
                    <a:pt x="580" y="730"/>
                  </a:cubicBezTo>
                  <a:cubicBezTo>
                    <a:pt x="571" y="724"/>
                    <a:pt x="571" y="724"/>
                    <a:pt x="571" y="724"/>
                  </a:cubicBezTo>
                  <a:cubicBezTo>
                    <a:pt x="564" y="726"/>
                    <a:pt x="564" y="726"/>
                    <a:pt x="564" y="726"/>
                  </a:cubicBezTo>
                  <a:cubicBezTo>
                    <a:pt x="562" y="734"/>
                    <a:pt x="562" y="734"/>
                    <a:pt x="562" y="734"/>
                  </a:cubicBezTo>
                  <a:cubicBezTo>
                    <a:pt x="555" y="741"/>
                    <a:pt x="555" y="741"/>
                    <a:pt x="555" y="741"/>
                  </a:cubicBezTo>
                  <a:cubicBezTo>
                    <a:pt x="552" y="738"/>
                    <a:pt x="552" y="738"/>
                    <a:pt x="552" y="738"/>
                  </a:cubicBezTo>
                  <a:cubicBezTo>
                    <a:pt x="553" y="734"/>
                    <a:pt x="553" y="734"/>
                    <a:pt x="553" y="734"/>
                  </a:cubicBezTo>
                  <a:cubicBezTo>
                    <a:pt x="553" y="720"/>
                    <a:pt x="553" y="720"/>
                    <a:pt x="553" y="720"/>
                  </a:cubicBezTo>
                  <a:cubicBezTo>
                    <a:pt x="547" y="715"/>
                    <a:pt x="547" y="715"/>
                    <a:pt x="547" y="715"/>
                  </a:cubicBezTo>
                  <a:cubicBezTo>
                    <a:pt x="547" y="708"/>
                    <a:pt x="547" y="708"/>
                    <a:pt x="547" y="708"/>
                  </a:cubicBezTo>
                  <a:cubicBezTo>
                    <a:pt x="552" y="703"/>
                    <a:pt x="552" y="703"/>
                    <a:pt x="552" y="703"/>
                  </a:cubicBezTo>
                  <a:cubicBezTo>
                    <a:pt x="553" y="695"/>
                    <a:pt x="553" y="695"/>
                    <a:pt x="553" y="695"/>
                  </a:cubicBezTo>
                  <a:cubicBezTo>
                    <a:pt x="561" y="694"/>
                    <a:pt x="561" y="694"/>
                    <a:pt x="561" y="694"/>
                  </a:cubicBezTo>
                  <a:cubicBezTo>
                    <a:pt x="563" y="684"/>
                    <a:pt x="563" y="684"/>
                    <a:pt x="563" y="684"/>
                  </a:cubicBezTo>
                  <a:cubicBezTo>
                    <a:pt x="568" y="676"/>
                    <a:pt x="568" y="676"/>
                    <a:pt x="568" y="676"/>
                  </a:cubicBezTo>
                  <a:cubicBezTo>
                    <a:pt x="563" y="673"/>
                    <a:pt x="563" y="673"/>
                    <a:pt x="563" y="673"/>
                  </a:cubicBezTo>
                  <a:cubicBezTo>
                    <a:pt x="564" y="667"/>
                    <a:pt x="564" y="667"/>
                    <a:pt x="564" y="667"/>
                  </a:cubicBezTo>
                  <a:cubicBezTo>
                    <a:pt x="553" y="657"/>
                    <a:pt x="553" y="657"/>
                    <a:pt x="553" y="657"/>
                  </a:cubicBezTo>
                  <a:cubicBezTo>
                    <a:pt x="532" y="676"/>
                    <a:pt x="532" y="676"/>
                    <a:pt x="532" y="676"/>
                  </a:cubicBezTo>
                  <a:cubicBezTo>
                    <a:pt x="525" y="672"/>
                    <a:pt x="525" y="672"/>
                    <a:pt x="525" y="672"/>
                  </a:cubicBezTo>
                  <a:cubicBezTo>
                    <a:pt x="518" y="677"/>
                    <a:pt x="518" y="677"/>
                    <a:pt x="518" y="677"/>
                  </a:cubicBezTo>
                  <a:cubicBezTo>
                    <a:pt x="529" y="686"/>
                    <a:pt x="529" y="686"/>
                    <a:pt x="529" y="686"/>
                  </a:cubicBezTo>
                  <a:cubicBezTo>
                    <a:pt x="523" y="691"/>
                    <a:pt x="523" y="691"/>
                    <a:pt x="523" y="691"/>
                  </a:cubicBezTo>
                  <a:cubicBezTo>
                    <a:pt x="522" y="697"/>
                    <a:pt x="522" y="697"/>
                    <a:pt x="522" y="697"/>
                  </a:cubicBezTo>
                  <a:cubicBezTo>
                    <a:pt x="519" y="701"/>
                    <a:pt x="519" y="701"/>
                    <a:pt x="519" y="701"/>
                  </a:cubicBezTo>
                  <a:cubicBezTo>
                    <a:pt x="510" y="691"/>
                    <a:pt x="510" y="691"/>
                    <a:pt x="510" y="691"/>
                  </a:cubicBezTo>
                  <a:cubicBezTo>
                    <a:pt x="503" y="700"/>
                    <a:pt x="503" y="700"/>
                    <a:pt x="503" y="700"/>
                  </a:cubicBezTo>
                  <a:cubicBezTo>
                    <a:pt x="495" y="698"/>
                    <a:pt x="495" y="698"/>
                    <a:pt x="495" y="698"/>
                  </a:cubicBezTo>
                  <a:cubicBezTo>
                    <a:pt x="490" y="702"/>
                    <a:pt x="490" y="702"/>
                    <a:pt x="490" y="702"/>
                  </a:cubicBezTo>
                  <a:cubicBezTo>
                    <a:pt x="484" y="690"/>
                    <a:pt x="484" y="690"/>
                    <a:pt x="484" y="690"/>
                  </a:cubicBezTo>
                  <a:cubicBezTo>
                    <a:pt x="469" y="685"/>
                    <a:pt x="469" y="685"/>
                    <a:pt x="469" y="685"/>
                  </a:cubicBezTo>
                  <a:cubicBezTo>
                    <a:pt x="467" y="678"/>
                    <a:pt x="467" y="678"/>
                    <a:pt x="467" y="678"/>
                  </a:cubicBezTo>
                  <a:cubicBezTo>
                    <a:pt x="458" y="669"/>
                    <a:pt x="458" y="669"/>
                    <a:pt x="458" y="669"/>
                  </a:cubicBezTo>
                  <a:cubicBezTo>
                    <a:pt x="448" y="666"/>
                    <a:pt x="448" y="666"/>
                    <a:pt x="448" y="666"/>
                  </a:cubicBezTo>
                  <a:cubicBezTo>
                    <a:pt x="439" y="652"/>
                    <a:pt x="439" y="652"/>
                    <a:pt x="439" y="652"/>
                  </a:cubicBezTo>
                  <a:cubicBezTo>
                    <a:pt x="431" y="657"/>
                    <a:pt x="431" y="657"/>
                    <a:pt x="431" y="657"/>
                  </a:cubicBezTo>
                  <a:cubicBezTo>
                    <a:pt x="419" y="654"/>
                    <a:pt x="419" y="654"/>
                    <a:pt x="419" y="654"/>
                  </a:cubicBezTo>
                  <a:cubicBezTo>
                    <a:pt x="403" y="660"/>
                    <a:pt x="403" y="660"/>
                    <a:pt x="403" y="660"/>
                  </a:cubicBezTo>
                  <a:cubicBezTo>
                    <a:pt x="391" y="649"/>
                    <a:pt x="391" y="649"/>
                    <a:pt x="391" y="649"/>
                  </a:cubicBezTo>
                  <a:cubicBezTo>
                    <a:pt x="391" y="633"/>
                    <a:pt x="391" y="633"/>
                    <a:pt x="391" y="633"/>
                  </a:cubicBezTo>
                  <a:cubicBezTo>
                    <a:pt x="386" y="626"/>
                    <a:pt x="386" y="626"/>
                    <a:pt x="386" y="626"/>
                  </a:cubicBezTo>
                  <a:cubicBezTo>
                    <a:pt x="380" y="629"/>
                    <a:pt x="380" y="629"/>
                    <a:pt x="380" y="629"/>
                  </a:cubicBezTo>
                  <a:cubicBezTo>
                    <a:pt x="366" y="616"/>
                    <a:pt x="366" y="616"/>
                    <a:pt x="366" y="616"/>
                  </a:cubicBezTo>
                  <a:cubicBezTo>
                    <a:pt x="351" y="616"/>
                    <a:pt x="351" y="616"/>
                    <a:pt x="351" y="616"/>
                  </a:cubicBezTo>
                  <a:cubicBezTo>
                    <a:pt x="350" y="601"/>
                    <a:pt x="350" y="601"/>
                    <a:pt x="350" y="601"/>
                  </a:cubicBezTo>
                  <a:cubicBezTo>
                    <a:pt x="334" y="600"/>
                    <a:pt x="334" y="600"/>
                    <a:pt x="334" y="600"/>
                  </a:cubicBezTo>
                  <a:cubicBezTo>
                    <a:pt x="314" y="588"/>
                    <a:pt x="314" y="588"/>
                    <a:pt x="314" y="588"/>
                  </a:cubicBezTo>
                  <a:cubicBezTo>
                    <a:pt x="314" y="592"/>
                    <a:pt x="314" y="592"/>
                    <a:pt x="314" y="592"/>
                  </a:cubicBezTo>
                  <a:cubicBezTo>
                    <a:pt x="310" y="593"/>
                    <a:pt x="310" y="593"/>
                    <a:pt x="310" y="593"/>
                  </a:cubicBezTo>
                  <a:cubicBezTo>
                    <a:pt x="304" y="588"/>
                    <a:pt x="304" y="588"/>
                    <a:pt x="304" y="588"/>
                  </a:cubicBezTo>
                  <a:cubicBezTo>
                    <a:pt x="297" y="587"/>
                    <a:pt x="297" y="587"/>
                    <a:pt x="297" y="587"/>
                  </a:cubicBezTo>
                  <a:cubicBezTo>
                    <a:pt x="294" y="581"/>
                    <a:pt x="294" y="581"/>
                    <a:pt x="294" y="581"/>
                  </a:cubicBezTo>
                  <a:cubicBezTo>
                    <a:pt x="292" y="574"/>
                    <a:pt x="292" y="574"/>
                    <a:pt x="292" y="574"/>
                  </a:cubicBezTo>
                  <a:cubicBezTo>
                    <a:pt x="284" y="574"/>
                    <a:pt x="284" y="574"/>
                    <a:pt x="284" y="574"/>
                  </a:cubicBezTo>
                  <a:cubicBezTo>
                    <a:pt x="278" y="578"/>
                    <a:pt x="278" y="578"/>
                    <a:pt x="278" y="578"/>
                  </a:cubicBezTo>
                  <a:cubicBezTo>
                    <a:pt x="271" y="578"/>
                    <a:pt x="271" y="578"/>
                    <a:pt x="271" y="578"/>
                  </a:cubicBezTo>
                  <a:cubicBezTo>
                    <a:pt x="266" y="582"/>
                    <a:pt x="266" y="582"/>
                    <a:pt x="266" y="582"/>
                  </a:cubicBezTo>
                  <a:cubicBezTo>
                    <a:pt x="261" y="582"/>
                    <a:pt x="261" y="582"/>
                    <a:pt x="261" y="582"/>
                  </a:cubicBezTo>
                  <a:cubicBezTo>
                    <a:pt x="255" y="579"/>
                    <a:pt x="255" y="579"/>
                    <a:pt x="255" y="579"/>
                  </a:cubicBezTo>
                  <a:cubicBezTo>
                    <a:pt x="245" y="578"/>
                    <a:pt x="245" y="578"/>
                    <a:pt x="245" y="578"/>
                  </a:cubicBezTo>
                  <a:cubicBezTo>
                    <a:pt x="244" y="574"/>
                    <a:pt x="244" y="574"/>
                    <a:pt x="244" y="574"/>
                  </a:cubicBezTo>
                  <a:cubicBezTo>
                    <a:pt x="236" y="574"/>
                    <a:pt x="236" y="574"/>
                    <a:pt x="236" y="574"/>
                  </a:cubicBezTo>
                  <a:cubicBezTo>
                    <a:pt x="233" y="571"/>
                    <a:pt x="233" y="571"/>
                    <a:pt x="233" y="571"/>
                  </a:cubicBezTo>
                  <a:cubicBezTo>
                    <a:pt x="220" y="569"/>
                    <a:pt x="220" y="569"/>
                    <a:pt x="220" y="569"/>
                  </a:cubicBezTo>
                  <a:cubicBezTo>
                    <a:pt x="213" y="564"/>
                    <a:pt x="213" y="564"/>
                    <a:pt x="213" y="564"/>
                  </a:cubicBezTo>
                  <a:cubicBezTo>
                    <a:pt x="210" y="571"/>
                    <a:pt x="210" y="571"/>
                    <a:pt x="210" y="571"/>
                  </a:cubicBezTo>
                  <a:cubicBezTo>
                    <a:pt x="205" y="574"/>
                    <a:pt x="205" y="574"/>
                    <a:pt x="205" y="574"/>
                  </a:cubicBezTo>
                  <a:cubicBezTo>
                    <a:pt x="206" y="584"/>
                    <a:pt x="206" y="584"/>
                    <a:pt x="206" y="584"/>
                  </a:cubicBezTo>
                  <a:cubicBezTo>
                    <a:pt x="201" y="593"/>
                    <a:pt x="201" y="593"/>
                    <a:pt x="201" y="593"/>
                  </a:cubicBezTo>
                  <a:cubicBezTo>
                    <a:pt x="194" y="595"/>
                    <a:pt x="194" y="595"/>
                    <a:pt x="194" y="595"/>
                  </a:cubicBezTo>
                  <a:cubicBezTo>
                    <a:pt x="191" y="602"/>
                    <a:pt x="191" y="602"/>
                    <a:pt x="191" y="602"/>
                  </a:cubicBezTo>
                  <a:cubicBezTo>
                    <a:pt x="186" y="595"/>
                    <a:pt x="186" y="595"/>
                    <a:pt x="186" y="595"/>
                  </a:cubicBezTo>
                  <a:cubicBezTo>
                    <a:pt x="180" y="596"/>
                    <a:pt x="180" y="596"/>
                    <a:pt x="180" y="596"/>
                  </a:cubicBezTo>
                  <a:cubicBezTo>
                    <a:pt x="180" y="593"/>
                    <a:pt x="178" y="591"/>
                    <a:pt x="178" y="586"/>
                  </a:cubicBezTo>
                  <a:cubicBezTo>
                    <a:pt x="178" y="577"/>
                    <a:pt x="176" y="575"/>
                    <a:pt x="170" y="573"/>
                  </a:cubicBezTo>
                  <a:cubicBezTo>
                    <a:pt x="165" y="572"/>
                    <a:pt x="164" y="570"/>
                    <a:pt x="168" y="565"/>
                  </a:cubicBezTo>
                  <a:cubicBezTo>
                    <a:pt x="172" y="561"/>
                    <a:pt x="165" y="557"/>
                    <a:pt x="162" y="553"/>
                  </a:cubicBezTo>
                  <a:cubicBezTo>
                    <a:pt x="158" y="549"/>
                    <a:pt x="160" y="544"/>
                    <a:pt x="159" y="541"/>
                  </a:cubicBezTo>
                  <a:cubicBezTo>
                    <a:pt x="158" y="538"/>
                    <a:pt x="166" y="533"/>
                    <a:pt x="171" y="527"/>
                  </a:cubicBezTo>
                  <a:cubicBezTo>
                    <a:pt x="175" y="521"/>
                    <a:pt x="173" y="515"/>
                    <a:pt x="174" y="513"/>
                  </a:cubicBezTo>
                  <a:cubicBezTo>
                    <a:pt x="175" y="510"/>
                    <a:pt x="186" y="511"/>
                    <a:pt x="187" y="508"/>
                  </a:cubicBezTo>
                  <a:cubicBezTo>
                    <a:pt x="189" y="506"/>
                    <a:pt x="190" y="492"/>
                    <a:pt x="190" y="492"/>
                  </a:cubicBezTo>
                  <a:cubicBezTo>
                    <a:pt x="190" y="492"/>
                    <a:pt x="201" y="491"/>
                    <a:pt x="206" y="490"/>
                  </a:cubicBezTo>
                  <a:cubicBezTo>
                    <a:pt x="211" y="490"/>
                    <a:pt x="212" y="485"/>
                    <a:pt x="213" y="479"/>
                  </a:cubicBezTo>
                  <a:cubicBezTo>
                    <a:pt x="214" y="472"/>
                    <a:pt x="220" y="467"/>
                    <a:pt x="229" y="466"/>
                  </a:cubicBezTo>
                  <a:cubicBezTo>
                    <a:pt x="237" y="465"/>
                    <a:pt x="249" y="465"/>
                    <a:pt x="253" y="463"/>
                  </a:cubicBezTo>
                  <a:cubicBezTo>
                    <a:pt x="254" y="463"/>
                    <a:pt x="254" y="458"/>
                    <a:pt x="253" y="454"/>
                  </a:cubicBezTo>
                  <a:close/>
                  <a:moveTo>
                    <a:pt x="0" y="430"/>
                  </a:moveTo>
                  <a:cubicBezTo>
                    <a:pt x="0" y="430"/>
                    <a:pt x="0" y="430"/>
                    <a:pt x="0" y="430"/>
                  </a:cubicBezTo>
                  <a:cubicBezTo>
                    <a:pt x="1" y="430"/>
                    <a:pt x="1" y="431"/>
                    <a:pt x="2" y="431"/>
                  </a:cubicBezTo>
                  <a:cubicBezTo>
                    <a:pt x="11" y="434"/>
                    <a:pt x="10" y="436"/>
                    <a:pt x="14" y="435"/>
                  </a:cubicBezTo>
                  <a:cubicBezTo>
                    <a:pt x="17" y="435"/>
                    <a:pt x="25" y="442"/>
                    <a:pt x="27" y="444"/>
                  </a:cubicBezTo>
                  <a:cubicBezTo>
                    <a:pt x="28" y="447"/>
                    <a:pt x="38" y="447"/>
                    <a:pt x="44" y="440"/>
                  </a:cubicBezTo>
                  <a:cubicBezTo>
                    <a:pt x="44" y="439"/>
                    <a:pt x="45" y="438"/>
                    <a:pt x="45" y="438"/>
                  </a:cubicBezTo>
                  <a:cubicBezTo>
                    <a:pt x="46" y="443"/>
                    <a:pt x="46" y="447"/>
                    <a:pt x="46" y="449"/>
                  </a:cubicBezTo>
                  <a:cubicBezTo>
                    <a:pt x="43" y="458"/>
                    <a:pt x="45" y="460"/>
                    <a:pt x="51" y="467"/>
                  </a:cubicBezTo>
                  <a:cubicBezTo>
                    <a:pt x="57" y="474"/>
                    <a:pt x="54" y="482"/>
                    <a:pt x="49" y="481"/>
                  </a:cubicBezTo>
                  <a:cubicBezTo>
                    <a:pt x="45" y="481"/>
                    <a:pt x="41" y="482"/>
                    <a:pt x="37" y="486"/>
                  </a:cubicBezTo>
                  <a:cubicBezTo>
                    <a:pt x="32" y="490"/>
                    <a:pt x="28" y="481"/>
                    <a:pt x="25" y="476"/>
                  </a:cubicBezTo>
                  <a:cubicBezTo>
                    <a:pt x="23" y="470"/>
                    <a:pt x="6" y="443"/>
                    <a:pt x="5" y="442"/>
                  </a:cubicBezTo>
                  <a:cubicBezTo>
                    <a:pt x="4" y="440"/>
                    <a:pt x="2" y="435"/>
                    <a:pt x="0" y="430"/>
                  </a:cubicBezTo>
                  <a:close/>
                  <a:moveTo>
                    <a:pt x="747" y="407"/>
                  </a:moveTo>
                  <a:cubicBezTo>
                    <a:pt x="747" y="407"/>
                    <a:pt x="747" y="407"/>
                    <a:pt x="747" y="407"/>
                  </a:cubicBezTo>
                  <a:cubicBezTo>
                    <a:pt x="738" y="414"/>
                    <a:pt x="737" y="414"/>
                    <a:pt x="738" y="422"/>
                  </a:cubicBezTo>
                  <a:cubicBezTo>
                    <a:pt x="738" y="429"/>
                    <a:pt x="746" y="428"/>
                    <a:pt x="756" y="426"/>
                  </a:cubicBezTo>
                  <a:cubicBezTo>
                    <a:pt x="766" y="425"/>
                    <a:pt x="768" y="419"/>
                    <a:pt x="767" y="415"/>
                  </a:cubicBezTo>
                  <a:cubicBezTo>
                    <a:pt x="765" y="411"/>
                    <a:pt x="761" y="404"/>
                    <a:pt x="755" y="404"/>
                  </a:cubicBezTo>
                  <a:cubicBezTo>
                    <a:pt x="749" y="404"/>
                    <a:pt x="747" y="407"/>
                    <a:pt x="747" y="407"/>
                  </a:cubicBezTo>
                  <a:close/>
                  <a:moveTo>
                    <a:pt x="986" y="13"/>
                  </a:moveTo>
                  <a:cubicBezTo>
                    <a:pt x="986" y="13"/>
                    <a:pt x="986" y="13"/>
                    <a:pt x="986" y="13"/>
                  </a:cubicBezTo>
                  <a:cubicBezTo>
                    <a:pt x="986" y="16"/>
                    <a:pt x="984" y="23"/>
                    <a:pt x="989" y="21"/>
                  </a:cubicBezTo>
                  <a:cubicBezTo>
                    <a:pt x="995" y="20"/>
                    <a:pt x="1000" y="16"/>
                    <a:pt x="1001" y="19"/>
                  </a:cubicBezTo>
                  <a:cubicBezTo>
                    <a:pt x="1002" y="21"/>
                    <a:pt x="1010" y="21"/>
                    <a:pt x="1007" y="16"/>
                  </a:cubicBezTo>
                  <a:cubicBezTo>
                    <a:pt x="1004" y="10"/>
                    <a:pt x="997" y="9"/>
                    <a:pt x="993" y="9"/>
                  </a:cubicBezTo>
                  <a:cubicBezTo>
                    <a:pt x="990" y="10"/>
                    <a:pt x="987" y="0"/>
                    <a:pt x="985" y="4"/>
                  </a:cubicBezTo>
                  <a:cubicBezTo>
                    <a:pt x="983" y="8"/>
                    <a:pt x="986" y="13"/>
                    <a:pt x="986" y="13"/>
                  </a:cubicBezTo>
                  <a:close/>
                  <a:moveTo>
                    <a:pt x="1046" y="62"/>
                  </a:moveTo>
                  <a:cubicBezTo>
                    <a:pt x="1046" y="62"/>
                    <a:pt x="1046" y="62"/>
                    <a:pt x="1046" y="62"/>
                  </a:cubicBezTo>
                  <a:cubicBezTo>
                    <a:pt x="1043" y="62"/>
                    <a:pt x="1038" y="66"/>
                    <a:pt x="1040" y="70"/>
                  </a:cubicBezTo>
                  <a:cubicBezTo>
                    <a:pt x="1041" y="75"/>
                    <a:pt x="1045" y="75"/>
                    <a:pt x="1049" y="75"/>
                  </a:cubicBezTo>
                  <a:cubicBezTo>
                    <a:pt x="1053" y="74"/>
                    <a:pt x="1057" y="77"/>
                    <a:pt x="1059" y="74"/>
                  </a:cubicBezTo>
                  <a:cubicBezTo>
                    <a:pt x="1061" y="71"/>
                    <a:pt x="1065" y="64"/>
                    <a:pt x="1067" y="67"/>
                  </a:cubicBezTo>
                  <a:cubicBezTo>
                    <a:pt x="1070" y="70"/>
                    <a:pt x="1077" y="75"/>
                    <a:pt x="1080" y="75"/>
                  </a:cubicBezTo>
                  <a:cubicBezTo>
                    <a:pt x="1083" y="75"/>
                    <a:pt x="1086" y="66"/>
                    <a:pt x="1091" y="65"/>
                  </a:cubicBezTo>
                  <a:cubicBezTo>
                    <a:pt x="1096" y="64"/>
                    <a:pt x="1097" y="71"/>
                    <a:pt x="1101" y="72"/>
                  </a:cubicBezTo>
                  <a:cubicBezTo>
                    <a:pt x="1105" y="73"/>
                    <a:pt x="1116" y="74"/>
                    <a:pt x="1118" y="66"/>
                  </a:cubicBezTo>
                  <a:cubicBezTo>
                    <a:pt x="1120" y="58"/>
                    <a:pt x="1120" y="51"/>
                    <a:pt x="1115" y="53"/>
                  </a:cubicBezTo>
                  <a:cubicBezTo>
                    <a:pt x="1111" y="55"/>
                    <a:pt x="1101" y="59"/>
                    <a:pt x="1099" y="59"/>
                  </a:cubicBezTo>
                  <a:cubicBezTo>
                    <a:pt x="1096" y="59"/>
                    <a:pt x="1093" y="62"/>
                    <a:pt x="1091" y="58"/>
                  </a:cubicBezTo>
                  <a:cubicBezTo>
                    <a:pt x="1090" y="55"/>
                    <a:pt x="1099" y="55"/>
                    <a:pt x="1097" y="50"/>
                  </a:cubicBezTo>
                  <a:cubicBezTo>
                    <a:pt x="1096" y="45"/>
                    <a:pt x="1085" y="45"/>
                    <a:pt x="1084" y="48"/>
                  </a:cubicBezTo>
                  <a:cubicBezTo>
                    <a:pt x="1083" y="51"/>
                    <a:pt x="1089" y="54"/>
                    <a:pt x="1085" y="55"/>
                  </a:cubicBezTo>
                  <a:cubicBezTo>
                    <a:pt x="1081" y="56"/>
                    <a:pt x="1082" y="54"/>
                    <a:pt x="1077" y="55"/>
                  </a:cubicBezTo>
                  <a:cubicBezTo>
                    <a:pt x="1071" y="57"/>
                    <a:pt x="1072" y="63"/>
                    <a:pt x="1069" y="64"/>
                  </a:cubicBezTo>
                  <a:cubicBezTo>
                    <a:pt x="1066" y="64"/>
                    <a:pt x="1060" y="64"/>
                    <a:pt x="1058" y="64"/>
                  </a:cubicBezTo>
                  <a:cubicBezTo>
                    <a:pt x="1055" y="64"/>
                    <a:pt x="1046" y="62"/>
                    <a:pt x="1046" y="62"/>
                  </a:cubicBezTo>
                  <a:close/>
                  <a:moveTo>
                    <a:pt x="1043" y="37"/>
                  </a:moveTo>
                  <a:cubicBezTo>
                    <a:pt x="1043" y="37"/>
                    <a:pt x="1043" y="37"/>
                    <a:pt x="1043" y="37"/>
                  </a:cubicBezTo>
                  <a:cubicBezTo>
                    <a:pt x="1043" y="37"/>
                    <a:pt x="1047" y="35"/>
                    <a:pt x="1046" y="31"/>
                  </a:cubicBezTo>
                  <a:cubicBezTo>
                    <a:pt x="1045" y="27"/>
                    <a:pt x="1053" y="27"/>
                    <a:pt x="1053" y="27"/>
                  </a:cubicBezTo>
                  <a:cubicBezTo>
                    <a:pt x="1053" y="27"/>
                    <a:pt x="1054" y="30"/>
                    <a:pt x="1059" y="28"/>
                  </a:cubicBezTo>
                  <a:cubicBezTo>
                    <a:pt x="1064" y="27"/>
                    <a:pt x="1060" y="23"/>
                    <a:pt x="1062" y="23"/>
                  </a:cubicBezTo>
                  <a:cubicBezTo>
                    <a:pt x="1065" y="23"/>
                    <a:pt x="1072" y="23"/>
                    <a:pt x="1073" y="20"/>
                  </a:cubicBezTo>
                  <a:cubicBezTo>
                    <a:pt x="1074" y="16"/>
                    <a:pt x="1079" y="17"/>
                    <a:pt x="1082" y="23"/>
                  </a:cubicBezTo>
                  <a:cubicBezTo>
                    <a:pt x="1085" y="29"/>
                    <a:pt x="1079" y="30"/>
                    <a:pt x="1076" y="28"/>
                  </a:cubicBezTo>
                  <a:cubicBezTo>
                    <a:pt x="1073" y="27"/>
                    <a:pt x="1072" y="31"/>
                    <a:pt x="1070" y="35"/>
                  </a:cubicBezTo>
                  <a:cubicBezTo>
                    <a:pt x="1067" y="38"/>
                    <a:pt x="1070" y="41"/>
                    <a:pt x="1068" y="45"/>
                  </a:cubicBezTo>
                  <a:cubicBezTo>
                    <a:pt x="1066" y="49"/>
                    <a:pt x="1061" y="53"/>
                    <a:pt x="1056" y="53"/>
                  </a:cubicBezTo>
                  <a:cubicBezTo>
                    <a:pt x="1051" y="53"/>
                    <a:pt x="1050" y="49"/>
                    <a:pt x="1048" y="44"/>
                  </a:cubicBezTo>
                  <a:cubicBezTo>
                    <a:pt x="1046" y="39"/>
                    <a:pt x="1038" y="38"/>
                    <a:pt x="1043" y="37"/>
                  </a:cubicBezTo>
                  <a:close/>
                  <a:moveTo>
                    <a:pt x="987" y="29"/>
                  </a:moveTo>
                  <a:cubicBezTo>
                    <a:pt x="987" y="29"/>
                    <a:pt x="987" y="29"/>
                    <a:pt x="987" y="29"/>
                  </a:cubicBezTo>
                  <a:cubicBezTo>
                    <a:pt x="989" y="30"/>
                    <a:pt x="994" y="29"/>
                    <a:pt x="995" y="26"/>
                  </a:cubicBezTo>
                  <a:cubicBezTo>
                    <a:pt x="995" y="22"/>
                    <a:pt x="1002" y="25"/>
                    <a:pt x="1005" y="27"/>
                  </a:cubicBezTo>
                  <a:cubicBezTo>
                    <a:pt x="1008" y="30"/>
                    <a:pt x="1012" y="26"/>
                    <a:pt x="1013" y="21"/>
                  </a:cubicBezTo>
                  <a:cubicBezTo>
                    <a:pt x="1015" y="16"/>
                    <a:pt x="1025" y="20"/>
                    <a:pt x="1023" y="24"/>
                  </a:cubicBezTo>
                  <a:cubicBezTo>
                    <a:pt x="1022" y="27"/>
                    <a:pt x="1025" y="29"/>
                    <a:pt x="1024" y="31"/>
                  </a:cubicBezTo>
                  <a:cubicBezTo>
                    <a:pt x="1024" y="32"/>
                    <a:pt x="1015" y="37"/>
                    <a:pt x="1011" y="37"/>
                  </a:cubicBezTo>
                  <a:cubicBezTo>
                    <a:pt x="1007" y="37"/>
                    <a:pt x="1005" y="40"/>
                    <a:pt x="1001" y="42"/>
                  </a:cubicBezTo>
                  <a:cubicBezTo>
                    <a:pt x="997" y="43"/>
                    <a:pt x="992" y="44"/>
                    <a:pt x="989" y="40"/>
                  </a:cubicBezTo>
                  <a:cubicBezTo>
                    <a:pt x="985" y="36"/>
                    <a:pt x="981" y="36"/>
                    <a:pt x="983" y="32"/>
                  </a:cubicBezTo>
                  <a:cubicBezTo>
                    <a:pt x="984" y="28"/>
                    <a:pt x="987" y="29"/>
                    <a:pt x="987" y="29"/>
                  </a:cubicBezTo>
                  <a:close/>
                  <a:moveTo>
                    <a:pt x="863" y="325"/>
                  </a:moveTo>
                  <a:cubicBezTo>
                    <a:pt x="863" y="325"/>
                    <a:pt x="863" y="325"/>
                    <a:pt x="863" y="325"/>
                  </a:cubicBezTo>
                  <a:cubicBezTo>
                    <a:pt x="859" y="328"/>
                    <a:pt x="860" y="334"/>
                    <a:pt x="855" y="336"/>
                  </a:cubicBezTo>
                  <a:cubicBezTo>
                    <a:pt x="849" y="339"/>
                    <a:pt x="848" y="339"/>
                    <a:pt x="843" y="336"/>
                  </a:cubicBezTo>
                  <a:cubicBezTo>
                    <a:pt x="837" y="333"/>
                    <a:pt x="832" y="344"/>
                    <a:pt x="830" y="348"/>
                  </a:cubicBezTo>
                  <a:cubicBezTo>
                    <a:pt x="828" y="352"/>
                    <a:pt x="830" y="359"/>
                    <a:pt x="833" y="359"/>
                  </a:cubicBezTo>
                  <a:cubicBezTo>
                    <a:pt x="836" y="360"/>
                    <a:pt x="841" y="363"/>
                    <a:pt x="841" y="364"/>
                  </a:cubicBezTo>
                  <a:cubicBezTo>
                    <a:pt x="842" y="365"/>
                    <a:pt x="837" y="360"/>
                    <a:pt x="834" y="366"/>
                  </a:cubicBezTo>
                  <a:cubicBezTo>
                    <a:pt x="830" y="372"/>
                    <a:pt x="830" y="378"/>
                    <a:pt x="832" y="380"/>
                  </a:cubicBezTo>
                  <a:cubicBezTo>
                    <a:pt x="834" y="382"/>
                    <a:pt x="842" y="374"/>
                    <a:pt x="842" y="371"/>
                  </a:cubicBezTo>
                  <a:cubicBezTo>
                    <a:pt x="842" y="367"/>
                    <a:pt x="846" y="366"/>
                    <a:pt x="846" y="370"/>
                  </a:cubicBezTo>
                  <a:cubicBezTo>
                    <a:pt x="846" y="374"/>
                    <a:pt x="848" y="382"/>
                    <a:pt x="844" y="384"/>
                  </a:cubicBezTo>
                  <a:cubicBezTo>
                    <a:pt x="840" y="386"/>
                    <a:pt x="836" y="388"/>
                    <a:pt x="836" y="391"/>
                  </a:cubicBezTo>
                  <a:cubicBezTo>
                    <a:pt x="837" y="395"/>
                    <a:pt x="841" y="401"/>
                    <a:pt x="843" y="402"/>
                  </a:cubicBezTo>
                  <a:cubicBezTo>
                    <a:pt x="845" y="403"/>
                    <a:pt x="852" y="409"/>
                    <a:pt x="856" y="412"/>
                  </a:cubicBezTo>
                  <a:cubicBezTo>
                    <a:pt x="860" y="416"/>
                    <a:pt x="868" y="420"/>
                    <a:pt x="871" y="421"/>
                  </a:cubicBezTo>
                  <a:cubicBezTo>
                    <a:pt x="874" y="423"/>
                    <a:pt x="884" y="420"/>
                    <a:pt x="879" y="413"/>
                  </a:cubicBezTo>
                  <a:cubicBezTo>
                    <a:pt x="874" y="406"/>
                    <a:pt x="874" y="396"/>
                    <a:pt x="875" y="391"/>
                  </a:cubicBezTo>
                  <a:cubicBezTo>
                    <a:pt x="876" y="387"/>
                    <a:pt x="877" y="380"/>
                    <a:pt x="878" y="374"/>
                  </a:cubicBezTo>
                  <a:cubicBezTo>
                    <a:pt x="879" y="367"/>
                    <a:pt x="878" y="360"/>
                    <a:pt x="883" y="355"/>
                  </a:cubicBezTo>
                  <a:cubicBezTo>
                    <a:pt x="888" y="349"/>
                    <a:pt x="892" y="344"/>
                    <a:pt x="898" y="338"/>
                  </a:cubicBezTo>
                  <a:cubicBezTo>
                    <a:pt x="904" y="333"/>
                    <a:pt x="909" y="331"/>
                    <a:pt x="911" y="327"/>
                  </a:cubicBezTo>
                  <a:cubicBezTo>
                    <a:pt x="913" y="324"/>
                    <a:pt x="923" y="326"/>
                    <a:pt x="925" y="323"/>
                  </a:cubicBezTo>
                  <a:cubicBezTo>
                    <a:pt x="927" y="320"/>
                    <a:pt x="943" y="307"/>
                    <a:pt x="947" y="305"/>
                  </a:cubicBezTo>
                  <a:cubicBezTo>
                    <a:pt x="951" y="302"/>
                    <a:pt x="960" y="296"/>
                    <a:pt x="963" y="295"/>
                  </a:cubicBezTo>
                  <a:cubicBezTo>
                    <a:pt x="966" y="293"/>
                    <a:pt x="978" y="290"/>
                    <a:pt x="981" y="287"/>
                  </a:cubicBezTo>
                  <a:cubicBezTo>
                    <a:pt x="985" y="284"/>
                    <a:pt x="983" y="278"/>
                    <a:pt x="999" y="273"/>
                  </a:cubicBezTo>
                  <a:cubicBezTo>
                    <a:pt x="1016" y="268"/>
                    <a:pt x="1026" y="269"/>
                    <a:pt x="1036" y="269"/>
                  </a:cubicBezTo>
                  <a:cubicBezTo>
                    <a:pt x="1047" y="270"/>
                    <a:pt x="1065" y="260"/>
                    <a:pt x="1069" y="260"/>
                  </a:cubicBezTo>
                  <a:cubicBezTo>
                    <a:pt x="1073" y="260"/>
                    <a:pt x="1083" y="257"/>
                    <a:pt x="1085" y="249"/>
                  </a:cubicBezTo>
                  <a:cubicBezTo>
                    <a:pt x="1087" y="241"/>
                    <a:pt x="1087" y="229"/>
                    <a:pt x="1077" y="230"/>
                  </a:cubicBezTo>
                  <a:cubicBezTo>
                    <a:pt x="1067" y="231"/>
                    <a:pt x="1064" y="235"/>
                    <a:pt x="1053" y="240"/>
                  </a:cubicBezTo>
                  <a:cubicBezTo>
                    <a:pt x="1043" y="246"/>
                    <a:pt x="1036" y="247"/>
                    <a:pt x="1029" y="243"/>
                  </a:cubicBezTo>
                  <a:cubicBezTo>
                    <a:pt x="1023" y="239"/>
                    <a:pt x="1015" y="229"/>
                    <a:pt x="1008" y="234"/>
                  </a:cubicBezTo>
                  <a:cubicBezTo>
                    <a:pt x="1001" y="239"/>
                    <a:pt x="997" y="240"/>
                    <a:pt x="986" y="240"/>
                  </a:cubicBezTo>
                  <a:cubicBezTo>
                    <a:pt x="976" y="240"/>
                    <a:pt x="964" y="244"/>
                    <a:pt x="959" y="249"/>
                  </a:cubicBezTo>
                  <a:cubicBezTo>
                    <a:pt x="953" y="255"/>
                    <a:pt x="950" y="259"/>
                    <a:pt x="947" y="256"/>
                  </a:cubicBezTo>
                  <a:cubicBezTo>
                    <a:pt x="943" y="254"/>
                    <a:pt x="942" y="259"/>
                    <a:pt x="940" y="265"/>
                  </a:cubicBezTo>
                  <a:cubicBezTo>
                    <a:pt x="939" y="272"/>
                    <a:pt x="935" y="270"/>
                    <a:pt x="929" y="274"/>
                  </a:cubicBezTo>
                  <a:cubicBezTo>
                    <a:pt x="923" y="277"/>
                    <a:pt x="921" y="283"/>
                    <a:pt x="914" y="285"/>
                  </a:cubicBezTo>
                  <a:cubicBezTo>
                    <a:pt x="907" y="287"/>
                    <a:pt x="899" y="287"/>
                    <a:pt x="897" y="291"/>
                  </a:cubicBezTo>
                  <a:cubicBezTo>
                    <a:pt x="894" y="295"/>
                    <a:pt x="900" y="299"/>
                    <a:pt x="896" y="302"/>
                  </a:cubicBezTo>
                  <a:cubicBezTo>
                    <a:pt x="891" y="304"/>
                    <a:pt x="900" y="309"/>
                    <a:pt x="890" y="309"/>
                  </a:cubicBezTo>
                  <a:cubicBezTo>
                    <a:pt x="880" y="309"/>
                    <a:pt x="875" y="310"/>
                    <a:pt x="874" y="312"/>
                  </a:cubicBezTo>
                  <a:cubicBezTo>
                    <a:pt x="873" y="314"/>
                    <a:pt x="869" y="314"/>
                    <a:pt x="867" y="316"/>
                  </a:cubicBezTo>
                  <a:cubicBezTo>
                    <a:pt x="864" y="318"/>
                    <a:pt x="863" y="325"/>
                    <a:pt x="863" y="325"/>
                  </a:cubicBezTo>
                  <a:close/>
                </a:path>
              </a:pathLst>
            </a:custGeom>
            <a:grpFill/>
            <a:ln w="6350"/>
            <a:effectLst/>
            <a:ex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13" name="Госпрограмма. Дороги"/>
          <p:cNvGrpSpPr/>
          <p:nvPr/>
        </p:nvGrpSpPr>
        <p:grpSpPr>
          <a:xfrm>
            <a:off x="1662926" y="4234175"/>
            <a:ext cx="658445" cy="1399938"/>
            <a:chOff x="1097086" y="3104358"/>
            <a:chExt cx="846608" cy="1799993"/>
          </a:xfrm>
          <a:noFill/>
        </p:grpSpPr>
        <p:sp>
          <p:nvSpPr>
            <p:cNvPr id="14" name="М-11"/>
            <p:cNvSpPr/>
            <p:nvPr/>
          </p:nvSpPr>
          <p:spPr>
            <a:xfrm>
              <a:off x="1853989" y="3104358"/>
              <a:ext cx="76805" cy="764910"/>
            </a:xfrm>
            <a:custGeom>
              <a:avLst/>
              <a:gdLst>
                <a:gd name="connsiteX0" fmla="*/ 211 w 76805"/>
                <a:gd name="connsiteY0" fmla="*/ 0 h 795867"/>
                <a:gd name="connsiteX1" fmla="*/ 67944 w 76805"/>
                <a:gd name="connsiteY1" fmla="*/ 84667 h 795867"/>
                <a:gd name="connsiteX2" fmla="*/ 59478 w 76805"/>
                <a:gd name="connsiteY2" fmla="*/ 169333 h 795867"/>
                <a:gd name="connsiteX3" fmla="*/ 25611 w 76805"/>
                <a:gd name="connsiteY3" fmla="*/ 254000 h 795867"/>
                <a:gd name="connsiteX4" fmla="*/ 211 w 76805"/>
                <a:gd name="connsiteY4" fmla="*/ 355600 h 795867"/>
                <a:gd name="connsiteX5" fmla="*/ 17144 w 76805"/>
                <a:gd name="connsiteY5" fmla="*/ 465667 h 795867"/>
                <a:gd name="connsiteX6" fmla="*/ 76411 w 76805"/>
                <a:gd name="connsiteY6" fmla="*/ 575733 h 795867"/>
                <a:gd name="connsiteX7" fmla="*/ 42544 w 76805"/>
                <a:gd name="connsiteY7" fmla="*/ 677333 h 795867"/>
                <a:gd name="connsiteX8" fmla="*/ 34078 w 76805"/>
                <a:gd name="connsiteY8" fmla="*/ 795867 h 795867"/>
                <a:gd name="connsiteX0" fmla="*/ 9736 w 76805"/>
                <a:gd name="connsiteY0" fmla="*/ 0 h 764910"/>
                <a:gd name="connsiteX1" fmla="*/ 67944 w 76805"/>
                <a:gd name="connsiteY1" fmla="*/ 53710 h 764910"/>
                <a:gd name="connsiteX2" fmla="*/ 59478 w 76805"/>
                <a:gd name="connsiteY2" fmla="*/ 138376 h 764910"/>
                <a:gd name="connsiteX3" fmla="*/ 25611 w 76805"/>
                <a:gd name="connsiteY3" fmla="*/ 223043 h 764910"/>
                <a:gd name="connsiteX4" fmla="*/ 211 w 76805"/>
                <a:gd name="connsiteY4" fmla="*/ 324643 h 764910"/>
                <a:gd name="connsiteX5" fmla="*/ 17144 w 76805"/>
                <a:gd name="connsiteY5" fmla="*/ 434710 h 764910"/>
                <a:gd name="connsiteX6" fmla="*/ 76411 w 76805"/>
                <a:gd name="connsiteY6" fmla="*/ 544776 h 764910"/>
                <a:gd name="connsiteX7" fmla="*/ 42544 w 76805"/>
                <a:gd name="connsiteY7" fmla="*/ 646376 h 764910"/>
                <a:gd name="connsiteX8" fmla="*/ 34078 w 76805"/>
                <a:gd name="connsiteY8" fmla="*/ 764910 h 764910"/>
                <a:gd name="connsiteX0" fmla="*/ 9736 w 76805"/>
                <a:gd name="connsiteY0" fmla="*/ 0 h 764910"/>
                <a:gd name="connsiteX1" fmla="*/ 67944 w 76805"/>
                <a:gd name="connsiteY1" fmla="*/ 53710 h 764910"/>
                <a:gd name="connsiteX2" fmla="*/ 59478 w 76805"/>
                <a:gd name="connsiteY2" fmla="*/ 138376 h 764910"/>
                <a:gd name="connsiteX3" fmla="*/ 25611 w 76805"/>
                <a:gd name="connsiteY3" fmla="*/ 223043 h 764910"/>
                <a:gd name="connsiteX4" fmla="*/ 211 w 76805"/>
                <a:gd name="connsiteY4" fmla="*/ 324643 h 764910"/>
                <a:gd name="connsiteX5" fmla="*/ 17144 w 76805"/>
                <a:gd name="connsiteY5" fmla="*/ 434710 h 764910"/>
                <a:gd name="connsiteX6" fmla="*/ 76411 w 76805"/>
                <a:gd name="connsiteY6" fmla="*/ 544776 h 764910"/>
                <a:gd name="connsiteX7" fmla="*/ 42544 w 76805"/>
                <a:gd name="connsiteY7" fmla="*/ 646376 h 764910"/>
                <a:gd name="connsiteX8" fmla="*/ 34078 w 76805"/>
                <a:gd name="connsiteY8" fmla="*/ 764910 h 764910"/>
                <a:gd name="connsiteX0" fmla="*/ 9736 w 76805"/>
                <a:gd name="connsiteY0" fmla="*/ 0 h 764910"/>
                <a:gd name="connsiteX1" fmla="*/ 53656 w 76805"/>
                <a:gd name="connsiteY1" fmla="*/ 56091 h 764910"/>
                <a:gd name="connsiteX2" fmla="*/ 59478 w 76805"/>
                <a:gd name="connsiteY2" fmla="*/ 138376 h 764910"/>
                <a:gd name="connsiteX3" fmla="*/ 25611 w 76805"/>
                <a:gd name="connsiteY3" fmla="*/ 223043 h 764910"/>
                <a:gd name="connsiteX4" fmla="*/ 211 w 76805"/>
                <a:gd name="connsiteY4" fmla="*/ 324643 h 764910"/>
                <a:gd name="connsiteX5" fmla="*/ 17144 w 76805"/>
                <a:gd name="connsiteY5" fmla="*/ 434710 h 764910"/>
                <a:gd name="connsiteX6" fmla="*/ 76411 w 76805"/>
                <a:gd name="connsiteY6" fmla="*/ 544776 h 764910"/>
                <a:gd name="connsiteX7" fmla="*/ 42544 w 76805"/>
                <a:gd name="connsiteY7" fmla="*/ 646376 h 764910"/>
                <a:gd name="connsiteX8" fmla="*/ 34078 w 76805"/>
                <a:gd name="connsiteY8" fmla="*/ 764910 h 76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805" h="764910">
                  <a:moveTo>
                    <a:pt x="9736" y="0"/>
                  </a:moveTo>
                  <a:cubicBezTo>
                    <a:pt x="41045" y="18697"/>
                    <a:pt x="45366" y="33028"/>
                    <a:pt x="53656" y="56091"/>
                  </a:cubicBezTo>
                  <a:cubicBezTo>
                    <a:pt x="61946" y="79154"/>
                    <a:pt x="64152" y="110551"/>
                    <a:pt x="59478" y="138376"/>
                  </a:cubicBezTo>
                  <a:cubicBezTo>
                    <a:pt x="54804" y="166201"/>
                    <a:pt x="35489" y="191999"/>
                    <a:pt x="25611" y="223043"/>
                  </a:cubicBezTo>
                  <a:cubicBezTo>
                    <a:pt x="15733" y="254087"/>
                    <a:pt x="1622" y="289365"/>
                    <a:pt x="211" y="324643"/>
                  </a:cubicBezTo>
                  <a:cubicBezTo>
                    <a:pt x="-1200" y="359921"/>
                    <a:pt x="4444" y="398021"/>
                    <a:pt x="17144" y="434710"/>
                  </a:cubicBezTo>
                  <a:cubicBezTo>
                    <a:pt x="29844" y="471399"/>
                    <a:pt x="72178" y="509498"/>
                    <a:pt x="76411" y="544776"/>
                  </a:cubicBezTo>
                  <a:cubicBezTo>
                    <a:pt x="80644" y="580054"/>
                    <a:pt x="49600" y="609687"/>
                    <a:pt x="42544" y="646376"/>
                  </a:cubicBezTo>
                  <a:cubicBezTo>
                    <a:pt x="35489" y="683065"/>
                    <a:pt x="34783" y="723987"/>
                    <a:pt x="34078" y="764910"/>
                  </a:cubicBezTo>
                </a:path>
              </a:pathLst>
            </a:custGeom>
            <a:grpFill/>
            <a:ln w="28575" cmpd="dbl">
              <a:solidFill>
                <a:schemeClr val="accent1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ru-RU" sz="1247"/>
            </a:p>
          </p:txBody>
        </p:sp>
        <p:sp>
          <p:nvSpPr>
            <p:cNvPr id="15" name="ЦКАД"/>
            <p:cNvSpPr/>
            <p:nvPr/>
          </p:nvSpPr>
          <p:spPr>
            <a:xfrm>
              <a:off x="1789247" y="3866251"/>
              <a:ext cx="154447" cy="139547"/>
            </a:xfrm>
            <a:custGeom>
              <a:avLst/>
              <a:gdLst>
                <a:gd name="connsiteX0" fmla="*/ 87177 w 154447"/>
                <a:gd name="connsiteY0" fmla="*/ 898 h 139547"/>
                <a:gd name="connsiteX1" fmla="*/ 10977 w 154447"/>
                <a:gd name="connsiteY1" fmla="*/ 24711 h 139547"/>
                <a:gd name="connsiteX2" fmla="*/ 1452 w 154447"/>
                <a:gd name="connsiteY2" fmla="*/ 81861 h 139547"/>
                <a:gd name="connsiteX3" fmla="*/ 20502 w 154447"/>
                <a:gd name="connsiteY3" fmla="*/ 129486 h 139547"/>
                <a:gd name="connsiteX4" fmla="*/ 82415 w 154447"/>
                <a:gd name="connsiteY4" fmla="*/ 139011 h 139547"/>
                <a:gd name="connsiteX5" fmla="*/ 139565 w 154447"/>
                <a:gd name="connsiteY5" fmla="*/ 119961 h 139547"/>
                <a:gd name="connsiteX6" fmla="*/ 153852 w 154447"/>
                <a:gd name="connsiteY6" fmla="*/ 53286 h 139547"/>
                <a:gd name="connsiteX7" fmla="*/ 87177 w 154447"/>
                <a:gd name="connsiteY7" fmla="*/ 898 h 139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447" h="139547">
                  <a:moveTo>
                    <a:pt x="87177" y="898"/>
                  </a:moveTo>
                  <a:cubicBezTo>
                    <a:pt x="63365" y="-3864"/>
                    <a:pt x="25264" y="11217"/>
                    <a:pt x="10977" y="24711"/>
                  </a:cubicBezTo>
                  <a:cubicBezTo>
                    <a:pt x="-3310" y="38205"/>
                    <a:pt x="-135" y="64399"/>
                    <a:pt x="1452" y="81861"/>
                  </a:cubicBezTo>
                  <a:cubicBezTo>
                    <a:pt x="3039" y="99323"/>
                    <a:pt x="7008" y="119961"/>
                    <a:pt x="20502" y="129486"/>
                  </a:cubicBezTo>
                  <a:cubicBezTo>
                    <a:pt x="33996" y="139011"/>
                    <a:pt x="62571" y="140599"/>
                    <a:pt x="82415" y="139011"/>
                  </a:cubicBezTo>
                  <a:cubicBezTo>
                    <a:pt x="102259" y="137424"/>
                    <a:pt x="127659" y="134248"/>
                    <a:pt x="139565" y="119961"/>
                  </a:cubicBezTo>
                  <a:cubicBezTo>
                    <a:pt x="151471" y="105674"/>
                    <a:pt x="156233" y="69161"/>
                    <a:pt x="153852" y="53286"/>
                  </a:cubicBezTo>
                  <a:cubicBezTo>
                    <a:pt x="151471" y="37411"/>
                    <a:pt x="110989" y="5660"/>
                    <a:pt x="87177" y="898"/>
                  </a:cubicBezTo>
                  <a:close/>
                </a:path>
              </a:pathLst>
            </a:custGeom>
            <a:grpFill/>
            <a:ln w="28575" cmpd="dbl">
              <a:solidFill>
                <a:schemeClr val="accent1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ot="0" spcFirstLastPara="0" vertOverflow="overflow" horzOverflow="overflow" vert="horz" wrap="square" lIns="63305" tIns="31652" rIns="63305" bIns="316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47" dirty="0"/>
            </a:p>
          </p:txBody>
        </p:sp>
        <p:sp>
          <p:nvSpPr>
            <p:cNvPr id="16" name="М-1"/>
            <p:cNvSpPr/>
            <p:nvPr/>
          </p:nvSpPr>
          <p:spPr>
            <a:xfrm>
              <a:off x="1471613" y="3662363"/>
              <a:ext cx="414337" cy="277649"/>
            </a:xfrm>
            <a:custGeom>
              <a:avLst/>
              <a:gdLst>
                <a:gd name="connsiteX0" fmla="*/ 414337 w 414337"/>
                <a:gd name="connsiteY0" fmla="*/ 219075 h 277649"/>
                <a:gd name="connsiteX1" fmla="*/ 395287 w 414337"/>
                <a:gd name="connsiteY1" fmla="*/ 276225 h 277649"/>
                <a:gd name="connsiteX2" fmla="*/ 323850 w 414337"/>
                <a:gd name="connsiteY2" fmla="*/ 166687 h 277649"/>
                <a:gd name="connsiteX3" fmla="*/ 190500 w 414337"/>
                <a:gd name="connsiteY3" fmla="*/ 109537 h 277649"/>
                <a:gd name="connsiteX4" fmla="*/ 100012 w 414337"/>
                <a:gd name="connsiteY4" fmla="*/ 66675 h 277649"/>
                <a:gd name="connsiteX5" fmla="*/ 0 w 414337"/>
                <a:gd name="connsiteY5" fmla="*/ 0 h 277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337" h="277649">
                  <a:moveTo>
                    <a:pt x="414337" y="219075"/>
                  </a:moveTo>
                  <a:cubicBezTo>
                    <a:pt x="412352" y="252015"/>
                    <a:pt x="410368" y="284956"/>
                    <a:pt x="395287" y="276225"/>
                  </a:cubicBezTo>
                  <a:cubicBezTo>
                    <a:pt x="380206" y="267494"/>
                    <a:pt x="357981" y="194468"/>
                    <a:pt x="323850" y="166687"/>
                  </a:cubicBezTo>
                  <a:cubicBezTo>
                    <a:pt x="289719" y="138906"/>
                    <a:pt x="227806" y="126206"/>
                    <a:pt x="190500" y="109537"/>
                  </a:cubicBezTo>
                  <a:cubicBezTo>
                    <a:pt x="153194" y="92868"/>
                    <a:pt x="131762" y="84931"/>
                    <a:pt x="100012" y="66675"/>
                  </a:cubicBezTo>
                  <a:cubicBezTo>
                    <a:pt x="68262" y="48419"/>
                    <a:pt x="34131" y="24209"/>
                    <a:pt x="0" y="0"/>
                  </a:cubicBezTo>
                </a:path>
              </a:pathLst>
            </a:custGeom>
            <a:grpFill/>
            <a:ln w="28575" cmpd="dbl">
              <a:solidFill>
                <a:schemeClr val="accent1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ru-RU" sz="1247"/>
            </a:p>
          </p:txBody>
        </p:sp>
        <p:sp>
          <p:nvSpPr>
            <p:cNvPr id="18" name="М-4"/>
            <p:cNvSpPr/>
            <p:nvPr/>
          </p:nvSpPr>
          <p:spPr>
            <a:xfrm>
              <a:off x="1097086" y="3948114"/>
              <a:ext cx="765051" cy="956237"/>
            </a:xfrm>
            <a:custGeom>
              <a:avLst/>
              <a:gdLst>
                <a:gd name="connsiteX0" fmla="*/ 914400 w 914400"/>
                <a:gd name="connsiteY0" fmla="*/ 0 h 887283"/>
                <a:gd name="connsiteX1" fmla="*/ 838200 w 914400"/>
                <a:gd name="connsiteY1" fmla="*/ 57150 h 887283"/>
                <a:gd name="connsiteX2" fmla="*/ 762000 w 914400"/>
                <a:gd name="connsiteY2" fmla="*/ 114300 h 887283"/>
                <a:gd name="connsiteX3" fmla="*/ 738187 w 914400"/>
                <a:gd name="connsiteY3" fmla="*/ 252412 h 887283"/>
                <a:gd name="connsiteX4" fmla="*/ 723900 w 914400"/>
                <a:gd name="connsiteY4" fmla="*/ 323850 h 887283"/>
                <a:gd name="connsiteX5" fmla="*/ 690562 w 914400"/>
                <a:gd name="connsiteY5" fmla="*/ 457200 h 887283"/>
                <a:gd name="connsiteX6" fmla="*/ 619125 w 914400"/>
                <a:gd name="connsiteY6" fmla="*/ 557212 h 887283"/>
                <a:gd name="connsiteX7" fmla="*/ 576262 w 914400"/>
                <a:gd name="connsiteY7" fmla="*/ 619125 h 887283"/>
                <a:gd name="connsiteX8" fmla="*/ 490537 w 914400"/>
                <a:gd name="connsiteY8" fmla="*/ 728662 h 887283"/>
                <a:gd name="connsiteX9" fmla="*/ 390525 w 914400"/>
                <a:gd name="connsiteY9" fmla="*/ 785812 h 887283"/>
                <a:gd name="connsiteX10" fmla="*/ 319087 w 914400"/>
                <a:gd name="connsiteY10" fmla="*/ 795337 h 887283"/>
                <a:gd name="connsiteX11" fmla="*/ 271462 w 914400"/>
                <a:gd name="connsiteY11" fmla="*/ 857250 h 887283"/>
                <a:gd name="connsiteX12" fmla="*/ 152400 w 914400"/>
                <a:gd name="connsiteY12" fmla="*/ 885825 h 887283"/>
                <a:gd name="connsiteX13" fmla="*/ 42862 w 914400"/>
                <a:gd name="connsiteY13" fmla="*/ 814387 h 887283"/>
                <a:gd name="connsiteX14" fmla="*/ 0 w 914400"/>
                <a:gd name="connsiteY14" fmla="*/ 733425 h 887283"/>
                <a:gd name="connsiteX0" fmla="*/ 914400 w 914400"/>
                <a:gd name="connsiteY0" fmla="*/ 0 h 887283"/>
                <a:gd name="connsiteX1" fmla="*/ 838200 w 914400"/>
                <a:gd name="connsiteY1" fmla="*/ 57150 h 887283"/>
                <a:gd name="connsiteX2" fmla="*/ 819150 w 914400"/>
                <a:gd name="connsiteY2" fmla="*/ 136525 h 887283"/>
                <a:gd name="connsiteX3" fmla="*/ 738187 w 914400"/>
                <a:gd name="connsiteY3" fmla="*/ 252412 h 887283"/>
                <a:gd name="connsiteX4" fmla="*/ 723900 w 914400"/>
                <a:gd name="connsiteY4" fmla="*/ 323850 h 887283"/>
                <a:gd name="connsiteX5" fmla="*/ 690562 w 914400"/>
                <a:gd name="connsiteY5" fmla="*/ 457200 h 887283"/>
                <a:gd name="connsiteX6" fmla="*/ 619125 w 914400"/>
                <a:gd name="connsiteY6" fmla="*/ 557212 h 887283"/>
                <a:gd name="connsiteX7" fmla="*/ 576262 w 914400"/>
                <a:gd name="connsiteY7" fmla="*/ 619125 h 887283"/>
                <a:gd name="connsiteX8" fmla="*/ 490537 w 914400"/>
                <a:gd name="connsiteY8" fmla="*/ 728662 h 887283"/>
                <a:gd name="connsiteX9" fmla="*/ 390525 w 914400"/>
                <a:gd name="connsiteY9" fmla="*/ 785812 h 887283"/>
                <a:gd name="connsiteX10" fmla="*/ 319087 w 914400"/>
                <a:gd name="connsiteY10" fmla="*/ 795337 h 887283"/>
                <a:gd name="connsiteX11" fmla="*/ 271462 w 914400"/>
                <a:gd name="connsiteY11" fmla="*/ 857250 h 887283"/>
                <a:gd name="connsiteX12" fmla="*/ 152400 w 914400"/>
                <a:gd name="connsiteY12" fmla="*/ 885825 h 887283"/>
                <a:gd name="connsiteX13" fmla="*/ 42862 w 914400"/>
                <a:gd name="connsiteY13" fmla="*/ 814387 h 887283"/>
                <a:gd name="connsiteX14" fmla="*/ 0 w 914400"/>
                <a:gd name="connsiteY14" fmla="*/ 733425 h 887283"/>
                <a:gd name="connsiteX0" fmla="*/ 914400 w 914400"/>
                <a:gd name="connsiteY0" fmla="*/ 0 h 887283"/>
                <a:gd name="connsiteX1" fmla="*/ 850900 w 914400"/>
                <a:gd name="connsiteY1" fmla="*/ 60325 h 887283"/>
                <a:gd name="connsiteX2" fmla="*/ 819150 w 914400"/>
                <a:gd name="connsiteY2" fmla="*/ 136525 h 887283"/>
                <a:gd name="connsiteX3" fmla="*/ 738187 w 914400"/>
                <a:gd name="connsiteY3" fmla="*/ 252412 h 887283"/>
                <a:gd name="connsiteX4" fmla="*/ 723900 w 914400"/>
                <a:gd name="connsiteY4" fmla="*/ 323850 h 887283"/>
                <a:gd name="connsiteX5" fmla="*/ 690562 w 914400"/>
                <a:gd name="connsiteY5" fmla="*/ 457200 h 887283"/>
                <a:gd name="connsiteX6" fmla="*/ 619125 w 914400"/>
                <a:gd name="connsiteY6" fmla="*/ 557212 h 887283"/>
                <a:gd name="connsiteX7" fmla="*/ 576262 w 914400"/>
                <a:gd name="connsiteY7" fmla="*/ 619125 h 887283"/>
                <a:gd name="connsiteX8" fmla="*/ 490537 w 914400"/>
                <a:gd name="connsiteY8" fmla="*/ 728662 h 887283"/>
                <a:gd name="connsiteX9" fmla="*/ 390525 w 914400"/>
                <a:gd name="connsiteY9" fmla="*/ 785812 h 887283"/>
                <a:gd name="connsiteX10" fmla="*/ 319087 w 914400"/>
                <a:gd name="connsiteY10" fmla="*/ 795337 h 887283"/>
                <a:gd name="connsiteX11" fmla="*/ 271462 w 914400"/>
                <a:gd name="connsiteY11" fmla="*/ 857250 h 887283"/>
                <a:gd name="connsiteX12" fmla="*/ 152400 w 914400"/>
                <a:gd name="connsiteY12" fmla="*/ 885825 h 887283"/>
                <a:gd name="connsiteX13" fmla="*/ 42862 w 914400"/>
                <a:gd name="connsiteY13" fmla="*/ 814387 h 887283"/>
                <a:gd name="connsiteX14" fmla="*/ 0 w 914400"/>
                <a:gd name="connsiteY14" fmla="*/ 733425 h 887283"/>
                <a:gd name="connsiteX0" fmla="*/ 914400 w 914400"/>
                <a:gd name="connsiteY0" fmla="*/ 0 h 887283"/>
                <a:gd name="connsiteX1" fmla="*/ 850900 w 914400"/>
                <a:gd name="connsiteY1" fmla="*/ 60325 h 887283"/>
                <a:gd name="connsiteX2" fmla="*/ 835025 w 914400"/>
                <a:gd name="connsiteY2" fmla="*/ 139700 h 887283"/>
                <a:gd name="connsiteX3" fmla="*/ 738187 w 914400"/>
                <a:gd name="connsiteY3" fmla="*/ 252412 h 887283"/>
                <a:gd name="connsiteX4" fmla="*/ 723900 w 914400"/>
                <a:gd name="connsiteY4" fmla="*/ 323850 h 887283"/>
                <a:gd name="connsiteX5" fmla="*/ 690562 w 914400"/>
                <a:gd name="connsiteY5" fmla="*/ 457200 h 887283"/>
                <a:gd name="connsiteX6" fmla="*/ 619125 w 914400"/>
                <a:gd name="connsiteY6" fmla="*/ 557212 h 887283"/>
                <a:gd name="connsiteX7" fmla="*/ 576262 w 914400"/>
                <a:gd name="connsiteY7" fmla="*/ 619125 h 887283"/>
                <a:gd name="connsiteX8" fmla="*/ 490537 w 914400"/>
                <a:gd name="connsiteY8" fmla="*/ 728662 h 887283"/>
                <a:gd name="connsiteX9" fmla="*/ 390525 w 914400"/>
                <a:gd name="connsiteY9" fmla="*/ 785812 h 887283"/>
                <a:gd name="connsiteX10" fmla="*/ 319087 w 914400"/>
                <a:gd name="connsiteY10" fmla="*/ 795337 h 887283"/>
                <a:gd name="connsiteX11" fmla="*/ 271462 w 914400"/>
                <a:gd name="connsiteY11" fmla="*/ 857250 h 887283"/>
                <a:gd name="connsiteX12" fmla="*/ 152400 w 914400"/>
                <a:gd name="connsiteY12" fmla="*/ 885825 h 887283"/>
                <a:gd name="connsiteX13" fmla="*/ 42862 w 914400"/>
                <a:gd name="connsiteY13" fmla="*/ 814387 h 887283"/>
                <a:gd name="connsiteX14" fmla="*/ 0 w 914400"/>
                <a:gd name="connsiteY14" fmla="*/ 733425 h 887283"/>
                <a:gd name="connsiteX0" fmla="*/ 914400 w 914400"/>
                <a:gd name="connsiteY0" fmla="*/ 0 h 887283"/>
                <a:gd name="connsiteX1" fmla="*/ 863600 w 914400"/>
                <a:gd name="connsiteY1" fmla="*/ 60325 h 887283"/>
                <a:gd name="connsiteX2" fmla="*/ 835025 w 914400"/>
                <a:gd name="connsiteY2" fmla="*/ 139700 h 887283"/>
                <a:gd name="connsiteX3" fmla="*/ 738187 w 914400"/>
                <a:gd name="connsiteY3" fmla="*/ 252412 h 887283"/>
                <a:gd name="connsiteX4" fmla="*/ 723900 w 914400"/>
                <a:gd name="connsiteY4" fmla="*/ 323850 h 887283"/>
                <a:gd name="connsiteX5" fmla="*/ 690562 w 914400"/>
                <a:gd name="connsiteY5" fmla="*/ 457200 h 887283"/>
                <a:gd name="connsiteX6" fmla="*/ 619125 w 914400"/>
                <a:gd name="connsiteY6" fmla="*/ 557212 h 887283"/>
                <a:gd name="connsiteX7" fmla="*/ 576262 w 914400"/>
                <a:gd name="connsiteY7" fmla="*/ 619125 h 887283"/>
                <a:gd name="connsiteX8" fmla="*/ 490537 w 914400"/>
                <a:gd name="connsiteY8" fmla="*/ 728662 h 887283"/>
                <a:gd name="connsiteX9" fmla="*/ 390525 w 914400"/>
                <a:gd name="connsiteY9" fmla="*/ 785812 h 887283"/>
                <a:gd name="connsiteX10" fmla="*/ 319087 w 914400"/>
                <a:gd name="connsiteY10" fmla="*/ 795337 h 887283"/>
                <a:gd name="connsiteX11" fmla="*/ 271462 w 914400"/>
                <a:gd name="connsiteY11" fmla="*/ 857250 h 887283"/>
                <a:gd name="connsiteX12" fmla="*/ 152400 w 914400"/>
                <a:gd name="connsiteY12" fmla="*/ 885825 h 887283"/>
                <a:gd name="connsiteX13" fmla="*/ 42862 w 914400"/>
                <a:gd name="connsiteY13" fmla="*/ 814387 h 887283"/>
                <a:gd name="connsiteX14" fmla="*/ 0 w 914400"/>
                <a:gd name="connsiteY14" fmla="*/ 733425 h 887283"/>
                <a:gd name="connsiteX0" fmla="*/ 914400 w 914400"/>
                <a:gd name="connsiteY0" fmla="*/ 0 h 887283"/>
                <a:gd name="connsiteX1" fmla="*/ 863600 w 914400"/>
                <a:gd name="connsiteY1" fmla="*/ 60325 h 887283"/>
                <a:gd name="connsiteX2" fmla="*/ 835025 w 914400"/>
                <a:gd name="connsiteY2" fmla="*/ 139700 h 887283"/>
                <a:gd name="connsiteX3" fmla="*/ 738187 w 914400"/>
                <a:gd name="connsiteY3" fmla="*/ 223837 h 887283"/>
                <a:gd name="connsiteX4" fmla="*/ 723900 w 914400"/>
                <a:gd name="connsiteY4" fmla="*/ 323850 h 887283"/>
                <a:gd name="connsiteX5" fmla="*/ 690562 w 914400"/>
                <a:gd name="connsiteY5" fmla="*/ 457200 h 887283"/>
                <a:gd name="connsiteX6" fmla="*/ 619125 w 914400"/>
                <a:gd name="connsiteY6" fmla="*/ 557212 h 887283"/>
                <a:gd name="connsiteX7" fmla="*/ 576262 w 914400"/>
                <a:gd name="connsiteY7" fmla="*/ 619125 h 887283"/>
                <a:gd name="connsiteX8" fmla="*/ 490537 w 914400"/>
                <a:gd name="connsiteY8" fmla="*/ 728662 h 887283"/>
                <a:gd name="connsiteX9" fmla="*/ 390525 w 914400"/>
                <a:gd name="connsiteY9" fmla="*/ 785812 h 887283"/>
                <a:gd name="connsiteX10" fmla="*/ 319087 w 914400"/>
                <a:gd name="connsiteY10" fmla="*/ 795337 h 887283"/>
                <a:gd name="connsiteX11" fmla="*/ 271462 w 914400"/>
                <a:gd name="connsiteY11" fmla="*/ 857250 h 887283"/>
                <a:gd name="connsiteX12" fmla="*/ 152400 w 914400"/>
                <a:gd name="connsiteY12" fmla="*/ 885825 h 887283"/>
                <a:gd name="connsiteX13" fmla="*/ 42862 w 914400"/>
                <a:gd name="connsiteY13" fmla="*/ 814387 h 887283"/>
                <a:gd name="connsiteX14" fmla="*/ 0 w 914400"/>
                <a:gd name="connsiteY14" fmla="*/ 733425 h 887283"/>
                <a:gd name="connsiteX0" fmla="*/ 914400 w 914400"/>
                <a:gd name="connsiteY0" fmla="*/ 0 h 927734"/>
                <a:gd name="connsiteX1" fmla="*/ 863600 w 914400"/>
                <a:gd name="connsiteY1" fmla="*/ 60325 h 927734"/>
                <a:gd name="connsiteX2" fmla="*/ 835025 w 914400"/>
                <a:gd name="connsiteY2" fmla="*/ 139700 h 927734"/>
                <a:gd name="connsiteX3" fmla="*/ 738187 w 914400"/>
                <a:gd name="connsiteY3" fmla="*/ 223837 h 927734"/>
                <a:gd name="connsiteX4" fmla="*/ 723900 w 914400"/>
                <a:gd name="connsiteY4" fmla="*/ 323850 h 927734"/>
                <a:gd name="connsiteX5" fmla="*/ 690562 w 914400"/>
                <a:gd name="connsiteY5" fmla="*/ 457200 h 927734"/>
                <a:gd name="connsiteX6" fmla="*/ 619125 w 914400"/>
                <a:gd name="connsiteY6" fmla="*/ 557212 h 927734"/>
                <a:gd name="connsiteX7" fmla="*/ 576262 w 914400"/>
                <a:gd name="connsiteY7" fmla="*/ 619125 h 927734"/>
                <a:gd name="connsiteX8" fmla="*/ 490537 w 914400"/>
                <a:gd name="connsiteY8" fmla="*/ 728662 h 927734"/>
                <a:gd name="connsiteX9" fmla="*/ 390525 w 914400"/>
                <a:gd name="connsiteY9" fmla="*/ 785812 h 927734"/>
                <a:gd name="connsiteX10" fmla="*/ 319087 w 914400"/>
                <a:gd name="connsiteY10" fmla="*/ 795337 h 927734"/>
                <a:gd name="connsiteX11" fmla="*/ 271462 w 914400"/>
                <a:gd name="connsiteY11" fmla="*/ 857250 h 927734"/>
                <a:gd name="connsiteX12" fmla="*/ 155575 w 914400"/>
                <a:gd name="connsiteY12" fmla="*/ 927100 h 927734"/>
                <a:gd name="connsiteX13" fmla="*/ 42862 w 914400"/>
                <a:gd name="connsiteY13" fmla="*/ 814387 h 927734"/>
                <a:gd name="connsiteX14" fmla="*/ 0 w 914400"/>
                <a:gd name="connsiteY14" fmla="*/ 733425 h 927734"/>
                <a:gd name="connsiteX0" fmla="*/ 914400 w 914400"/>
                <a:gd name="connsiteY0" fmla="*/ 0 h 949623"/>
                <a:gd name="connsiteX1" fmla="*/ 863600 w 914400"/>
                <a:gd name="connsiteY1" fmla="*/ 60325 h 949623"/>
                <a:gd name="connsiteX2" fmla="*/ 835025 w 914400"/>
                <a:gd name="connsiteY2" fmla="*/ 139700 h 949623"/>
                <a:gd name="connsiteX3" fmla="*/ 738187 w 914400"/>
                <a:gd name="connsiteY3" fmla="*/ 223837 h 949623"/>
                <a:gd name="connsiteX4" fmla="*/ 723900 w 914400"/>
                <a:gd name="connsiteY4" fmla="*/ 323850 h 949623"/>
                <a:gd name="connsiteX5" fmla="*/ 690562 w 914400"/>
                <a:gd name="connsiteY5" fmla="*/ 457200 h 949623"/>
                <a:gd name="connsiteX6" fmla="*/ 619125 w 914400"/>
                <a:gd name="connsiteY6" fmla="*/ 557212 h 949623"/>
                <a:gd name="connsiteX7" fmla="*/ 576262 w 914400"/>
                <a:gd name="connsiteY7" fmla="*/ 619125 h 949623"/>
                <a:gd name="connsiteX8" fmla="*/ 490537 w 914400"/>
                <a:gd name="connsiteY8" fmla="*/ 728662 h 949623"/>
                <a:gd name="connsiteX9" fmla="*/ 390525 w 914400"/>
                <a:gd name="connsiteY9" fmla="*/ 785812 h 949623"/>
                <a:gd name="connsiteX10" fmla="*/ 319087 w 914400"/>
                <a:gd name="connsiteY10" fmla="*/ 795337 h 949623"/>
                <a:gd name="connsiteX11" fmla="*/ 271462 w 914400"/>
                <a:gd name="connsiteY11" fmla="*/ 857250 h 949623"/>
                <a:gd name="connsiteX12" fmla="*/ 155575 w 914400"/>
                <a:gd name="connsiteY12" fmla="*/ 927100 h 949623"/>
                <a:gd name="connsiteX13" fmla="*/ 125412 w 914400"/>
                <a:gd name="connsiteY13" fmla="*/ 938212 h 949623"/>
                <a:gd name="connsiteX14" fmla="*/ 0 w 914400"/>
                <a:gd name="connsiteY14" fmla="*/ 733425 h 949623"/>
                <a:gd name="connsiteX0" fmla="*/ 796438 w 796438"/>
                <a:gd name="connsiteY0" fmla="*/ 0 h 992248"/>
                <a:gd name="connsiteX1" fmla="*/ 745638 w 796438"/>
                <a:gd name="connsiteY1" fmla="*/ 60325 h 992248"/>
                <a:gd name="connsiteX2" fmla="*/ 717063 w 796438"/>
                <a:gd name="connsiteY2" fmla="*/ 139700 h 992248"/>
                <a:gd name="connsiteX3" fmla="*/ 620225 w 796438"/>
                <a:gd name="connsiteY3" fmla="*/ 223837 h 992248"/>
                <a:gd name="connsiteX4" fmla="*/ 605938 w 796438"/>
                <a:gd name="connsiteY4" fmla="*/ 323850 h 992248"/>
                <a:gd name="connsiteX5" fmla="*/ 572600 w 796438"/>
                <a:gd name="connsiteY5" fmla="*/ 457200 h 992248"/>
                <a:gd name="connsiteX6" fmla="*/ 501163 w 796438"/>
                <a:gd name="connsiteY6" fmla="*/ 557212 h 992248"/>
                <a:gd name="connsiteX7" fmla="*/ 458300 w 796438"/>
                <a:gd name="connsiteY7" fmla="*/ 619125 h 992248"/>
                <a:gd name="connsiteX8" fmla="*/ 372575 w 796438"/>
                <a:gd name="connsiteY8" fmla="*/ 728662 h 992248"/>
                <a:gd name="connsiteX9" fmla="*/ 272563 w 796438"/>
                <a:gd name="connsiteY9" fmla="*/ 785812 h 992248"/>
                <a:gd name="connsiteX10" fmla="*/ 201125 w 796438"/>
                <a:gd name="connsiteY10" fmla="*/ 795337 h 992248"/>
                <a:gd name="connsiteX11" fmla="*/ 153500 w 796438"/>
                <a:gd name="connsiteY11" fmla="*/ 857250 h 992248"/>
                <a:gd name="connsiteX12" fmla="*/ 37613 w 796438"/>
                <a:gd name="connsiteY12" fmla="*/ 927100 h 992248"/>
                <a:gd name="connsiteX13" fmla="*/ 7450 w 796438"/>
                <a:gd name="connsiteY13" fmla="*/ 938212 h 992248"/>
                <a:gd name="connsiteX14" fmla="*/ 21738 w 796438"/>
                <a:gd name="connsiteY14" fmla="*/ 987425 h 992248"/>
                <a:gd name="connsiteX0" fmla="*/ 796438 w 796438"/>
                <a:gd name="connsiteY0" fmla="*/ 0 h 992248"/>
                <a:gd name="connsiteX1" fmla="*/ 745638 w 796438"/>
                <a:gd name="connsiteY1" fmla="*/ 60325 h 992248"/>
                <a:gd name="connsiteX2" fmla="*/ 717063 w 796438"/>
                <a:gd name="connsiteY2" fmla="*/ 139700 h 992248"/>
                <a:gd name="connsiteX3" fmla="*/ 620225 w 796438"/>
                <a:gd name="connsiteY3" fmla="*/ 223837 h 992248"/>
                <a:gd name="connsiteX4" fmla="*/ 605938 w 796438"/>
                <a:gd name="connsiteY4" fmla="*/ 323850 h 992248"/>
                <a:gd name="connsiteX5" fmla="*/ 572600 w 796438"/>
                <a:gd name="connsiteY5" fmla="*/ 457200 h 992248"/>
                <a:gd name="connsiteX6" fmla="*/ 501163 w 796438"/>
                <a:gd name="connsiteY6" fmla="*/ 557212 h 992248"/>
                <a:gd name="connsiteX7" fmla="*/ 458300 w 796438"/>
                <a:gd name="connsiteY7" fmla="*/ 619125 h 992248"/>
                <a:gd name="connsiteX8" fmla="*/ 372575 w 796438"/>
                <a:gd name="connsiteY8" fmla="*/ 728662 h 992248"/>
                <a:gd name="connsiteX9" fmla="*/ 272563 w 796438"/>
                <a:gd name="connsiteY9" fmla="*/ 785812 h 992248"/>
                <a:gd name="connsiteX10" fmla="*/ 201125 w 796438"/>
                <a:gd name="connsiteY10" fmla="*/ 795337 h 992248"/>
                <a:gd name="connsiteX11" fmla="*/ 153500 w 796438"/>
                <a:gd name="connsiteY11" fmla="*/ 857250 h 992248"/>
                <a:gd name="connsiteX12" fmla="*/ 37613 w 796438"/>
                <a:gd name="connsiteY12" fmla="*/ 927100 h 992248"/>
                <a:gd name="connsiteX13" fmla="*/ 7450 w 796438"/>
                <a:gd name="connsiteY13" fmla="*/ 938212 h 992248"/>
                <a:gd name="connsiteX14" fmla="*/ 21738 w 796438"/>
                <a:gd name="connsiteY14" fmla="*/ 987425 h 992248"/>
                <a:gd name="connsiteX0" fmla="*/ 796438 w 796438"/>
                <a:gd name="connsiteY0" fmla="*/ 0 h 995360"/>
                <a:gd name="connsiteX1" fmla="*/ 745638 w 796438"/>
                <a:gd name="connsiteY1" fmla="*/ 60325 h 995360"/>
                <a:gd name="connsiteX2" fmla="*/ 717063 w 796438"/>
                <a:gd name="connsiteY2" fmla="*/ 139700 h 995360"/>
                <a:gd name="connsiteX3" fmla="*/ 620225 w 796438"/>
                <a:gd name="connsiteY3" fmla="*/ 223837 h 995360"/>
                <a:gd name="connsiteX4" fmla="*/ 605938 w 796438"/>
                <a:gd name="connsiteY4" fmla="*/ 323850 h 995360"/>
                <a:gd name="connsiteX5" fmla="*/ 572600 w 796438"/>
                <a:gd name="connsiteY5" fmla="*/ 457200 h 995360"/>
                <a:gd name="connsiteX6" fmla="*/ 501163 w 796438"/>
                <a:gd name="connsiteY6" fmla="*/ 557212 h 995360"/>
                <a:gd name="connsiteX7" fmla="*/ 458300 w 796438"/>
                <a:gd name="connsiteY7" fmla="*/ 619125 h 995360"/>
                <a:gd name="connsiteX8" fmla="*/ 372575 w 796438"/>
                <a:gd name="connsiteY8" fmla="*/ 728662 h 995360"/>
                <a:gd name="connsiteX9" fmla="*/ 272563 w 796438"/>
                <a:gd name="connsiteY9" fmla="*/ 785812 h 995360"/>
                <a:gd name="connsiteX10" fmla="*/ 201125 w 796438"/>
                <a:gd name="connsiteY10" fmla="*/ 795337 h 995360"/>
                <a:gd name="connsiteX11" fmla="*/ 153500 w 796438"/>
                <a:gd name="connsiteY11" fmla="*/ 857250 h 995360"/>
                <a:gd name="connsiteX12" fmla="*/ 37613 w 796438"/>
                <a:gd name="connsiteY12" fmla="*/ 927100 h 995360"/>
                <a:gd name="connsiteX13" fmla="*/ 7450 w 796438"/>
                <a:gd name="connsiteY13" fmla="*/ 938212 h 995360"/>
                <a:gd name="connsiteX14" fmla="*/ 21738 w 796438"/>
                <a:gd name="connsiteY14" fmla="*/ 987425 h 995360"/>
                <a:gd name="connsiteX15" fmla="*/ 23325 w 796438"/>
                <a:gd name="connsiteY15" fmla="*/ 995360 h 995360"/>
                <a:gd name="connsiteX0" fmla="*/ 830264 w 830264"/>
                <a:gd name="connsiteY0" fmla="*/ 0 h 992786"/>
                <a:gd name="connsiteX1" fmla="*/ 779464 w 830264"/>
                <a:gd name="connsiteY1" fmla="*/ 60325 h 992786"/>
                <a:gd name="connsiteX2" fmla="*/ 750889 w 830264"/>
                <a:gd name="connsiteY2" fmla="*/ 139700 h 992786"/>
                <a:gd name="connsiteX3" fmla="*/ 654051 w 830264"/>
                <a:gd name="connsiteY3" fmla="*/ 223837 h 992786"/>
                <a:gd name="connsiteX4" fmla="*/ 639764 w 830264"/>
                <a:gd name="connsiteY4" fmla="*/ 323850 h 992786"/>
                <a:gd name="connsiteX5" fmla="*/ 606426 w 830264"/>
                <a:gd name="connsiteY5" fmla="*/ 457200 h 992786"/>
                <a:gd name="connsiteX6" fmla="*/ 534989 w 830264"/>
                <a:gd name="connsiteY6" fmla="*/ 557212 h 992786"/>
                <a:gd name="connsiteX7" fmla="*/ 492126 w 830264"/>
                <a:gd name="connsiteY7" fmla="*/ 619125 h 992786"/>
                <a:gd name="connsiteX8" fmla="*/ 406401 w 830264"/>
                <a:gd name="connsiteY8" fmla="*/ 728662 h 992786"/>
                <a:gd name="connsiteX9" fmla="*/ 306389 w 830264"/>
                <a:gd name="connsiteY9" fmla="*/ 785812 h 992786"/>
                <a:gd name="connsiteX10" fmla="*/ 234951 w 830264"/>
                <a:gd name="connsiteY10" fmla="*/ 795337 h 992786"/>
                <a:gd name="connsiteX11" fmla="*/ 187326 w 830264"/>
                <a:gd name="connsiteY11" fmla="*/ 857250 h 992786"/>
                <a:gd name="connsiteX12" fmla="*/ 71439 w 830264"/>
                <a:gd name="connsiteY12" fmla="*/ 927100 h 992786"/>
                <a:gd name="connsiteX13" fmla="*/ 41276 w 830264"/>
                <a:gd name="connsiteY13" fmla="*/ 938212 h 992786"/>
                <a:gd name="connsiteX14" fmla="*/ 55564 w 830264"/>
                <a:gd name="connsiteY14" fmla="*/ 987425 h 992786"/>
                <a:gd name="connsiteX15" fmla="*/ 1 w 830264"/>
                <a:gd name="connsiteY15" fmla="*/ 992185 h 992786"/>
                <a:gd name="connsiteX0" fmla="*/ 830264 w 830264"/>
                <a:gd name="connsiteY0" fmla="*/ 0 h 992786"/>
                <a:gd name="connsiteX1" fmla="*/ 779464 w 830264"/>
                <a:gd name="connsiteY1" fmla="*/ 60325 h 992786"/>
                <a:gd name="connsiteX2" fmla="*/ 750889 w 830264"/>
                <a:gd name="connsiteY2" fmla="*/ 139700 h 992786"/>
                <a:gd name="connsiteX3" fmla="*/ 654051 w 830264"/>
                <a:gd name="connsiteY3" fmla="*/ 223837 h 992786"/>
                <a:gd name="connsiteX4" fmla="*/ 639764 w 830264"/>
                <a:gd name="connsiteY4" fmla="*/ 323850 h 992786"/>
                <a:gd name="connsiteX5" fmla="*/ 606426 w 830264"/>
                <a:gd name="connsiteY5" fmla="*/ 457200 h 992786"/>
                <a:gd name="connsiteX6" fmla="*/ 534989 w 830264"/>
                <a:gd name="connsiteY6" fmla="*/ 557212 h 992786"/>
                <a:gd name="connsiteX7" fmla="*/ 492126 w 830264"/>
                <a:gd name="connsiteY7" fmla="*/ 619125 h 992786"/>
                <a:gd name="connsiteX8" fmla="*/ 406401 w 830264"/>
                <a:gd name="connsiteY8" fmla="*/ 728662 h 992786"/>
                <a:gd name="connsiteX9" fmla="*/ 306389 w 830264"/>
                <a:gd name="connsiteY9" fmla="*/ 785812 h 992786"/>
                <a:gd name="connsiteX10" fmla="*/ 234951 w 830264"/>
                <a:gd name="connsiteY10" fmla="*/ 795337 h 992786"/>
                <a:gd name="connsiteX11" fmla="*/ 187326 w 830264"/>
                <a:gd name="connsiteY11" fmla="*/ 857250 h 992786"/>
                <a:gd name="connsiteX12" fmla="*/ 71439 w 830264"/>
                <a:gd name="connsiteY12" fmla="*/ 927100 h 992786"/>
                <a:gd name="connsiteX13" fmla="*/ 41276 w 830264"/>
                <a:gd name="connsiteY13" fmla="*/ 938212 h 992786"/>
                <a:gd name="connsiteX14" fmla="*/ 55564 w 830264"/>
                <a:gd name="connsiteY14" fmla="*/ 987425 h 992786"/>
                <a:gd name="connsiteX15" fmla="*/ 1 w 830264"/>
                <a:gd name="connsiteY15" fmla="*/ 992185 h 992786"/>
                <a:gd name="connsiteX0" fmla="*/ 830264 w 830264"/>
                <a:gd name="connsiteY0" fmla="*/ 0 h 992786"/>
                <a:gd name="connsiteX1" fmla="*/ 779464 w 830264"/>
                <a:gd name="connsiteY1" fmla="*/ 60325 h 992786"/>
                <a:gd name="connsiteX2" fmla="*/ 750889 w 830264"/>
                <a:gd name="connsiteY2" fmla="*/ 139700 h 992786"/>
                <a:gd name="connsiteX3" fmla="*/ 654051 w 830264"/>
                <a:gd name="connsiteY3" fmla="*/ 223837 h 992786"/>
                <a:gd name="connsiteX4" fmla="*/ 639764 w 830264"/>
                <a:gd name="connsiteY4" fmla="*/ 323850 h 992786"/>
                <a:gd name="connsiteX5" fmla="*/ 606426 w 830264"/>
                <a:gd name="connsiteY5" fmla="*/ 457200 h 992786"/>
                <a:gd name="connsiteX6" fmla="*/ 534989 w 830264"/>
                <a:gd name="connsiteY6" fmla="*/ 557212 h 992786"/>
                <a:gd name="connsiteX7" fmla="*/ 492126 w 830264"/>
                <a:gd name="connsiteY7" fmla="*/ 619125 h 992786"/>
                <a:gd name="connsiteX8" fmla="*/ 406401 w 830264"/>
                <a:gd name="connsiteY8" fmla="*/ 728662 h 992786"/>
                <a:gd name="connsiteX9" fmla="*/ 306389 w 830264"/>
                <a:gd name="connsiteY9" fmla="*/ 785812 h 992786"/>
                <a:gd name="connsiteX10" fmla="*/ 234951 w 830264"/>
                <a:gd name="connsiteY10" fmla="*/ 795337 h 992786"/>
                <a:gd name="connsiteX11" fmla="*/ 187326 w 830264"/>
                <a:gd name="connsiteY11" fmla="*/ 857250 h 992786"/>
                <a:gd name="connsiteX12" fmla="*/ 71439 w 830264"/>
                <a:gd name="connsiteY12" fmla="*/ 927100 h 992786"/>
                <a:gd name="connsiteX13" fmla="*/ 41276 w 830264"/>
                <a:gd name="connsiteY13" fmla="*/ 938212 h 992786"/>
                <a:gd name="connsiteX14" fmla="*/ 55564 w 830264"/>
                <a:gd name="connsiteY14" fmla="*/ 987425 h 992786"/>
                <a:gd name="connsiteX15" fmla="*/ 1 w 830264"/>
                <a:gd name="connsiteY15" fmla="*/ 992185 h 992786"/>
                <a:gd name="connsiteX16" fmla="*/ 1 w 830264"/>
                <a:gd name="connsiteY16" fmla="*/ 992185 h 992786"/>
                <a:gd name="connsiteX0" fmla="*/ 836613 w 836613"/>
                <a:gd name="connsiteY0" fmla="*/ 0 h 992786"/>
                <a:gd name="connsiteX1" fmla="*/ 785813 w 836613"/>
                <a:gd name="connsiteY1" fmla="*/ 60325 h 992786"/>
                <a:gd name="connsiteX2" fmla="*/ 757238 w 836613"/>
                <a:gd name="connsiteY2" fmla="*/ 139700 h 992786"/>
                <a:gd name="connsiteX3" fmla="*/ 660400 w 836613"/>
                <a:gd name="connsiteY3" fmla="*/ 223837 h 992786"/>
                <a:gd name="connsiteX4" fmla="*/ 646113 w 836613"/>
                <a:gd name="connsiteY4" fmla="*/ 323850 h 992786"/>
                <a:gd name="connsiteX5" fmla="*/ 612775 w 836613"/>
                <a:gd name="connsiteY5" fmla="*/ 457200 h 992786"/>
                <a:gd name="connsiteX6" fmla="*/ 541338 w 836613"/>
                <a:gd name="connsiteY6" fmla="*/ 557212 h 992786"/>
                <a:gd name="connsiteX7" fmla="*/ 498475 w 836613"/>
                <a:gd name="connsiteY7" fmla="*/ 619125 h 992786"/>
                <a:gd name="connsiteX8" fmla="*/ 412750 w 836613"/>
                <a:gd name="connsiteY8" fmla="*/ 728662 h 992786"/>
                <a:gd name="connsiteX9" fmla="*/ 312738 w 836613"/>
                <a:gd name="connsiteY9" fmla="*/ 785812 h 992786"/>
                <a:gd name="connsiteX10" fmla="*/ 241300 w 836613"/>
                <a:gd name="connsiteY10" fmla="*/ 795337 h 992786"/>
                <a:gd name="connsiteX11" fmla="*/ 193675 w 836613"/>
                <a:gd name="connsiteY11" fmla="*/ 857250 h 992786"/>
                <a:gd name="connsiteX12" fmla="*/ 77788 w 836613"/>
                <a:gd name="connsiteY12" fmla="*/ 927100 h 992786"/>
                <a:gd name="connsiteX13" fmla="*/ 47625 w 836613"/>
                <a:gd name="connsiteY13" fmla="*/ 938212 h 992786"/>
                <a:gd name="connsiteX14" fmla="*/ 61913 w 836613"/>
                <a:gd name="connsiteY14" fmla="*/ 987425 h 992786"/>
                <a:gd name="connsiteX15" fmla="*/ 6350 w 836613"/>
                <a:gd name="connsiteY15" fmla="*/ 992185 h 992786"/>
                <a:gd name="connsiteX16" fmla="*/ 0 w 836613"/>
                <a:gd name="connsiteY16" fmla="*/ 954085 h 992786"/>
                <a:gd name="connsiteX0" fmla="*/ 836613 w 836613"/>
                <a:gd name="connsiteY0" fmla="*/ 0 h 1033460"/>
                <a:gd name="connsiteX1" fmla="*/ 785813 w 836613"/>
                <a:gd name="connsiteY1" fmla="*/ 60325 h 1033460"/>
                <a:gd name="connsiteX2" fmla="*/ 757238 w 836613"/>
                <a:gd name="connsiteY2" fmla="*/ 139700 h 1033460"/>
                <a:gd name="connsiteX3" fmla="*/ 660400 w 836613"/>
                <a:gd name="connsiteY3" fmla="*/ 223837 h 1033460"/>
                <a:gd name="connsiteX4" fmla="*/ 646113 w 836613"/>
                <a:gd name="connsiteY4" fmla="*/ 323850 h 1033460"/>
                <a:gd name="connsiteX5" fmla="*/ 612775 w 836613"/>
                <a:gd name="connsiteY5" fmla="*/ 457200 h 1033460"/>
                <a:gd name="connsiteX6" fmla="*/ 541338 w 836613"/>
                <a:gd name="connsiteY6" fmla="*/ 557212 h 1033460"/>
                <a:gd name="connsiteX7" fmla="*/ 498475 w 836613"/>
                <a:gd name="connsiteY7" fmla="*/ 619125 h 1033460"/>
                <a:gd name="connsiteX8" fmla="*/ 412750 w 836613"/>
                <a:gd name="connsiteY8" fmla="*/ 728662 h 1033460"/>
                <a:gd name="connsiteX9" fmla="*/ 312738 w 836613"/>
                <a:gd name="connsiteY9" fmla="*/ 785812 h 1033460"/>
                <a:gd name="connsiteX10" fmla="*/ 241300 w 836613"/>
                <a:gd name="connsiteY10" fmla="*/ 795337 h 1033460"/>
                <a:gd name="connsiteX11" fmla="*/ 193675 w 836613"/>
                <a:gd name="connsiteY11" fmla="*/ 857250 h 1033460"/>
                <a:gd name="connsiteX12" fmla="*/ 77788 w 836613"/>
                <a:gd name="connsiteY12" fmla="*/ 927100 h 1033460"/>
                <a:gd name="connsiteX13" fmla="*/ 47625 w 836613"/>
                <a:gd name="connsiteY13" fmla="*/ 938212 h 1033460"/>
                <a:gd name="connsiteX14" fmla="*/ 61913 w 836613"/>
                <a:gd name="connsiteY14" fmla="*/ 987425 h 1033460"/>
                <a:gd name="connsiteX15" fmla="*/ 12700 w 836613"/>
                <a:gd name="connsiteY15" fmla="*/ 1033460 h 1033460"/>
                <a:gd name="connsiteX16" fmla="*/ 0 w 836613"/>
                <a:gd name="connsiteY16" fmla="*/ 954085 h 1033460"/>
                <a:gd name="connsiteX0" fmla="*/ 836613 w 836613"/>
                <a:gd name="connsiteY0" fmla="*/ 0 h 1040398"/>
                <a:gd name="connsiteX1" fmla="*/ 785813 w 836613"/>
                <a:gd name="connsiteY1" fmla="*/ 60325 h 1040398"/>
                <a:gd name="connsiteX2" fmla="*/ 757238 w 836613"/>
                <a:gd name="connsiteY2" fmla="*/ 139700 h 1040398"/>
                <a:gd name="connsiteX3" fmla="*/ 660400 w 836613"/>
                <a:gd name="connsiteY3" fmla="*/ 223837 h 1040398"/>
                <a:gd name="connsiteX4" fmla="*/ 646113 w 836613"/>
                <a:gd name="connsiteY4" fmla="*/ 323850 h 1040398"/>
                <a:gd name="connsiteX5" fmla="*/ 612775 w 836613"/>
                <a:gd name="connsiteY5" fmla="*/ 457200 h 1040398"/>
                <a:gd name="connsiteX6" fmla="*/ 541338 w 836613"/>
                <a:gd name="connsiteY6" fmla="*/ 557212 h 1040398"/>
                <a:gd name="connsiteX7" fmla="*/ 498475 w 836613"/>
                <a:gd name="connsiteY7" fmla="*/ 619125 h 1040398"/>
                <a:gd name="connsiteX8" fmla="*/ 412750 w 836613"/>
                <a:gd name="connsiteY8" fmla="*/ 728662 h 1040398"/>
                <a:gd name="connsiteX9" fmla="*/ 312738 w 836613"/>
                <a:gd name="connsiteY9" fmla="*/ 785812 h 1040398"/>
                <a:gd name="connsiteX10" fmla="*/ 241300 w 836613"/>
                <a:gd name="connsiteY10" fmla="*/ 795337 h 1040398"/>
                <a:gd name="connsiteX11" fmla="*/ 193675 w 836613"/>
                <a:gd name="connsiteY11" fmla="*/ 857250 h 1040398"/>
                <a:gd name="connsiteX12" fmla="*/ 77788 w 836613"/>
                <a:gd name="connsiteY12" fmla="*/ 927100 h 1040398"/>
                <a:gd name="connsiteX13" fmla="*/ 47625 w 836613"/>
                <a:gd name="connsiteY13" fmla="*/ 938212 h 1040398"/>
                <a:gd name="connsiteX14" fmla="*/ 61913 w 836613"/>
                <a:gd name="connsiteY14" fmla="*/ 987425 h 1040398"/>
                <a:gd name="connsiteX15" fmla="*/ 12700 w 836613"/>
                <a:gd name="connsiteY15" fmla="*/ 1033460 h 1040398"/>
                <a:gd name="connsiteX16" fmla="*/ 0 w 836613"/>
                <a:gd name="connsiteY16" fmla="*/ 954085 h 1040398"/>
                <a:gd name="connsiteX0" fmla="*/ 836613 w 836613"/>
                <a:gd name="connsiteY0" fmla="*/ 0 h 1036090"/>
                <a:gd name="connsiteX1" fmla="*/ 785813 w 836613"/>
                <a:gd name="connsiteY1" fmla="*/ 60325 h 1036090"/>
                <a:gd name="connsiteX2" fmla="*/ 757238 w 836613"/>
                <a:gd name="connsiteY2" fmla="*/ 139700 h 1036090"/>
                <a:gd name="connsiteX3" fmla="*/ 660400 w 836613"/>
                <a:gd name="connsiteY3" fmla="*/ 223837 h 1036090"/>
                <a:gd name="connsiteX4" fmla="*/ 646113 w 836613"/>
                <a:gd name="connsiteY4" fmla="*/ 323850 h 1036090"/>
                <a:gd name="connsiteX5" fmla="*/ 612775 w 836613"/>
                <a:gd name="connsiteY5" fmla="*/ 457200 h 1036090"/>
                <a:gd name="connsiteX6" fmla="*/ 541338 w 836613"/>
                <a:gd name="connsiteY6" fmla="*/ 557212 h 1036090"/>
                <a:gd name="connsiteX7" fmla="*/ 498475 w 836613"/>
                <a:gd name="connsiteY7" fmla="*/ 619125 h 1036090"/>
                <a:gd name="connsiteX8" fmla="*/ 412750 w 836613"/>
                <a:gd name="connsiteY8" fmla="*/ 728662 h 1036090"/>
                <a:gd name="connsiteX9" fmla="*/ 312738 w 836613"/>
                <a:gd name="connsiteY9" fmla="*/ 785812 h 1036090"/>
                <a:gd name="connsiteX10" fmla="*/ 241300 w 836613"/>
                <a:gd name="connsiteY10" fmla="*/ 795337 h 1036090"/>
                <a:gd name="connsiteX11" fmla="*/ 193675 w 836613"/>
                <a:gd name="connsiteY11" fmla="*/ 857250 h 1036090"/>
                <a:gd name="connsiteX12" fmla="*/ 77788 w 836613"/>
                <a:gd name="connsiteY12" fmla="*/ 927100 h 1036090"/>
                <a:gd name="connsiteX13" fmla="*/ 47625 w 836613"/>
                <a:gd name="connsiteY13" fmla="*/ 938212 h 1036090"/>
                <a:gd name="connsiteX14" fmla="*/ 61913 w 836613"/>
                <a:gd name="connsiteY14" fmla="*/ 987425 h 1036090"/>
                <a:gd name="connsiteX15" fmla="*/ 12700 w 836613"/>
                <a:gd name="connsiteY15" fmla="*/ 1033460 h 1036090"/>
                <a:gd name="connsiteX16" fmla="*/ 0 w 836613"/>
                <a:gd name="connsiteY16" fmla="*/ 954085 h 1036090"/>
                <a:gd name="connsiteX0" fmla="*/ 836613 w 836613"/>
                <a:gd name="connsiteY0" fmla="*/ 0 h 1027013"/>
                <a:gd name="connsiteX1" fmla="*/ 785813 w 836613"/>
                <a:gd name="connsiteY1" fmla="*/ 60325 h 1027013"/>
                <a:gd name="connsiteX2" fmla="*/ 757238 w 836613"/>
                <a:gd name="connsiteY2" fmla="*/ 139700 h 1027013"/>
                <a:gd name="connsiteX3" fmla="*/ 660400 w 836613"/>
                <a:gd name="connsiteY3" fmla="*/ 223837 h 1027013"/>
                <a:gd name="connsiteX4" fmla="*/ 646113 w 836613"/>
                <a:gd name="connsiteY4" fmla="*/ 323850 h 1027013"/>
                <a:gd name="connsiteX5" fmla="*/ 612775 w 836613"/>
                <a:gd name="connsiteY5" fmla="*/ 457200 h 1027013"/>
                <a:gd name="connsiteX6" fmla="*/ 541338 w 836613"/>
                <a:gd name="connsiteY6" fmla="*/ 557212 h 1027013"/>
                <a:gd name="connsiteX7" fmla="*/ 498475 w 836613"/>
                <a:gd name="connsiteY7" fmla="*/ 619125 h 1027013"/>
                <a:gd name="connsiteX8" fmla="*/ 412750 w 836613"/>
                <a:gd name="connsiteY8" fmla="*/ 728662 h 1027013"/>
                <a:gd name="connsiteX9" fmla="*/ 312738 w 836613"/>
                <a:gd name="connsiteY9" fmla="*/ 785812 h 1027013"/>
                <a:gd name="connsiteX10" fmla="*/ 241300 w 836613"/>
                <a:gd name="connsiteY10" fmla="*/ 795337 h 1027013"/>
                <a:gd name="connsiteX11" fmla="*/ 193675 w 836613"/>
                <a:gd name="connsiteY11" fmla="*/ 857250 h 1027013"/>
                <a:gd name="connsiteX12" fmla="*/ 77788 w 836613"/>
                <a:gd name="connsiteY12" fmla="*/ 927100 h 1027013"/>
                <a:gd name="connsiteX13" fmla="*/ 47625 w 836613"/>
                <a:gd name="connsiteY13" fmla="*/ 938212 h 1027013"/>
                <a:gd name="connsiteX14" fmla="*/ 61913 w 836613"/>
                <a:gd name="connsiteY14" fmla="*/ 987425 h 1027013"/>
                <a:gd name="connsiteX15" fmla="*/ 12700 w 836613"/>
                <a:gd name="connsiteY15" fmla="*/ 1023935 h 1027013"/>
                <a:gd name="connsiteX16" fmla="*/ 0 w 836613"/>
                <a:gd name="connsiteY16" fmla="*/ 954085 h 1027013"/>
                <a:gd name="connsiteX0" fmla="*/ 836613 w 836613"/>
                <a:gd name="connsiteY0" fmla="*/ 0 h 1015211"/>
                <a:gd name="connsiteX1" fmla="*/ 785813 w 836613"/>
                <a:gd name="connsiteY1" fmla="*/ 60325 h 1015211"/>
                <a:gd name="connsiteX2" fmla="*/ 757238 w 836613"/>
                <a:gd name="connsiteY2" fmla="*/ 139700 h 1015211"/>
                <a:gd name="connsiteX3" fmla="*/ 660400 w 836613"/>
                <a:gd name="connsiteY3" fmla="*/ 223837 h 1015211"/>
                <a:gd name="connsiteX4" fmla="*/ 646113 w 836613"/>
                <a:gd name="connsiteY4" fmla="*/ 323850 h 1015211"/>
                <a:gd name="connsiteX5" fmla="*/ 612775 w 836613"/>
                <a:gd name="connsiteY5" fmla="*/ 457200 h 1015211"/>
                <a:gd name="connsiteX6" fmla="*/ 541338 w 836613"/>
                <a:gd name="connsiteY6" fmla="*/ 557212 h 1015211"/>
                <a:gd name="connsiteX7" fmla="*/ 498475 w 836613"/>
                <a:gd name="connsiteY7" fmla="*/ 619125 h 1015211"/>
                <a:gd name="connsiteX8" fmla="*/ 412750 w 836613"/>
                <a:gd name="connsiteY8" fmla="*/ 728662 h 1015211"/>
                <a:gd name="connsiteX9" fmla="*/ 312738 w 836613"/>
                <a:gd name="connsiteY9" fmla="*/ 785812 h 1015211"/>
                <a:gd name="connsiteX10" fmla="*/ 241300 w 836613"/>
                <a:gd name="connsiteY10" fmla="*/ 795337 h 1015211"/>
                <a:gd name="connsiteX11" fmla="*/ 193675 w 836613"/>
                <a:gd name="connsiteY11" fmla="*/ 857250 h 1015211"/>
                <a:gd name="connsiteX12" fmla="*/ 77788 w 836613"/>
                <a:gd name="connsiteY12" fmla="*/ 927100 h 1015211"/>
                <a:gd name="connsiteX13" fmla="*/ 47625 w 836613"/>
                <a:gd name="connsiteY13" fmla="*/ 938212 h 1015211"/>
                <a:gd name="connsiteX14" fmla="*/ 61913 w 836613"/>
                <a:gd name="connsiteY14" fmla="*/ 987425 h 1015211"/>
                <a:gd name="connsiteX15" fmla="*/ 25400 w 836613"/>
                <a:gd name="connsiteY15" fmla="*/ 1011235 h 1015211"/>
                <a:gd name="connsiteX16" fmla="*/ 0 w 836613"/>
                <a:gd name="connsiteY16" fmla="*/ 954085 h 1015211"/>
                <a:gd name="connsiteX0" fmla="*/ 836613 w 836613"/>
                <a:gd name="connsiteY0" fmla="*/ 0 h 1014917"/>
                <a:gd name="connsiteX1" fmla="*/ 785813 w 836613"/>
                <a:gd name="connsiteY1" fmla="*/ 60325 h 1014917"/>
                <a:gd name="connsiteX2" fmla="*/ 757238 w 836613"/>
                <a:gd name="connsiteY2" fmla="*/ 139700 h 1014917"/>
                <a:gd name="connsiteX3" fmla="*/ 660400 w 836613"/>
                <a:gd name="connsiteY3" fmla="*/ 223837 h 1014917"/>
                <a:gd name="connsiteX4" fmla="*/ 646113 w 836613"/>
                <a:gd name="connsiteY4" fmla="*/ 323850 h 1014917"/>
                <a:gd name="connsiteX5" fmla="*/ 612775 w 836613"/>
                <a:gd name="connsiteY5" fmla="*/ 457200 h 1014917"/>
                <a:gd name="connsiteX6" fmla="*/ 541338 w 836613"/>
                <a:gd name="connsiteY6" fmla="*/ 557212 h 1014917"/>
                <a:gd name="connsiteX7" fmla="*/ 498475 w 836613"/>
                <a:gd name="connsiteY7" fmla="*/ 619125 h 1014917"/>
                <a:gd name="connsiteX8" fmla="*/ 412750 w 836613"/>
                <a:gd name="connsiteY8" fmla="*/ 728662 h 1014917"/>
                <a:gd name="connsiteX9" fmla="*/ 312738 w 836613"/>
                <a:gd name="connsiteY9" fmla="*/ 785812 h 1014917"/>
                <a:gd name="connsiteX10" fmla="*/ 241300 w 836613"/>
                <a:gd name="connsiteY10" fmla="*/ 795337 h 1014917"/>
                <a:gd name="connsiteX11" fmla="*/ 193675 w 836613"/>
                <a:gd name="connsiteY11" fmla="*/ 857250 h 1014917"/>
                <a:gd name="connsiteX12" fmla="*/ 77788 w 836613"/>
                <a:gd name="connsiteY12" fmla="*/ 927100 h 1014917"/>
                <a:gd name="connsiteX13" fmla="*/ 50800 w 836613"/>
                <a:gd name="connsiteY13" fmla="*/ 957262 h 1014917"/>
                <a:gd name="connsiteX14" fmla="*/ 61913 w 836613"/>
                <a:gd name="connsiteY14" fmla="*/ 987425 h 1014917"/>
                <a:gd name="connsiteX15" fmla="*/ 25400 w 836613"/>
                <a:gd name="connsiteY15" fmla="*/ 1011235 h 1014917"/>
                <a:gd name="connsiteX16" fmla="*/ 0 w 836613"/>
                <a:gd name="connsiteY16" fmla="*/ 954085 h 1014917"/>
                <a:gd name="connsiteX0" fmla="*/ 836613 w 836613"/>
                <a:gd name="connsiteY0" fmla="*/ 0 h 1015211"/>
                <a:gd name="connsiteX1" fmla="*/ 785813 w 836613"/>
                <a:gd name="connsiteY1" fmla="*/ 60325 h 1015211"/>
                <a:gd name="connsiteX2" fmla="*/ 757238 w 836613"/>
                <a:gd name="connsiteY2" fmla="*/ 139700 h 1015211"/>
                <a:gd name="connsiteX3" fmla="*/ 660400 w 836613"/>
                <a:gd name="connsiteY3" fmla="*/ 223837 h 1015211"/>
                <a:gd name="connsiteX4" fmla="*/ 646113 w 836613"/>
                <a:gd name="connsiteY4" fmla="*/ 323850 h 1015211"/>
                <a:gd name="connsiteX5" fmla="*/ 612775 w 836613"/>
                <a:gd name="connsiteY5" fmla="*/ 457200 h 1015211"/>
                <a:gd name="connsiteX6" fmla="*/ 541338 w 836613"/>
                <a:gd name="connsiteY6" fmla="*/ 557212 h 1015211"/>
                <a:gd name="connsiteX7" fmla="*/ 498475 w 836613"/>
                <a:gd name="connsiteY7" fmla="*/ 619125 h 1015211"/>
                <a:gd name="connsiteX8" fmla="*/ 412750 w 836613"/>
                <a:gd name="connsiteY8" fmla="*/ 728662 h 1015211"/>
                <a:gd name="connsiteX9" fmla="*/ 312738 w 836613"/>
                <a:gd name="connsiteY9" fmla="*/ 785812 h 1015211"/>
                <a:gd name="connsiteX10" fmla="*/ 241300 w 836613"/>
                <a:gd name="connsiteY10" fmla="*/ 795337 h 1015211"/>
                <a:gd name="connsiteX11" fmla="*/ 193675 w 836613"/>
                <a:gd name="connsiteY11" fmla="*/ 857250 h 1015211"/>
                <a:gd name="connsiteX12" fmla="*/ 77788 w 836613"/>
                <a:gd name="connsiteY12" fmla="*/ 927100 h 1015211"/>
                <a:gd name="connsiteX13" fmla="*/ 44450 w 836613"/>
                <a:gd name="connsiteY13" fmla="*/ 938212 h 1015211"/>
                <a:gd name="connsiteX14" fmla="*/ 61913 w 836613"/>
                <a:gd name="connsiteY14" fmla="*/ 987425 h 1015211"/>
                <a:gd name="connsiteX15" fmla="*/ 25400 w 836613"/>
                <a:gd name="connsiteY15" fmla="*/ 1011235 h 1015211"/>
                <a:gd name="connsiteX16" fmla="*/ 0 w 836613"/>
                <a:gd name="connsiteY16" fmla="*/ 954085 h 1015211"/>
                <a:gd name="connsiteX0" fmla="*/ 836613 w 836613"/>
                <a:gd name="connsiteY0" fmla="*/ 0 h 1015211"/>
                <a:gd name="connsiteX1" fmla="*/ 785813 w 836613"/>
                <a:gd name="connsiteY1" fmla="*/ 60325 h 1015211"/>
                <a:gd name="connsiteX2" fmla="*/ 757238 w 836613"/>
                <a:gd name="connsiteY2" fmla="*/ 139700 h 1015211"/>
                <a:gd name="connsiteX3" fmla="*/ 660400 w 836613"/>
                <a:gd name="connsiteY3" fmla="*/ 223837 h 1015211"/>
                <a:gd name="connsiteX4" fmla="*/ 646113 w 836613"/>
                <a:gd name="connsiteY4" fmla="*/ 323850 h 1015211"/>
                <a:gd name="connsiteX5" fmla="*/ 612775 w 836613"/>
                <a:gd name="connsiteY5" fmla="*/ 457200 h 1015211"/>
                <a:gd name="connsiteX6" fmla="*/ 541338 w 836613"/>
                <a:gd name="connsiteY6" fmla="*/ 557212 h 1015211"/>
                <a:gd name="connsiteX7" fmla="*/ 498475 w 836613"/>
                <a:gd name="connsiteY7" fmla="*/ 619125 h 1015211"/>
                <a:gd name="connsiteX8" fmla="*/ 412750 w 836613"/>
                <a:gd name="connsiteY8" fmla="*/ 728662 h 1015211"/>
                <a:gd name="connsiteX9" fmla="*/ 312738 w 836613"/>
                <a:gd name="connsiteY9" fmla="*/ 785812 h 1015211"/>
                <a:gd name="connsiteX10" fmla="*/ 241300 w 836613"/>
                <a:gd name="connsiteY10" fmla="*/ 795337 h 1015211"/>
                <a:gd name="connsiteX11" fmla="*/ 193675 w 836613"/>
                <a:gd name="connsiteY11" fmla="*/ 857250 h 1015211"/>
                <a:gd name="connsiteX12" fmla="*/ 96838 w 836613"/>
                <a:gd name="connsiteY12" fmla="*/ 917575 h 1015211"/>
                <a:gd name="connsiteX13" fmla="*/ 44450 w 836613"/>
                <a:gd name="connsiteY13" fmla="*/ 938212 h 1015211"/>
                <a:gd name="connsiteX14" fmla="*/ 61913 w 836613"/>
                <a:gd name="connsiteY14" fmla="*/ 987425 h 1015211"/>
                <a:gd name="connsiteX15" fmla="*/ 25400 w 836613"/>
                <a:gd name="connsiteY15" fmla="*/ 1011235 h 1015211"/>
                <a:gd name="connsiteX16" fmla="*/ 0 w 836613"/>
                <a:gd name="connsiteY16" fmla="*/ 954085 h 1015211"/>
                <a:gd name="connsiteX0" fmla="*/ 836613 w 836613"/>
                <a:gd name="connsiteY0" fmla="*/ 0 h 1015211"/>
                <a:gd name="connsiteX1" fmla="*/ 785813 w 836613"/>
                <a:gd name="connsiteY1" fmla="*/ 60325 h 1015211"/>
                <a:gd name="connsiteX2" fmla="*/ 757238 w 836613"/>
                <a:gd name="connsiteY2" fmla="*/ 139700 h 1015211"/>
                <a:gd name="connsiteX3" fmla="*/ 660400 w 836613"/>
                <a:gd name="connsiteY3" fmla="*/ 223837 h 1015211"/>
                <a:gd name="connsiteX4" fmla="*/ 646113 w 836613"/>
                <a:gd name="connsiteY4" fmla="*/ 323850 h 1015211"/>
                <a:gd name="connsiteX5" fmla="*/ 612775 w 836613"/>
                <a:gd name="connsiteY5" fmla="*/ 457200 h 1015211"/>
                <a:gd name="connsiteX6" fmla="*/ 541338 w 836613"/>
                <a:gd name="connsiteY6" fmla="*/ 557212 h 1015211"/>
                <a:gd name="connsiteX7" fmla="*/ 498475 w 836613"/>
                <a:gd name="connsiteY7" fmla="*/ 619125 h 1015211"/>
                <a:gd name="connsiteX8" fmla="*/ 412750 w 836613"/>
                <a:gd name="connsiteY8" fmla="*/ 728662 h 1015211"/>
                <a:gd name="connsiteX9" fmla="*/ 312738 w 836613"/>
                <a:gd name="connsiteY9" fmla="*/ 785812 h 1015211"/>
                <a:gd name="connsiteX10" fmla="*/ 241300 w 836613"/>
                <a:gd name="connsiteY10" fmla="*/ 795337 h 1015211"/>
                <a:gd name="connsiteX11" fmla="*/ 193675 w 836613"/>
                <a:gd name="connsiteY11" fmla="*/ 857250 h 1015211"/>
                <a:gd name="connsiteX12" fmla="*/ 96838 w 836613"/>
                <a:gd name="connsiteY12" fmla="*/ 917575 h 1015211"/>
                <a:gd name="connsiteX13" fmla="*/ 44450 w 836613"/>
                <a:gd name="connsiteY13" fmla="*/ 938212 h 1015211"/>
                <a:gd name="connsiteX14" fmla="*/ 61913 w 836613"/>
                <a:gd name="connsiteY14" fmla="*/ 987425 h 1015211"/>
                <a:gd name="connsiteX15" fmla="*/ 25400 w 836613"/>
                <a:gd name="connsiteY15" fmla="*/ 1011235 h 1015211"/>
                <a:gd name="connsiteX16" fmla="*/ 0 w 836613"/>
                <a:gd name="connsiteY16" fmla="*/ 954085 h 1015211"/>
                <a:gd name="connsiteX0" fmla="*/ 836613 w 836613"/>
                <a:gd name="connsiteY0" fmla="*/ 0 h 1015211"/>
                <a:gd name="connsiteX1" fmla="*/ 785813 w 836613"/>
                <a:gd name="connsiteY1" fmla="*/ 60325 h 1015211"/>
                <a:gd name="connsiteX2" fmla="*/ 757238 w 836613"/>
                <a:gd name="connsiteY2" fmla="*/ 139700 h 1015211"/>
                <a:gd name="connsiteX3" fmla="*/ 660400 w 836613"/>
                <a:gd name="connsiteY3" fmla="*/ 223837 h 1015211"/>
                <a:gd name="connsiteX4" fmla="*/ 646113 w 836613"/>
                <a:gd name="connsiteY4" fmla="*/ 323850 h 1015211"/>
                <a:gd name="connsiteX5" fmla="*/ 612775 w 836613"/>
                <a:gd name="connsiteY5" fmla="*/ 457200 h 1015211"/>
                <a:gd name="connsiteX6" fmla="*/ 541338 w 836613"/>
                <a:gd name="connsiteY6" fmla="*/ 557212 h 1015211"/>
                <a:gd name="connsiteX7" fmla="*/ 498475 w 836613"/>
                <a:gd name="connsiteY7" fmla="*/ 619125 h 1015211"/>
                <a:gd name="connsiteX8" fmla="*/ 412750 w 836613"/>
                <a:gd name="connsiteY8" fmla="*/ 728662 h 1015211"/>
                <a:gd name="connsiteX9" fmla="*/ 312738 w 836613"/>
                <a:gd name="connsiteY9" fmla="*/ 785812 h 1015211"/>
                <a:gd name="connsiteX10" fmla="*/ 241300 w 836613"/>
                <a:gd name="connsiteY10" fmla="*/ 795337 h 1015211"/>
                <a:gd name="connsiteX11" fmla="*/ 193675 w 836613"/>
                <a:gd name="connsiteY11" fmla="*/ 857250 h 1015211"/>
                <a:gd name="connsiteX12" fmla="*/ 96838 w 836613"/>
                <a:gd name="connsiteY12" fmla="*/ 917575 h 1015211"/>
                <a:gd name="connsiteX13" fmla="*/ 44450 w 836613"/>
                <a:gd name="connsiteY13" fmla="*/ 938212 h 1015211"/>
                <a:gd name="connsiteX14" fmla="*/ 61913 w 836613"/>
                <a:gd name="connsiteY14" fmla="*/ 987425 h 1015211"/>
                <a:gd name="connsiteX15" fmla="*/ 25400 w 836613"/>
                <a:gd name="connsiteY15" fmla="*/ 1011235 h 1015211"/>
                <a:gd name="connsiteX16" fmla="*/ 0 w 836613"/>
                <a:gd name="connsiteY16" fmla="*/ 954085 h 1015211"/>
                <a:gd name="connsiteX0" fmla="*/ 836613 w 836613"/>
                <a:gd name="connsiteY0" fmla="*/ 0 h 1015211"/>
                <a:gd name="connsiteX1" fmla="*/ 785813 w 836613"/>
                <a:gd name="connsiteY1" fmla="*/ 60325 h 1015211"/>
                <a:gd name="connsiteX2" fmla="*/ 757238 w 836613"/>
                <a:gd name="connsiteY2" fmla="*/ 139700 h 1015211"/>
                <a:gd name="connsiteX3" fmla="*/ 660400 w 836613"/>
                <a:gd name="connsiteY3" fmla="*/ 223837 h 1015211"/>
                <a:gd name="connsiteX4" fmla="*/ 646113 w 836613"/>
                <a:gd name="connsiteY4" fmla="*/ 323850 h 1015211"/>
                <a:gd name="connsiteX5" fmla="*/ 612775 w 836613"/>
                <a:gd name="connsiteY5" fmla="*/ 457200 h 1015211"/>
                <a:gd name="connsiteX6" fmla="*/ 541338 w 836613"/>
                <a:gd name="connsiteY6" fmla="*/ 557212 h 1015211"/>
                <a:gd name="connsiteX7" fmla="*/ 498475 w 836613"/>
                <a:gd name="connsiteY7" fmla="*/ 619125 h 1015211"/>
                <a:gd name="connsiteX8" fmla="*/ 412750 w 836613"/>
                <a:gd name="connsiteY8" fmla="*/ 728662 h 1015211"/>
                <a:gd name="connsiteX9" fmla="*/ 312738 w 836613"/>
                <a:gd name="connsiteY9" fmla="*/ 785812 h 1015211"/>
                <a:gd name="connsiteX10" fmla="*/ 241300 w 836613"/>
                <a:gd name="connsiteY10" fmla="*/ 795337 h 1015211"/>
                <a:gd name="connsiteX11" fmla="*/ 193675 w 836613"/>
                <a:gd name="connsiteY11" fmla="*/ 857250 h 1015211"/>
                <a:gd name="connsiteX12" fmla="*/ 96838 w 836613"/>
                <a:gd name="connsiteY12" fmla="*/ 917575 h 1015211"/>
                <a:gd name="connsiteX13" fmla="*/ 44450 w 836613"/>
                <a:gd name="connsiteY13" fmla="*/ 938212 h 1015211"/>
                <a:gd name="connsiteX14" fmla="*/ 61913 w 836613"/>
                <a:gd name="connsiteY14" fmla="*/ 987425 h 1015211"/>
                <a:gd name="connsiteX15" fmla="*/ 25400 w 836613"/>
                <a:gd name="connsiteY15" fmla="*/ 1011235 h 1015211"/>
                <a:gd name="connsiteX16" fmla="*/ 0 w 836613"/>
                <a:gd name="connsiteY16" fmla="*/ 954085 h 1015211"/>
                <a:gd name="connsiteX0" fmla="*/ 836613 w 836613"/>
                <a:gd name="connsiteY0" fmla="*/ 0 h 1015011"/>
                <a:gd name="connsiteX1" fmla="*/ 785813 w 836613"/>
                <a:gd name="connsiteY1" fmla="*/ 60325 h 1015011"/>
                <a:gd name="connsiteX2" fmla="*/ 757238 w 836613"/>
                <a:gd name="connsiteY2" fmla="*/ 139700 h 1015011"/>
                <a:gd name="connsiteX3" fmla="*/ 660400 w 836613"/>
                <a:gd name="connsiteY3" fmla="*/ 223837 h 1015011"/>
                <a:gd name="connsiteX4" fmla="*/ 646113 w 836613"/>
                <a:gd name="connsiteY4" fmla="*/ 323850 h 1015011"/>
                <a:gd name="connsiteX5" fmla="*/ 612775 w 836613"/>
                <a:gd name="connsiteY5" fmla="*/ 457200 h 1015011"/>
                <a:gd name="connsiteX6" fmla="*/ 541338 w 836613"/>
                <a:gd name="connsiteY6" fmla="*/ 557212 h 1015011"/>
                <a:gd name="connsiteX7" fmla="*/ 498475 w 836613"/>
                <a:gd name="connsiteY7" fmla="*/ 619125 h 1015011"/>
                <a:gd name="connsiteX8" fmla="*/ 412750 w 836613"/>
                <a:gd name="connsiteY8" fmla="*/ 728662 h 1015011"/>
                <a:gd name="connsiteX9" fmla="*/ 312738 w 836613"/>
                <a:gd name="connsiteY9" fmla="*/ 785812 h 1015011"/>
                <a:gd name="connsiteX10" fmla="*/ 241300 w 836613"/>
                <a:gd name="connsiteY10" fmla="*/ 795337 h 1015011"/>
                <a:gd name="connsiteX11" fmla="*/ 193675 w 836613"/>
                <a:gd name="connsiteY11" fmla="*/ 857250 h 1015011"/>
                <a:gd name="connsiteX12" fmla="*/ 96838 w 836613"/>
                <a:gd name="connsiteY12" fmla="*/ 917575 h 1015011"/>
                <a:gd name="connsiteX13" fmla="*/ 53975 w 836613"/>
                <a:gd name="connsiteY13" fmla="*/ 950912 h 1015011"/>
                <a:gd name="connsiteX14" fmla="*/ 61913 w 836613"/>
                <a:gd name="connsiteY14" fmla="*/ 987425 h 1015011"/>
                <a:gd name="connsiteX15" fmla="*/ 25400 w 836613"/>
                <a:gd name="connsiteY15" fmla="*/ 1011235 h 1015011"/>
                <a:gd name="connsiteX16" fmla="*/ 0 w 836613"/>
                <a:gd name="connsiteY16" fmla="*/ 954085 h 1015011"/>
                <a:gd name="connsiteX0" fmla="*/ 811213 w 811213"/>
                <a:gd name="connsiteY0" fmla="*/ 0 h 1015011"/>
                <a:gd name="connsiteX1" fmla="*/ 760413 w 811213"/>
                <a:gd name="connsiteY1" fmla="*/ 60325 h 1015011"/>
                <a:gd name="connsiteX2" fmla="*/ 731838 w 811213"/>
                <a:gd name="connsiteY2" fmla="*/ 139700 h 1015011"/>
                <a:gd name="connsiteX3" fmla="*/ 635000 w 811213"/>
                <a:gd name="connsiteY3" fmla="*/ 223837 h 1015011"/>
                <a:gd name="connsiteX4" fmla="*/ 620713 w 811213"/>
                <a:gd name="connsiteY4" fmla="*/ 323850 h 1015011"/>
                <a:gd name="connsiteX5" fmla="*/ 587375 w 811213"/>
                <a:gd name="connsiteY5" fmla="*/ 457200 h 1015011"/>
                <a:gd name="connsiteX6" fmla="*/ 515938 w 811213"/>
                <a:gd name="connsiteY6" fmla="*/ 557212 h 1015011"/>
                <a:gd name="connsiteX7" fmla="*/ 473075 w 811213"/>
                <a:gd name="connsiteY7" fmla="*/ 619125 h 1015011"/>
                <a:gd name="connsiteX8" fmla="*/ 387350 w 811213"/>
                <a:gd name="connsiteY8" fmla="*/ 728662 h 1015011"/>
                <a:gd name="connsiteX9" fmla="*/ 287338 w 811213"/>
                <a:gd name="connsiteY9" fmla="*/ 785812 h 1015011"/>
                <a:gd name="connsiteX10" fmla="*/ 215900 w 811213"/>
                <a:gd name="connsiteY10" fmla="*/ 795337 h 1015011"/>
                <a:gd name="connsiteX11" fmla="*/ 168275 w 811213"/>
                <a:gd name="connsiteY11" fmla="*/ 857250 h 1015011"/>
                <a:gd name="connsiteX12" fmla="*/ 71438 w 811213"/>
                <a:gd name="connsiteY12" fmla="*/ 917575 h 1015011"/>
                <a:gd name="connsiteX13" fmla="*/ 28575 w 811213"/>
                <a:gd name="connsiteY13" fmla="*/ 950912 h 1015011"/>
                <a:gd name="connsiteX14" fmla="*/ 36513 w 811213"/>
                <a:gd name="connsiteY14" fmla="*/ 987425 h 1015011"/>
                <a:gd name="connsiteX15" fmla="*/ 0 w 811213"/>
                <a:gd name="connsiteY15" fmla="*/ 1011235 h 1015011"/>
                <a:gd name="connsiteX0" fmla="*/ 783612 w 783612"/>
                <a:gd name="connsiteY0" fmla="*/ 0 h 987425"/>
                <a:gd name="connsiteX1" fmla="*/ 732812 w 783612"/>
                <a:gd name="connsiteY1" fmla="*/ 60325 h 987425"/>
                <a:gd name="connsiteX2" fmla="*/ 704237 w 783612"/>
                <a:gd name="connsiteY2" fmla="*/ 139700 h 987425"/>
                <a:gd name="connsiteX3" fmla="*/ 607399 w 783612"/>
                <a:gd name="connsiteY3" fmla="*/ 223837 h 987425"/>
                <a:gd name="connsiteX4" fmla="*/ 593112 w 783612"/>
                <a:gd name="connsiteY4" fmla="*/ 323850 h 987425"/>
                <a:gd name="connsiteX5" fmla="*/ 559774 w 783612"/>
                <a:gd name="connsiteY5" fmla="*/ 457200 h 987425"/>
                <a:gd name="connsiteX6" fmla="*/ 488337 w 783612"/>
                <a:gd name="connsiteY6" fmla="*/ 557212 h 987425"/>
                <a:gd name="connsiteX7" fmla="*/ 445474 w 783612"/>
                <a:gd name="connsiteY7" fmla="*/ 619125 h 987425"/>
                <a:gd name="connsiteX8" fmla="*/ 359749 w 783612"/>
                <a:gd name="connsiteY8" fmla="*/ 728662 h 987425"/>
                <a:gd name="connsiteX9" fmla="*/ 259737 w 783612"/>
                <a:gd name="connsiteY9" fmla="*/ 785812 h 987425"/>
                <a:gd name="connsiteX10" fmla="*/ 188299 w 783612"/>
                <a:gd name="connsiteY10" fmla="*/ 795337 h 987425"/>
                <a:gd name="connsiteX11" fmla="*/ 140674 w 783612"/>
                <a:gd name="connsiteY11" fmla="*/ 857250 h 987425"/>
                <a:gd name="connsiteX12" fmla="*/ 43837 w 783612"/>
                <a:gd name="connsiteY12" fmla="*/ 917575 h 987425"/>
                <a:gd name="connsiteX13" fmla="*/ 974 w 783612"/>
                <a:gd name="connsiteY13" fmla="*/ 950912 h 987425"/>
                <a:gd name="connsiteX14" fmla="*/ 8912 w 783612"/>
                <a:gd name="connsiteY14" fmla="*/ 987425 h 987425"/>
                <a:gd name="connsiteX0" fmla="*/ 783612 w 783612"/>
                <a:gd name="connsiteY0" fmla="*/ 0 h 950912"/>
                <a:gd name="connsiteX1" fmla="*/ 732812 w 783612"/>
                <a:gd name="connsiteY1" fmla="*/ 60325 h 950912"/>
                <a:gd name="connsiteX2" fmla="*/ 704237 w 783612"/>
                <a:gd name="connsiteY2" fmla="*/ 139700 h 950912"/>
                <a:gd name="connsiteX3" fmla="*/ 607399 w 783612"/>
                <a:gd name="connsiteY3" fmla="*/ 223837 h 950912"/>
                <a:gd name="connsiteX4" fmla="*/ 593112 w 783612"/>
                <a:gd name="connsiteY4" fmla="*/ 323850 h 950912"/>
                <a:gd name="connsiteX5" fmla="*/ 559774 w 783612"/>
                <a:gd name="connsiteY5" fmla="*/ 457200 h 950912"/>
                <a:gd name="connsiteX6" fmla="*/ 488337 w 783612"/>
                <a:gd name="connsiteY6" fmla="*/ 557212 h 950912"/>
                <a:gd name="connsiteX7" fmla="*/ 445474 w 783612"/>
                <a:gd name="connsiteY7" fmla="*/ 619125 h 950912"/>
                <a:gd name="connsiteX8" fmla="*/ 359749 w 783612"/>
                <a:gd name="connsiteY8" fmla="*/ 728662 h 950912"/>
                <a:gd name="connsiteX9" fmla="*/ 259737 w 783612"/>
                <a:gd name="connsiteY9" fmla="*/ 785812 h 950912"/>
                <a:gd name="connsiteX10" fmla="*/ 188299 w 783612"/>
                <a:gd name="connsiteY10" fmla="*/ 795337 h 950912"/>
                <a:gd name="connsiteX11" fmla="*/ 140674 w 783612"/>
                <a:gd name="connsiteY11" fmla="*/ 857250 h 950912"/>
                <a:gd name="connsiteX12" fmla="*/ 43837 w 783612"/>
                <a:gd name="connsiteY12" fmla="*/ 917575 h 950912"/>
                <a:gd name="connsiteX13" fmla="*/ 974 w 783612"/>
                <a:gd name="connsiteY13" fmla="*/ 950912 h 950912"/>
                <a:gd name="connsiteX0" fmla="*/ 765051 w 765051"/>
                <a:gd name="connsiteY0" fmla="*/ 0 h 956237"/>
                <a:gd name="connsiteX1" fmla="*/ 714251 w 765051"/>
                <a:gd name="connsiteY1" fmla="*/ 60325 h 956237"/>
                <a:gd name="connsiteX2" fmla="*/ 685676 w 765051"/>
                <a:gd name="connsiteY2" fmla="*/ 139700 h 956237"/>
                <a:gd name="connsiteX3" fmla="*/ 588838 w 765051"/>
                <a:gd name="connsiteY3" fmla="*/ 223837 h 956237"/>
                <a:gd name="connsiteX4" fmla="*/ 574551 w 765051"/>
                <a:gd name="connsiteY4" fmla="*/ 323850 h 956237"/>
                <a:gd name="connsiteX5" fmla="*/ 541213 w 765051"/>
                <a:gd name="connsiteY5" fmla="*/ 457200 h 956237"/>
                <a:gd name="connsiteX6" fmla="*/ 469776 w 765051"/>
                <a:gd name="connsiteY6" fmla="*/ 557212 h 956237"/>
                <a:gd name="connsiteX7" fmla="*/ 426913 w 765051"/>
                <a:gd name="connsiteY7" fmla="*/ 619125 h 956237"/>
                <a:gd name="connsiteX8" fmla="*/ 341188 w 765051"/>
                <a:gd name="connsiteY8" fmla="*/ 728662 h 956237"/>
                <a:gd name="connsiteX9" fmla="*/ 241176 w 765051"/>
                <a:gd name="connsiteY9" fmla="*/ 785812 h 956237"/>
                <a:gd name="connsiteX10" fmla="*/ 169738 w 765051"/>
                <a:gd name="connsiteY10" fmla="*/ 795337 h 956237"/>
                <a:gd name="connsiteX11" fmla="*/ 122113 w 765051"/>
                <a:gd name="connsiteY11" fmla="*/ 857250 h 956237"/>
                <a:gd name="connsiteX12" fmla="*/ 25276 w 765051"/>
                <a:gd name="connsiteY12" fmla="*/ 917575 h 956237"/>
                <a:gd name="connsiteX13" fmla="*/ 1936 w 765051"/>
                <a:gd name="connsiteY13" fmla="*/ 956237 h 95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5051" h="956237">
                  <a:moveTo>
                    <a:pt x="765051" y="0"/>
                  </a:moveTo>
                  <a:lnTo>
                    <a:pt x="714251" y="60325"/>
                  </a:lnTo>
                  <a:cubicBezTo>
                    <a:pt x="688851" y="79375"/>
                    <a:pt x="706578" y="112448"/>
                    <a:pt x="685676" y="139700"/>
                  </a:cubicBezTo>
                  <a:cubicBezTo>
                    <a:pt x="664774" y="166952"/>
                    <a:pt x="607359" y="193146"/>
                    <a:pt x="588838" y="223837"/>
                  </a:cubicBezTo>
                  <a:cubicBezTo>
                    <a:pt x="570317" y="254528"/>
                    <a:pt x="582488" y="284956"/>
                    <a:pt x="574551" y="323850"/>
                  </a:cubicBezTo>
                  <a:cubicBezTo>
                    <a:pt x="566614" y="362744"/>
                    <a:pt x="558675" y="418306"/>
                    <a:pt x="541213" y="457200"/>
                  </a:cubicBezTo>
                  <a:cubicBezTo>
                    <a:pt x="523751" y="496094"/>
                    <a:pt x="488826" y="530225"/>
                    <a:pt x="469776" y="557212"/>
                  </a:cubicBezTo>
                  <a:cubicBezTo>
                    <a:pt x="450726" y="584199"/>
                    <a:pt x="448344" y="590550"/>
                    <a:pt x="426913" y="619125"/>
                  </a:cubicBezTo>
                  <a:cubicBezTo>
                    <a:pt x="405482" y="647700"/>
                    <a:pt x="372144" y="700881"/>
                    <a:pt x="341188" y="728662"/>
                  </a:cubicBezTo>
                  <a:cubicBezTo>
                    <a:pt x="310232" y="756443"/>
                    <a:pt x="269751" y="774700"/>
                    <a:pt x="241176" y="785812"/>
                  </a:cubicBezTo>
                  <a:cubicBezTo>
                    <a:pt x="212601" y="796924"/>
                    <a:pt x="189582" y="783431"/>
                    <a:pt x="169738" y="795337"/>
                  </a:cubicBezTo>
                  <a:cubicBezTo>
                    <a:pt x="149894" y="807243"/>
                    <a:pt x="146190" y="836877"/>
                    <a:pt x="122113" y="857250"/>
                  </a:cubicBezTo>
                  <a:cubicBezTo>
                    <a:pt x="98036" y="877623"/>
                    <a:pt x="45306" y="901077"/>
                    <a:pt x="25276" y="917575"/>
                  </a:cubicBezTo>
                  <a:cubicBezTo>
                    <a:pt x="5247" y="934073"/>
                    <a:pt x="-4414" y="927662"/>
                    <a:pt x="1936" y="956237"/>
                  </a:cubicBezTo>
                </a:path>
              </a:pathLst>
            </a:custGeom>
            <a:grpFill/>
            <a:ln w="28575" cmpd="dbl">
              <a:solidFill>
                <a:schemeClr val="accent1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ru-RU" sz="1247"/>
            </a:p>
          </p:txBody>
        </p:sp>
      </p:grpSp>
      <p:sp>
        <p:nvSpPr>
          <p:cNvPr id="19" name="Овал 18"/>
          <p:cNvSpPr/>
          <p:nvPr/>
        </p:nvSpPr>
        <p:spPr>
          <a:xfrm>
            <a:off x="2233491" y="4856536"/>
            <a:ext cx="50444" cy="50444"/>
          </a:xfrm>
          <a:prstGeom prst="ellipse">
            <a:avLst/>
          </a:prstGeom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Москва-Н.Новгород-Казань"/>
          <p:cNvSpPr/>
          <p:nvPr/>
        </p:nvSpPr>
        <p:spPr>
          <a:xfrm>
            <a:off x="2280699" y="4890403"/>
            <a:ext cx="480820" cy="222837"/>
          </a:xfrm>
          <a:custGeom>
            <a:avLst/>
            <a:gdLst>
              <a:gd name="connsiteX0" fmla="*/ 0 w 254926"/>
              <a:gd name="connsiteY0" fmla="*/ 0 h 204097"/>
              <a:gd name="connsiteX1" fmla="*/ 50800 w 254926"/>
              <a:gd name="connsiteY1" fmla="*/ 12700 h 204097"/>
              <a:gd name="connsiteX2" fmla="*/ 111125 w 254926"/>
              <a:gd name="connsiteY2" fmla="*/ 66675 h 204097"/>
              <a:gd name="connsiteX3" fmla="*/ 161925 w 254926"/>
              <a:gd name="connsiteY3" fmla="*/ 133350 h 204097"/>
              <a:gd name="connsiteX4" fmla="*/ 247650 w 254926"/>
              <a:gd name="connsiteY4" fmla="*/ 196850 h 204097"/>
              <a:gd name="connsiteX5" fmla="*/ 244475 w 254926"/>
              <a:gd name="connsiteY5" fmla="*/ 200025 h 204097"/>
              <a:gd name="connsiteX0" fmla="*/ 0 w 318971"/>
              <a:gd name="connsiteY0" fmla="*/ 0 h 204097"/>
              <a:gd name="connsiteX1" fmla="*/ 114845 w 318971"/>
              <a:gd name="connsiteY1" fmla="*/ 12700 h 204097"/>
              <a:gd name="connsiteX2" fmla="*/ 175170 w 318971"/>
              <a:gd name="connsiteY2" fmla="*/ 66675 h 204097"/>
              <a:gd name="connsiteX3" fmla="*/ 225970 w 318971"/>
              <a:gd name="connsiteY3" fmla="*/ 133350 h 204097"/>
              <a:gd name="connsiteX4" fmla="*/ 311695 w 318971"/>
              <a:gd name="connsiteY4" fmla="*/ 196850 h 204097"/>
              <a:gd name="connsiteX5" fmla="*/ 308520 w 318971"/>
              <a:gd name="connsiteY5" fmla="*/ 200025 h 204097"/>
              <a:gd name="connsiteX0" fmla="*/ 0 w 318971"/>
              <a:gd name="connsiteY0" fmla="*/ 0 h 200472"/>
              <a:gd name="connsiteX1" fmla="*/ 114845 w 318971"/>
              <a:gd name="connsiteY1" fmla="*/ 9075 h 200472"/>
              <a:gd name="connsiteX2" fmla="*/ 175170 w 318971"/>
              <a:gd name="connsiteY2" fmla="*/ 63050 h 200472"/>
              <a:gd name="connsiteX3" fmla="*/ 225970 w 318971"/>
              <a:gd name="connsiteY3" fmla="*/ 129725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8971"/>
              <a:gd name="connsiteY0" fmla="*/ 0 h 200472"/>
              <a:gd name="connsiteX1" fmla="*/ 84635 w 318971"/>
              <a:gd name="connsiteY1" fmla="*/ 23576 h 200472"/>
              <a:gd name="connsiteX2" fmla="*/ 175170 w 318971"/>
              <a:gd name="connsiteY2" fmla="*/ 63050 h 200472"/>
              <a:gd name="connsiteX3" fmla="*/ 225970 w 318971"/>
              <a:gd name="connsiteY3" fmla="*/ 129725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8971"/>
              <a:gd name="connsiteY0" fmla="*/ 0 h 200472"/>
              <a:gd name="connsiteX1" fmla="*/ 84635 w 318971"/>
              <a:gd name="connsiteY1" fmla="*/ 23576 h 200472"/>
              <a:gd name="connsiteX2" fmla="*/ 117167 w 318971"/>
              <a:gd name="connsiteY2" fmla="*/ 82384 h 200472"/>
              <a:gd name="connsiteX3" fmla="*/ 225970 w 318971"/>
              <a:gd name="connsiteY3" fmla="*/ 129725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8971"/>
              <a:gd name="connsiteY0" fmla="*/ 0 h 200472"/>
              <a:gd name="connsiteX1" fmla="*/ 77384 w 318971"/>
              <a:gd name="connsiteY1" fmla="*/ 23576 h 200472"/>
              <a:gd name="connsiteX2" fmla="*/ 117167 w 318971"/>
              <a:gd name="connsiteY2" fmla="*/ 82384 h 200472"/>
              <a:gd name="connsiteX3" fmla="*/ 225970 w 318971"/>
              <a:gd name="connsiteY3" fmla="*/ 129725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8971"/>
              <a:gd name="connsiteY0" fmla="*/ 0 h 200472"/>
              <a:gd name="connsiteX1" fmla="*/ 77384 w 318971"/>
              <a:gd name="connsiteY1" fmla="*/ 23576 h 200472"/>
              <a:gd name="connsiteX2" fmla="*/ 117167 w 318971"/>
              <a:gd name="connsiteY2" fmla="*/ 82384 h 200472"/>
              <a:gd name="connsiteX3" fmla="*/ 225970 w 318971"/>
              <a:gd name="connsiteY3" fmla="*/ 129725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8971"/>
              <a:gd name="connsiteY0" fmla="*/ 0 h 200472"/>
              <a:gd name="connsiteX1" fmla="*/ 73759 w 318971"/>
              <a:gd name="connsiteY1" fmla="*/ 28409 h 200472"/>
              <a:gd name="connsiteX2" fmla="*/ 117167 w 318971"/>
              <a:gd name="connsiteY2" fmla="*/ 82384 h 200472"/>
              <a:gd name="connsiteX3" fmla="*/ 225970 w 318971"/>
              <a:gd name="connsiteY3" fmla="*/ 129725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8971"/>
              <a:gd name="connsiteY0" fmla="*/ 0 h 200472"/>
              <a:gd name="connsiteX1" fmla="*/ 73759 w 318971"/>
              <a:gd name="connsiteY1" fmla="*/ 28409 h 200472"/>
              <a:gd name="connsiteX2" fmla="*/ 117167 w 318971"/>
              <a:gd name="connsiteY2" fmla="*/ 82384 h 200472"/>
              <a:gd name="connsiteX3" fmla="*/ 209052 w 318971"/>
              <a:gd name="connsiteY3" fmla="*/ 139392 h 200472"/>
              <a:gd name="connsiteX4" fmla="*/ 311695 w 318971"/>
              <a:gd name="connsiteY4" fmla="*/ 193225 h 200472"/>
              <a:gd name="connsiteX5" fmla="*/ 308520 w 318971"/>
              <a:gd name="connsiteY5" fmla="*/ 196400 h 200472"/>
              <a:gd name="connsiteX0" fmla="*/ 0 w 317929"/>
              <a:gd name="connsiteY0" fmla="*/ 0 h 225824"/>
              <a:gd name="connsiteX1" fmla="*/ 73759 w 317929"/>
              <a:gd name="connsiteY1" fmla="*/ 28409 h 225824"/>
              <a:gd name="connsiteX2" fmla="*/ 117167 w 317929"/>
              <a:gd name="connsiteY2" fmla="*/ 82384 h 225824"/>
              <a:gd name="connsiteX3" fmla="*/ 209052 w 317929"/>
              <a:gd name="connsiteY3" fmla="*/ 139392 h 225824"/>
              <a:gd name="connsiteX4" fmla="*/ 311695 w 317929"/>
              <a:gd name="connsiteY4" fmla="*/ 193225 h 225824"/>
              <a:gd name="connsiteX5" fmla="*/ 304895 w 317929"/>
              <a:gd name="connsiteY5" fmla="*/ 225402 h 225824"/>
              <a:gd name="connsiteX0" fmla="*/ 0 w 307063"/>
              <a:gd name="connsiteY0" fmla="*/ 0 h 225749"/>
              <a:gd name="connsiteX1" fmla="*/ 73759 w 307063"/>
              <a:gd name="connsiteY1" fmla="*/ 28409 h 225749"/>
              <a:gd name="connsiteX2" fmla="*/ 117167 w 307063"/>
              <a:gd name="connsiteY2" fmla="*/ 82384 h 225749"/>
              <a:gd name="connsiteX3" fmla="*/ 209052 w 307063"/>
              <a:gd name="connsiteY3" fmla="*/ 139392 h 225749"/>
              <a:gd name="connsiteX4" fmla="*/ 281485 w 307063"/>
              <a:gd name="connsiteY4" fmla="*/ 187183 h 225749"/>
              <a:gd name="connsiteX5" fmla="*/ 304895 w 307063"/>
              <a:gd name="connsiteY5" fmla="*/ 225402 h 225749"/>
              <a:gd name="connsiteX0" fmla="*/ 0 w 304868"/>
              <a:gd name="connsiteY0" fmla="*/ 0 h 232938"/>
              <a:gd name="connsiteX1" fmla="*/ 73759 w 304868"/>
              <a:gd name="connsiteY1" fmla="*/ 28409 h 232938"/>
              <a:gd name="connsiteX2" fmla="*/ 117167 w 304868"/>
              <a:gd name="connsiteY2" fmla="*/ 82384 h 232938"/>
              <a:gd name="connsiteX3" fmla="*/ 209052 w 304868"/>
              <a:gd name="connsiteY3" fmla="*/ 139392 h 232938"/>
              <a:gd name="connsiteX4" fmla="*/ 281485 w 304868"/>
              <a:gd name="connsiteY4" fmla="*/ 187183 h 232938"/>
              <a:gd name="connsiteX5" fmla="*/ 302479 w 304868"/>
              <a:gd name="connsiteY5" fmla="*/ 232652 h 232938"/>
              <a:gd name="connsiteX0" fmla="*/ 0 w 304235"/>
              <a:gd name="connsiteY0" fmla="*/ 0 h 232966"/>
              <a:gd name="connsiteX1" fmla="*/ 73759 w 304235"/>
              <a:gd name="connsiteY1" fmla="*/ 28409 h 232966"/>
              <a:gd name="connsiteX2" fmla="*/ 117167 w 304235"/>
              <a:gd name="connsiteY2" fmla="*/ 82384 h 232966"/>
              <a:gd name="connsiteX3" fmla="*/ 209052 w 304235"/>
              <a:gd name="connsiteY3" fmla="*/ 139392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304235"/>
              <a:gd name="connsiteY0" fmla="*/ 0 h 232966"/>
              <a:gd name="connsiteX1" fmla="*/ 70134 w 304235"/>
              <a:gd name="connsiteY1" fmla="*/ 35659 h 232966"/>
              <a:gd name="connsiteX2" fmla="*/ 117167 w 304235"/>
              <a:gd name="connsiteY2" fmla="*/ 82384 h 232966"/>
              <a:gd name="connsiteX3" fmla="*/ 209052 w 304235"/>
              <a:gd name="connsiteY3" fmla="*/ 139392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304235"/>
              <a:gd name="connsiteY0" fmla="*/ 0 h 232966"/>
              <a:gd name="connsiteX1" fmla="*/ 70134 w 304235"/>
              <a:gd name="connsiteY1" fmla="*/ 35659 h 232966"/>
              <a:gd name="connsiteX2" fmla="*/ 113542 w 304235"/>
              <a:gd name="connsiteY2" fmla="*/ 88426 h 232966"/>
              <a:gd name="connsiteX3" fmla="*/ 209052 w 304235"/>
              <a:gd name="connsiteY3" fmla="*/ 139392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304235"/>
              <a:gd name="connsiteY0" fmla="*/ 0 h 232966"/>
              <a:gd name="connsiteX1" fmla="*/ 70134 w 304235"/>
              <a:gd name="connsiteY1" fmla="*/ 35659 h 232966"/>
              <a:gd name="connsiteX2" fmla="*/ 106292 w 304235"/>
              <a:gd name="connsiteY2" fmla="*/ 88426 h 232966"/>
              <a:gd name="connsiteX3" fmla="*/ 209052 w 304235"/>
              <a:gd name="connsiteY3" fmla="*/ 139392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304235"/>
              <a:gd name="connsiteY0" fmla="*/ 0 h 232966"/>
              <a:gd name="connsiteX1" fmla="*/ 70134 w 304235"/>
              <a:gd name="connsiteY1" fmla="*/ 35659 h 232966"/>
              <a:gd name="connsiteX2" fmla="*/ 106292 w 304235"/>
              <a:gd name="connsiteY2" fmla="*/ 88426 h 232966"/>
              <a:gd name="connsiteX3" fmla="*/ 194551 w 304235"/>
              <a:gd name="connsiteY3" fmla="*/ 152685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304235"/>
              <a:gd name="connsiteY0" fmla="*/ 0 h 232966"/>
              <a:gd name="connsiteX1" fmla="*/ 59259 w 304235"/>
              <a:gd name="connsiteY1" fmla="*/ 23575 h 232966"/>
              <a:gd name="connsiteX2" fmla="*/ 106292 w 304235"/>
              <a:gd name="connsiteY2" fmla="*/ 88426 h 232966"/>
              <a:gd name="connsiteX3" fmla="*/ 194551 w 304235"/>
              <a:gd name="connsiteY3" fmla="*/ 152685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304235"/>
              <a:gd name="connsiteY0" fmla="*/ 0 h 232966"/>
              <a:gd name="connsiteX1" fmla="*/ 59259 w 304235"/>
              <a:gd name="connsiteY1" fmla="*/ 23575 h 232966"/>
              <a:gd name="connsiteX2" fmla="*/ 99041 w 304235"/>
              <a:gd name="connsiteY2" fmla="*/ 92051 h 232966"/>
              <a:gd name="connsiteX3" fmla="*/ 194551 w 304235"/>
              <a:gd name="connsiteY3" fmla="*/ 152685 h 232966"/>
              <a:gd name="connsiteX4" fmla="*/ 273026 w 304235"/>
              <a:gd name="connsiteY4" fmla="*/ 190808 h 232966"/>
              <a:gd name="connsiteX5" fmla="*/ 302479 w 304235"/>
              <a:gd name="connsiteY5" fmla="*/ 232652 h 232966"/>
              <a:gd name="connsiteX0" fmla="*/ 0 w 579203"/>
              <a:gd name="connsiteY0" fmla="*/ 0 h 440497"/>
              <a:gd name="connsiteX1" fmla="*/ 59259 w 579203"/>
              <a:gd name="connsiteY1" fmla="*/ 23575 h 440497"/>
              <a:gd name="connsiteX2" fmla="*/ 99041 w 579203"/>
              <a:gd name="connsiteY2" fmla="*/ 92051 h 440497"/>
              <a:gd name="connsiteX3" fmla="*/ 194551 w 579203"/>
              <a:gd name="connsiteY3" fmla="*/ 152685 h 440497"/>
              <a:gd name="connsiteX4" fmla="*/ 273026 w 579203"/>
              <a:gd name="connsiteY4" fmla="*/ 190808 h 440497"/>
              <a:gd name="connsiteX5" fmla="*/ 579203 w 579203"/>
              <a:gd name="connsiteY5" fmla="*/ 440497 h 440497"/>
              <a:gd name="connsiteX0" fmla="*/ 0 w 579203"/>
              <a:gd name="connsiteY0" fmla="*/ 0 h 442082"/>
              <a:gd name="connsiteX1" fmla="*/ 59259 w 579203"/>
              <a:gd name="connsiteY1" fmla="*/ 23575 h 442082"/>
              <a:gd name="connsiteX2" fmla="*/ 99041 w 579203"/>
              <a:gd name="connsiteY2" fmla="*/ 92051 h 442082"/>
              <a:gd name="connsiteX3" fmla="*/ 194551 w 579203"/>
              <a:gd name="connsiteY3" fmla="*/ 152685 h 442082"/>
              <a:gd name="connsiteX4" fmla="*/ 273026 w 579203"/>
              <a:gd name="connsiteY4" fmla="*/ 190808 h 442082"/>
              <a:gd name="connsiteX5" fmla="*/ 579203 w 579203"/>
              <a:gd name="connsiteY5" fmla="*/ 440497 h 442082"/>
              <a:gd name="connsiteX0" fmla="*/ 0 w 579203"/>
              <a:gd name="connsiteY0" fmla="*/ 0 h 442082"/>
              <a:gd name="connsiteX1" fmla="*/ 59259 w 579203"/>
              <a:gd name="connsiteY1" fmla="*/ 23575 h 442082"/>
              <a:gd name="connsiteX2" fmla="*/ 99041 w 579203"/>
              <a:gd name="connsiteY2" fmla="*/ 92051 h 442082"/>
              <a:gd name="connsiteX3" fmla="*/ 294848 w 579203"/>
              <a:gd name="connsiteY3" fmla="*/ 245732 h 442082"/>
              <a:gd name="connsiteX4" fmla="*/ 273026 w 579203"/>
              <a:gd name="connsiteY4" fmla="*/ 190808 h 442082"/>
              <a:gd name="connsiteX5" fmla="*/ 579203 w 579203"/>
              <a:gd name="connsiteY5" fmla="*/ 440497 h 442082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99041 w 579203"/>
              <a:gd name="connsiteY2" fmla="*/ 92051 h 446436"/>
              <a:gd name="connsiteX3" fmla="*/ 294848 w 579203"/>
              <a:gd name="connsiteY3" fmla="*/ 245732 h 446436"/>
              <a:gd name="connsiteX4" fmla="*/ 415617 w 579203"/>
              <a:gd name="connsiteY4" fmla="*/ 344275 h 446436"/>
              <a:gd name="connsiteX5" fmla="*/ 579203 w 579203"/>
              <a:gd name="connsiteY5" fmla="*/ 440497 h 446436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99041 w 579203"/>
              <a:gd name="connsiteY2" fmla="*/ 92051 h 446436"/>
              <a:gd name="connsiteX3" fmla="*/ 210260 w 579203"/>
              <a:gd name="connsiteY3" fmla="*/ 169603 h 446436"/>
              <a:gd name="connsiteX4" fmla="*/ 415617 w 579203"/>
              <a:gd name="connsiteY4" fmla="*/ 344275 h 446436"/>
              <a:gd name="connsiteX5" fmla="*/ 579203 w 579203"/>
              <a:gd name="connsiteY5" fmla="*/ 440497 h 446436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109916 w 579203"/>
              <a:gd name="connsiteY2" fmla="*/ 81176 h 446436"/>
              <a:gd name="connsiteX3" fmla="*/ 210260 w 579203"/>
              <a:gd name="connsiteY3" fmla="*/ 169603 h 446436"/>
              <a:gd name="connsiteX4" fmla="*/ 415617 w 579203"/>
              <a:gd name="connsiteY4" fmla="*/ 344275 h 446436"/>
              <a:gd name="connsiteX5" fmla="*/ 579203 w 579203"/>
              <a:gd name="connsiteY5" fmla="*/ 440497 h 446436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109916 w 579203"/>
              <a:gd name="connsiteY2" fmla="*/ 81176 h 446436"/>
              <a:gd name="connsiteX3" fmla="*/ 178841 w 579203"/>
              <a:gd name="connsiteY3" fmla="*/ 165978 h 446436"/>
              <a:gd name="connsiteX4" fmla="*/ 415617 w 579203"/>
              <a:gd name="connsiteY4" fmla="*/ 344275 h 446436"/>
              <a:gd name="connsiteX5" fmla="*/ 579203 w 579203"/>
              <a:gd name="connsiteY5" fmla="*/ 440497 h 446436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109916 w 579203"/>
              <a:gd name="connsiteY2" fmla="*/ 81176 h 446436"/>
              <a:gd name="connsiteX3" fmla="*/ 178841 w 579203"/>
              <a:gd name="connsiteY3" fmla="*/ 165978 h 446436"/>
              <a:gd name="connsiteX4" fmla="*/ 415617 w 579203"/>
              <a:gd name="connsiteY4" fmla="*/ 344275 h 446436"/>
              <a:gd name="connsiteX5" fmla="*/ 579203 w 579203"/>
              <a:gd name="connsiteY5" fmla="*/ 440497 h 446436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109916 w 579203"/>
              <a:gd name="connsiteY2" fmla="*/ 81176 h 446436"/>
              <a:gd name="connsiteX3" fmla="*/ 178841 w 579203"/>
              <a:gd name="connsiteY3" fmla="*/ 165978 h 446436"/>
              <a:gd name="connsiteX4" fmla="*/ 262741 w 579203"/>
              <a:gd name="connsiteY4" fmla="*/ 227401 h 446436"/>
              <a:gd name="connsiteX5" fmla="*/ 415617 w 579203"/>
              <a:gd name="connsiteY5" fmla="*/ 344275 h 446436"/>
              <a:gd name="connsiteX6" fmla="*/ 579203 w 579203"/>
              <a:gd name="connsiteY6" fmla="*/ 440497 h 446436"/>
              <a:gd name="connsiteX0" fmla="*/ 0 w 579203"/>
              <a:gd name="connsiteY0" fmla="*/ 0 h 446436"/>
              <a:gd name="connsiteX1" fmla="*/ 59259 w 579203"/>
              <a:gd name="connsiteY1" fmla="*/ 23575 h 446436"/>
              <a:gd name="connsiteX2" fmla="*/ 109916 w 579203"/>
              <a:gd name="connsiteY2" fmla="*/ 81176 h 446436"/>
              <a:gd name="connsiteX3" fmla="*/ 178841 w 579203"/>
              <a:gd name="connsiteY3" fmla="*/ 165978 h 446436"/>
              <a:gd name="connsiteX4" fmla="*/ 291743 w 579203"/>
              <a:gd name="connsiteY4" fmla="*/ 231026 h 446436"/>
              <a:gd name="connsiteX5" fmla="*/ 415617 w 579203"/>
              <a:gd name="connsiteY5" fmla="*/ 344275 h 446436"/>
              <a:gd name="connsiteX6" fmla="*/ 579203 w 579203"/>
              <a:gd name="connsiteY6" fmla="*/ 440497 h 446436"/>
              <a:gd name="connsiteX0" fmla="*/ 0 w 579203"/>
              <a:gd name="connsiteY0" fmla="*/ 0 h 445617"/>
              <a:gd name="connsiteX1" fmla="*/ 59259 w 579203"/>
              <a:gd name="connsiteY1" fmla="*/ 23575 h 445617"/>
              <a:gd name="connsiteX2" fmla="*/ 109916 w 579203"/>
              <a:gd name="connsiteY2" fmla="*/ 81176 h 445617"/>
              <a:gd name="connsiteX3" fmla="*/ 178841 w 579203"/>
              <a:gd name="connsiteY3" fmla="*/ 165978 h 445617"/>
              <a:gd name="connsiteX4" fmla="*/ 291743 w 579203"/>
              <a:gd name="connsiteY4" fmla="*/ 231026 h 445617"/>
              <a:gd name="connsiteX5" fmla="*/ 379365 w 579203"/>
              <a:gd name="connsiteY5" fmla="*/ 334608 h 445617"/>
              <a:gd name="connsiteX6" fmla="*/ 579203 w 579203"/>
              <a:gd name="connsiteY6" fmla="*/ 440497 h 445617"/>
              <a:gd name="connsiteX0" fmla="*/ 0 w 579203"/>
              <a:gd name="connsiteY0" fmla="*/ 0 h 445617"/>
              <a:gd name="connsiteX1" fmla="*/ 59259 w 579203"/>
              <a:gd name="connsiteY1" fmla="*/ 23575 h 445617"/>
              <a:gd name="connsiteX2" fmla="*/ 109916 w 579203"/>
              <a:gd name="connsiteY2" fmla="*/ 81176 h 445617"/>
              <a:gd name="connsiteX3" fmla="*/ 178841 w 579203"/>
              <a:gd name="connsiteY3" fmla="*/ 165978 h 445617"/>
              <a:gd name="connsiteX4" fmla="*/ 291743 w 579203"/>
              <a:gd name="connsiteY4" fmla="*/ 231026 h 445617"/>
              <a:gd name="connsiteX5" fmla="*/ 379365 w 579203"/>
              <a:gd name="connsiteY5" fmla="*/ 334608 h 445617"/>
              <a:gd name="connsiteX6" fmla="*/ 579203 w 579203"/>
              <a:gd name="connsiteY6" fmla="*/ 440497 h 445617"/>
              <a:gd name="connsiteX0" fmla="*/ 0 w 579203"/>
              <a:gd name="connsiteY0" fmla="*/ 0 h 443291"/>
              <a:gd name="connsiteX1" fmla="*/ 59259 w 579203"/>
              <a:gd name="connsiteY1" fmla="*/ 23575 h 443291"/>
              <a:gd name="connsiteX2" fmla="*/ 109916 w 579203"/>
              <a:gd name="connsiteY2" fmla="*/ 81176 h 443291"/>
              <a:gd name="connsiteX3" fmla="*/ 178841 w 579203"/>
              <a:gd name="connsiteY3" fmla="*/ 165978 h 443291"/>
              <a:gd name="connsiteX4" fmla="*/ 291743 w 579203"/>
              <a:gd name="connsiteY4" fmla="*/ 231026 h 443291"/>
              <a:gd name="connsiteX5" fmla="*/ 379365 w 579203"/>
              <a:gd name="connsiteY5" fmla="*/ 334608 h 443291"/>
              <a:gd name="connsiteX6" fmla="*/ 579203 w 579203"/>
              <a:gd name="connsiteY6" fmla="*/ 440497 h 443291"/>
              <a:gd name="connsiteX0" fmla="*/ 0 w 547785"/>
              <a:gd name="connsiteY0" fmla="*/ 0 h 431531"/>
              <a:gd name="connsiteX1" fmla="*/ 59259 w 547785"/>
              <a:gd name="connsiteY1" fmla="*/ 23575 h 431531"/>
              <a:gd name="connsiteX2" fmla="*/ 109916 w 547785"/>
              <a:gd name="connsiteY2" fmla="*/ 81176 h 431531"/>
              <a:gd name="connsiteX3" fmla="*/ 178841 w 547785"/>
              <a:gd name="connsiteY3" fmla="*/ 165978 h 431531"/>
              <a:gd name="connsiteX4" fmla="*/ 291743 w 547785"/>
              <a:gd name="connsiteY4" fmla="*/ 231026 h 431531"/>
              <a:gd name="connsiteX5" fmla="*/ 379365 w 547785"/>
              <a:gd name="connsiteY5" fmla="*/ 334608 h 431531"/>
              <a:gd name="connsiteX6" fmla="*/ 547785 w 547785"/>
              <a:gd name="connsiteY6" fmla="*/ 428413 h 431531"/>
              <a:gd name="connsiteX0" fmla="*/ 0 w 573162"/>
              <a:gd name="connsiteY0" fmla="*/ 0 h 432704"/>
              <a:gd name="connsiteX1" fmla="*/ 59259 w 573162"/>
              <a:gd name="connsiteY1" fmla="*/ 23575 h 432704"/>
              <a:gd name="connsiteX2" fmla="*/ 109916 w 573162"/>
              <a:gd name="connsiteY2" fmla="*/ 81176 h 432704"/>
              <a:gd name="connsiteX3" fmla="*/ 178841 w 573162"/>
              <a:gd name="connsiteY3" fmla="*/ 165978 h 432704"/>
              <a:gd name="connsiteX4" fmla="*/ 291743 w 573162"/>
              <a:gd name="connsiteY4" fmla="*/ 231026 h 432704"/>
              <a:gd name="connsiteX5" fmla="*/ 379365 w 573162"/>
              <a:gd name="connsiteY5" fmla="*/ 334608 h 432704"/>
              <a:gd name="connsiteX6" fmla="*/ 573162 w 573162"/>
              <a:gd name="connsiteY6" fmla="*/ 429621 h 432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3162" h="432704">
                <a:moveTo>
                  <a:pt x="0" y="0"/>
                </a:moveTo>
                <a:cubicBezTo>
                  <a:pt x="16139" y="794"/>
                  <a:pt x="40940" y="10046"/>
                  <a:pt x="59259" y="23575"/>
                </a:cubicBezTo>
                <a:cubicBezTo>
                  <a:pt x="77578" y="37104"/>
                  <a:pt x="89986" y="57442"/>
                  <a:pt x="109916" y="81176"/>
                </a:cubicBezTo>
                <a:cubicBezTo>
                  <a:pt x="129846" y="104910"/>
                  <a:pt x="148537" y="141003"/>
                  <a:pt x="178841" y="165978"/>
                </a:cubicBezTo>
                <a:cubicBezTo>
                  <a:pt x="209146" y="190953"/>
                  <a:pt x="252280" y="201310"/>
                  <a:pt x="291743" y="231026"/>
                </a:cubicBezTo>
                <a:cubicBezTo>
                  <a:pt x="331206" y="260742"/>
                  <a:pt x="344747" y="307551"/>
                  <a:pt x="379365" y="334608"/>
                </a:cubicBezTo>
                <a:cubicBezTo>
                  <a:pt x="402878" y="361043"/>
                  <a:pt x="566566" y="450313"/>
                  <a:pt x="573162" y="429621"/>
                </a:cubicBezTo>
              </a:path>
            </a:pathLst>
          </a:custGeom>
          <a:noFill/>
          <a:ln w="25400" cmpd="dbl">
            <a:solidFill>
              <a:schemeClr val="accent1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М-3"/>
          <p:cNvSpPr/>
          <p:nvPr/>
        </p:nvSpPr>
        <p:spPr>
          <a:xfrm>
            <a:off x="1883109" y="4858531"/>
            <a:ext cx="351263" cy="76736"/>
          </a:xfrm>
          <a:custGeom>
            <a:avLst/>
            <a:gdLst>
              <a:gd name="connsiteX0" fmla="*/ 466725 w 466725"/>
              <a:gd name="connsiteY0" fmla="*/ 35461 h 135474"/>
              <a:gd name="connsiteX1" fmla="*/ 338137 w 466725"/>
              <a:gd name="connsiteY1" fmla="*/ 6886 h 135474"/>
              <a:gd name="connsiteX2" fmla="*/ 209550 w 466725"/>
              <a:gd name="connsiteY2" fmla="*/ 2124 h 135474"/>
              <a:gd name="connsiteX3" fmla="*/ 123825 w 466725"/>
              <a:gd name="connsiteY3" fmla="*/ 35461 h 135474"/>
              <a:gd name="connsiteX4" fmla="*/ 0 w 466725"/>
              <a:gd name="connsiteY4" fmla="*/ 135474 h 135474"/>
              <a:gd name="connsiteX0" fmla="*/ 466725 w 466725"/>
              <a:gd name="connsiteY0" fmla="*/ 35461 h 135739"/>
              <a:gd name="connsiteX1" fmla="*/ 338137 w 466725"/>
              <a:gd name="connsiteY1" fmla="*/ 6886 h 135739"/>
              <a:gd name="connsiteX2" fmla="*/ 209550 w 466725"/>
              <a:gd name="connsiteY2" fmla="*/ 2124 h 135739"/>
              <a:gd name="connsiteX3" fmla="*/ 123825 w 466725"/>
              <a:gd name="connsiteY3" fmla="*/ 35461 h 135739"/>
              <a:gd name="connsiteX4" fmla="*/ 0 w 466725"/>
              <a:gd name="connsiteY4" fmla="*/ 135474 h 135739"/>
              <a:gd name="connsiteX0" fmla="*/ 466725 w 466725"/>
              <a:gd name="connsiteY0" fmla="*/ 33656 h 133934"/>
              <a:gd name="connsiteX1" fmla="*/ 338137 w 466725"/>
              <a:gd name="connsiteY1" fmla="*/ 17781 h 133934"/>
              <a:gd name="connsiteX2" fmla="*/ 209550 w 466725"/>
              <a:gd name="connsiteY2" fmla="*/ 319 h 133934"/>
              <a:gd name="connsiteX3" fmla="*/ 123825 w 466725"/>
              <a:gd name="connsiteY3" fmla="*/ 33656 h 133934"/>
              <a:gd name="connsiteX4" fmla="*/ 0 w 466725"/>
              <a:gd name="connsiteY4" fmla="*/ 133669 h 133934"/>
              <a:gd name="connsiteX0" fmla="*/ 466725 w 466725"/>
              <a:gd name="connsiteY0" fmla="*/ 33541 h 133819"/>
              <a:gd name="connsiteX1" fmla="*/ 338137 w 466725"/>
              <a:gd name="connsiteY1" fmla="*/ 17666 h 133819"/>
              <a:gd name="connsiteX2" fmla="*/ 209550 w 466725"/>
              <a:gd name="connsiteY2" fmla="*/ 204 h 133819"/>
              <a:gd name="connsiteX3" fmla="*/ 123825 w 466725"/>
              <a:gd name="connsiteY3" fmla="*/ 33541 h 133819"/>
              <a:gd name="connsiteX4" fmla="*/ 0 w 466725"/>
              <a:gd name="connsiteY4" fmla="*/ 133554 h 133819"/>
              <a:gd name="connsiteX0" fmla="*/ 466725 w 466725"/>
              <a:gd name="connsiteY0" fmla="*/ 33726 h 134004"/>
              <a:gd name="connsiteX1" fmla="*/ 338137 w 466725"/>
              <a:gd name="connsiteY1" fmla="*/ 17851 h 134004"/>
              <a:gd name="connsiteX2" fmla="*/ 209550 w 466725"/>
              <a:gd name="connsiteY2" fmla="*/ 389 h 134004"/>
              <a:gd name="connsiteX3" fmla="*/ 123825 w 466725"/>
              <a:gd name="connsiteY3" fmla="*/ 33726 h 134004"/>
              <a:gd name="connsiteX4" fmla="*/ 0 w 466725"/>
              <a:gd name="connsiteY4" fmla="*/ 133739 h 134004"/>
              <a:gd name="connsiteX0" fmla="*/ 466725 w 466725"/>
              <a:gd name="connsiteY0" fmla="*/ 33726 h 134004"/>
              <a:gd name="connsiteX1" fmla="*/ 338137 w 466725"/>
              <a:gd name="connsiteY1" fmla="*/ 17851 h 134004"/>
              <a:gd name="connsiteX2" fmla="*/ 209550 w 466725"/>
              <a:gd name="connsiteY2" fmla="*/ 389 h 134004"/>
              <a:gd name="connsiteX3" fmla="*/ 123825 w 466725"/>
              <a:gd name="connsiteY3" fmla="*/ 33726 h 134004"/>
              <a:gd name="connsiteX4" fmla="*/ 0 w 466725"/>
              <a:gd name="connsiteY4" fmla="*/ 133739 h 134004"/>
              <a:gd name="connsiteX0" fmla="*/ 466725 w 466725"/>
              <a:gd name="connsiteY0" fmla="*/ 33606 h 133884"/>
              <a:gd name="connsiteX1" fmla="*/ 338137 w 466725"/>
              <a:gd name="connsiteY1" fmla="*/ 17731 h 133884"/>
              <a:gd name="connsiteX2" fmla="*/ 209550 w 466725"/>
              <a:gd name="connsiteY2" fmla="*/ 269 h 133884"/>
              <a:gd name="connsiteX3" fmla="*/ 123825 w 466725"/>
              <a:gd name="connsiteY3" fmla="*/ 33606 h 133884"/>
              <a:gd name="connsiteX4" fmla="*/ 0 w 466725"/>
              <a:gd name="connsiteY4" fmla="*/ 133619 h 133884"/>
              <a:gd name="connsiteX0" fmla="*/ 466725 w 466725"/>
              <a:gd name="connsiteY0" fmla="*/ 33606 h 133884"/>
              <a:gd name="connsiteX1" fmla="*/ 331787 w 466725"/>
              <a:gd name="connsiteY1" fmla="*/ 17731 h 133884"/>
              <a:gd name="connsiteX2" fmla="*/ 209550 w 466725"/>
              <a:gd name="connsiteY2" fmla="*/ 269 h 133884"/>
              <a:gd name="connsiteX3" fmla="*/ 123825 w 466725"/>
              <a:gd name="connsiteY3" fmla="*/ 33606 h 133884"/>
              <a:gd name="connsiteX4" fmla="*/ 0 w 466725"/>
              <a:gd name="connsiteY4" fmla="*/ 133619 h 133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725" h="133884">
                <a:moveTo>
                  <a:pt x="466725" y="33606"/>
                </a:moveTo>
                <a:cubicBezTo>
                  <a:pt x="423862" y="22096"/>
                  <a:pt x="368299" y="20112"/>
                  <a:pt x="331787" y="17731"/>
                </a:cubicBezTo>
                <a:cubicBezTo>
                  <a:pt x="295275" y="15350"/>
                  <a:pt x="244210" y="-2377"/>
                  <a:pt x="209550" y="269"/>
                </a:cubicBezTo>
                <a:cubicBezTo>
                  <a:pt x="174890" y="2915"/>
                  <a:pt x="158750" y="11381"/>
                  <a:pt x="123825" y="33606"/>
                </a:cubicBezTo>
                <a:cubicBezTo>
                  <a:pt x="88900" y="55831"/>
                  <a:pt x="47625" y="139175"/>
                  <a:pt x="0" y="133619"/>
                </a:cubicBezTo>
              </a:path>
            </a:pathLst>
          </a:custGeom>
          <a:noFill/>
          <a:ln w="25400" cmpd="dbl">
            <a:solidFill>
              <a:schemeClr val="accent1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09044" y="1196752"/>
            <a:ext cx="2310631" cy="576064"/>
          </a:xfrm>
          <a:prstGeom prst="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азработка документации по планировке </a:t>
            </a:r>
            <a:r>
              <a:rPr lang="ru-RU" sz="1200" dirty="0" smtClean="0"/>
              <a:t>территории</a:t>
            </a:r>
          </a:p>
          <a:p>
            <a:pPr algn="ctr"/>
            <a:r>
              <a:rPr lang="ru-RU" sz="1200" dirty="0" smtClean="0"/>
              <a:t>2018-2019 гг.</a:t>
            </a:r>
            <a:endParaRPr lang="ru-RU" sz="12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3275856" y="1196752"/>
            <a:ext cx="2310631" cy="576064"/>
          </a:xfrm>
          <a:prstGeom prst="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азработка проектной </a:t>
            </a:r>
            <a:r>
              <a:rPr lang="ru-RU" sz="1200" dirty="0" smtClean="0"/>
              <a:t>документации </a:t>
            </a:r>
          </a:p>
          <a:p>
            <a:pPr algn="ctr"/>
            <a:r>
              <a:rPr lang="ru-RU" sz="1200" dirty="0" smtClean="0"/>
              <a:t>2019-2020 гг.</a:t>
            </a:r>
            <a:endParaRPr lang="ru-RU" sz="12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6113797" y="1196752"/>
            <a:ext cx="2598663" cy="576064"/>
          </a:xfrm>
          <a:prstGeom prst="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дготовка территории и строительно-монтажные работы</a:t>
            </a:r>
          </a:p>
          <a:p>
            <a:pPr algn="ctr"/>
            <a:r>
              <a:rPr lang="ru-RU" sz="1200" dirty="0" smtClean="0"/>
              <a:t>2021-2025 гг.</a:t>
            </a:r>
            <a:endParaRPr lang="ru-RU" sz="12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1790374" y="1998396"/>
            <a:ext cx="2520280" cy="576064"/>
          </a:xfrm>
          <a:prstGeom prst="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дбор инвестора (при </a:t>
            </a:r>
            <a:r>
              <a:rPr lang="en-US" sz="1200" dirty="0"/>
              <a:t>DBFO)</a:t>
            </a:r>
            <a:endParaRPr lang="ru-RU" sz="1200" dirty="0"/>
          </a:p>
          <a:p>
            <a:pPr algn="ctr"/>
            <a:r>
              <a:rPr lang="ru-RU" sz="1200" dirty="0" smtClean="0"/>
              <a:t>2019 г.</a:t>
            </a:r>
            <a:endParaRPr lang="ru-RU" sz="12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4644008" y="1998396"/>
            <a:ext cx="2628530" cy="576064"/>
          </a:xfrm>
          <a:prstGeom prst="rect">
            <a:avLst/>
          </a:prstGeom>
          <a:ln w="127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дготовка ФЭО и проведение инвестиционного конкурса</a:t>
            </a:r>
          </a:p>
          <a:p>
            <a:pPr algn="ctr"/>
            <a:r>
              <a:rPr lang="ru-RU" sz="1200" dirty="0" smtClean="0"/>
              <a:t>2020 г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4416895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326976" y="980728"/>
            <a:ext cx="8568952" cy="5093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1200" b="1" dirty="0" smtClean="0">
                <a:latin typeface="+mj-lt"/>
              </a:rPr>
              <a:t>Указ Президента Российской Федерации В.В. Путина от 7 мая 2018 года «</a:t>
            </a:r>
            <a:r>
              <a:rPr lang="ru-RU" sz="1200" b="1" dirty="0">
                <a:latin typeface="+mj-lt"/>
              </a:rPr>
              <a:t>О национальных целях и стратегических задачах развития Российской Федерации на период до 2024 года»</a:t>
            </a:r>
            <a:endParaRPr lang="ru-RU" altLang="ru-RU" sz="1200" dirty="0">
              <a:latin typeface="+mj-lt"/>
              <a:ea typeface="Tahoma" pitchFamily="34" charset="0"/>
              <a:cs typeface="Tahoma" pitchFamily="34" charset="0"/>
            </a:endParaRPr>
          </a:p>
          <a:p>
            <a:r>
              <a:rPr lang="ru-RU" sz="1200" dirty="0" smtClean="0">
                <a:latin typeface="+mj-lt"/>
              </a:rPr>
              <a:t>«8. </a:t>
            </a:r>
            <a:r>
              <a:rPr lang="ru-RU" sz="1200" dirty="0">
                <a:latin typeface="+mj-lt"/>
              </a:rPr>
              <a:t>Правительству Российской Федерации при разработке национального проекта по созданию </a:t>
            </a:r>
            <a:r>
              <a:rPr lang="ru-RU" sz="1200" u="sng" dirty="0">
                <a:latin typeface="+mj-lt"/>
              </a:rPr>
              <a:t>безопасных и качественных автомобильных дорог</a:t>
            </a:r>
            <a:r>
              <a:rPr lang="ru-RU" sz="1200" dirty="0">
                <a:latin typeface="+mj-lt"/>
              </a:rPr>
              <a:t> </a:t>
            </a:r>
            <a:r>
              <a:rPr lang="ru-RU" sz="1200" dirty="0" smtClean="0">
                <a:latin typeface="+mj-lt"/>
              </a:rPr>
              <a:t> к</a:t>
            </a:r>
            <a:r>
              <a:rPr lang="ru-RU" sz="1200" dirty="0">
                <a:latin typeface="+mj-lt"/>
              </a:rPr>
              <a:t> 2024 году </a:t>
            </a:r>
            <a:r>
              <a:rPr lang="ru-RU" sz="1200" dirty="0" smtClean="0">
                <a:latin typeface="+mj-lt"/>
              </a:rPr>
              <a:t>обеспечить:</a:t>
            </a:r>
          </a:p>
          <a:p>
            <a:endParaRPr lang="ru-RU" sz="12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</a:rPr>
              <a:t>снижение </a:t>
            </a:r>
            <a:r>
              <a:rPr lang="ru-RU" sz="1200" dirty="0">
                <a:latin typeface="+mj-lt"/>
              </a:rPr>
              <a:t>доли автомобильных дорог федерального и регионального значения, работающих в режиме перегрузки, в их общей протяжённости на </a:t>
            </a:r>
            <a:r>
              <a:rPr lang="ru-RU" sz="1200" u="sng" dirty="0">
                <a:latin typeface="+mj-lt"/>
              </a:rPr>
              <a:t>10 процентов по сравнению с 2017 годом</a:t>
            </a:r>
            <a:r>
              <a:rPr lang="ru-RU" sz="1200" dirty="0" smtClean="0">
                <a:latin typeface="+mj-lt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</a:rPr>
              <a:t>применение </a:t>
            </a:r>
            <a:r>
              <a:rPr lang="ru-RU" sz="1200" u="sng" dirty="0">
                <a:latin typeface="+mj-lt"/>
              </a:rPr>
              <a:t>новых механизмов развития </a:t>
            </a:r>
            <a:r>
              <a:rPr lang="ru-RU" sz="1200" dirty="0">
                <a:latin typeface="+mj-lt"/>
              </a:rPr>
              <a:t>и эксплуатации дорожной сети, включая использование инфраструктурной ипотеки, контрактов жизненного цикла, наилучших технологий и материалов</a:t>
            </a:r>
            <a:r>
              <a:rPr lang="ru-RU" sz="1200" dirty="0" smtClean="0">
                <a:latin typeface="+mj-lt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внедрение новых технических требований и стандартов обустройства автомобильных дорог, в том числе </a:t>
            </a:r>
            <a:r>
              <a:rPr lang="ru-RU" sz="1200" u="sng" dirty="0"/>
              <a:t>на основе цифровых технологий</a:t>
            </a:r>
            <a:r>
              <a:rPr lang="ru-RU" sz="1200" dirty="0"/>
              <a:t>, направленных на устранение мест концентрации дорожно-транспортных происшествий</a:t>
            </a:r>
            <a:r>
              <a:rPr lang="ru-RU" sz="1200" dirty="0" smtClean="0"/>
              <a:t>;</a:t>
            </a:r>
          </a:p>
          <a:p>
            <a:endParaRPr lang="ru-RU" altLang="ru-RU" sz="12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r>
              <a:rPr lang="ru-RU" sz="1200" dirty="0"/>
              <a:t>15. Правительству Российской Федерации </a:t>
            </a:r>
            <a:r>
              <a:rPr lang="ru-RU" sz="1200" dirty="0" smtClean="0"/>
              <a:t>разработать комплексный </a:t>
            </a:r>
            <a:r>
              <a:rPr lang="ru-RU" sz="1200" dirty="0"/>
              <a:t>план модернизации и расширения магистральной инфраструктуры, предусматривающий </a:t>
            </a:r>
            <a:r>
              <a:rPr lang="ru-RU" sz="1200" dirty="0" smtClean="0"/>
              <a:t>к</a:t>
            </a:r>
            <a:r>
              <a:rPr lang="ru-RU" sz="1200" dirty="0"/>
              <a:t> 2024 </a:t>
            </a:r>
            <a:r>
              <a:rPr lang="ru-RU" sz="1200" dirty="0" smtClean="0"/>
              <a:t>году развитие </a:t>
            </a:r>
            <a:r>
              <a:rPr lang="ru-RU" sz="1200" u="sng" dirty="0"/>
              <a:t>транспортных коридоров «Запад – Восток» и «Север – Юг»</a:t>
            </a:r>
            <a:r>
              <a:rPr lang="ru-RU" sz="1200" dirty="0"/>
              <a:t> для перевозки </a:t>
            </a:r>
            <a:r>
              <a:rPr lang="ru-RU" sz="1200" dirty="0" smtClean="0"/>
              <a:t>грузов, включая:</a:t>
            </a:r>
          </a:p>
          <a:p>
            <a:endParaRPr lang="ru-RU" sz="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строительство </a:t>
            </a:r>
            <a:r>
              <a:rPr lang="ru-RU" sz="1200" dirty="0"/>
              <a:t>и </a:t>
            </a:r>
            <a:r>
              <a:rPr lang="ru-RU" sz="1200" dirty="0" smtClean="0"/>
              <a:t>модернизацию участков автодорог по</a:t>
            </a:r>
            <a:r>
              <a:rPr lang="ru-RU" sz="1200" dirty="0"/>
              <a:t> </a:t>
            </a:r>
            <a:r>
              <a:rPr lang="ru-RU" sz="1200" u="sng" dirty="0" smtClean="0"/>
              <a:t>МТМ </a:t>
            </a:r>
            <a:r>
              <a:rPr lang="ru-RU" sz="1200" u="sng" dirty="0"/>
              <a:t>«Европа – Западный Китай</a:t>
            </a:r>
            <a:r>
              <a:rPr lang="ru-RU" sz="1200" u="sng" dirty="0" smtClean="0"/>
              <a:t>»</a:t>
            </a:r>
            <a:r>
              <a:rPr lang="ru-RU" sz="1200" dirty="0" smtClean="0"/>
              <a:t>;</a:t>
            </a:r>
          </a:p>
          <a:p>
            <a:endParaRPr lang="ru-RU" sz="1200" dirty="0" smtClean="0"/>
          </a:p>
          <a:p>
            <a:r>
              <a:rPr lang="ru-RU" sz="1200" dirty="0" smtClean="0"/>
              <a:t>… б</a:t>
            </a:r>
            <a:r>
              <a:rPr lang="ru-RU" sz="1200" dirty="0"/>
              <a:t>) </a:t>
            </a:r>
            <a:r>
              <a:rPr lang="ru-RU" sz="1200" dirty="0" smtClean="0"/>
              <a:t>обеспечить повышение экономической </a:t>
            </a:r>
            <a:r>
              <a:rPr lang="ru-RU" sz="1200" u="sng" dirty="0"/>
              <a:t>связанности территории </a:t>
            </a:r>
            <a:r>
              <a:rPr lang="ru-RU" sz="1200" u="sng" dirty="0" smtClean="0"/>
              <a:t>РФ</a:t>
            </a:r>
            <a:r>
              <a:rPr lang="ru-RU" sz="1200" dirty="0" smtClean="0"/>
              <a:t>, </a:t>
            </a:r>
            <a:r>
              <a:rPr lang="ru-RU" sz="1200" dirty="0"/>
              <a:t>в том числе за счёт</a:t>
            </a:r>
            <a:r>
              <a:rPr lang="ru-RU" sz="1200" dirty="0" smtClean="0"/>
              <a:t>:</a:t>
            </a:r>
          </a:p>
          <a:p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u="sng" dirty="0" smtClean="0"/>
              <a:t>поэтапного </a:t>
            </a:r>
            <a:r>
              <a:rPr lang="ru-RU" sz="1200" u="sng" dirty="0"/>
              <a:t>развития </a:t>
            </a:r>
            <a:r>
              <a:rPr lang="ru-RU" sz="1200" dirty="0"/>
              <a:t>транспортных коммуникаций </a:t>
            </a:r>
            <a:r>
              <a:rPr lang="ru-RU" sz="1200" u="sng" dirty="0"/>
              <a:t>между административными центрами </a:t>
            </a:r>
            <a:r>
              <a:rPr lang="ru-RU" sz="1200" dirty="0"/>
              <a:t>субъектов Российской Федерации и другими городами – центрами экономического роста, включая ликвидацию инфраструктурных ограничений на имеющих перспективы развития территориях, прилегающих к таким транспортным </a:t>
            </a:r>
            <a:r>
              <a:rPr lang="ru-RU" sz="1200" dirty="0" smtClean="0"/>
              <a:t>коммуникациям.»</a:t>
            </a:r>
            <a:endParaRPr lang="ru-RU" altLang="ru-RU" sz="12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6048672" cy="543595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ЦЕЛИ И ЗАДАЧИ ДОРОЖНОЙ ОТРАСЛИ</a:t>
            </a:r>
            <a:endParaRPr lang="ru-RU" sz="1600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545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603"/>
          <a:stretch>
            <a:fillRect/>
          </a:stretch>
        </p:blipFill>
        <p:spPr bwMode="auto">
          <a:xfrm>
            <a:off x="0" y="2348880"/>
            <a:ext cx="9136062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867731" y="1628800"/>
            <a:ext cx="5400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пасибо за внимание!</a:t>
            </a:r>
            <a:endParaRPr lang="ru-RU" sz="3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348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683568" y="1052736"/>
            <a:ext cx="5688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1200" b="1" dirty="0" smtClean="0">
                <a:latin typeface="+mn-lt"/>
              </a:rPr>
              <a:t>ГОСУДАРСТВЕННАЯ ПРОГРАММА «РАЗВИТИЕ ТРАНСПОРТНОЙ СИСТЕМЫ» (2018-2021 гг.)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1200" dirty="0" smtClean="0">
                <a:latin typeface="+mn-lt"/>
              </a:rPr>
              <a:t>(утверждена Постановлением Правительства РФ от 20.12.2017 № 1596)</a:t>
            </a:r>
            <a:endParaRPr lang="ru-RU" altLang="ru-RU" sz="1200" dirty="0">
              <a:latin typeface="+mn-lt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054118"/>
              </p:ext>
            </p:extLst>
          </p:nvPr>
        </p:nvGraphicFramePr>
        <p:xfrm>
          <a:off x="395536" y="1844824"/>
          <a:ext cx="5976664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8392"/>
                <a:gridCol w="244827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ект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«Развитие сети федеральных автодорог общего пользования»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75000"/>
                          </a:scheme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3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тыс. км автодорог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75000"/>
                          </a:schemeClr>
                        </a:buClr>
                        <a:defRPr/>
                      </a:pP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ект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«Развитие сети федеральных автодорог ГК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Автодор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»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75000"/>
                          </a:scheme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2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тыс. км (платных)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75000"/>
                          </a:schemeClr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втодорог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75000"/>
                          </a:schemeClr>
                        </a:buClr>
                        <a:defRPr/>
                      </a:pP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40276"/>
              </p:ext>
            </p:extLst>
          </p:nvPr>
        </p:nvGraphicFramePr>
        <p:xfrm>
          <a:off x="570580" y="3429000"/>
          <a:ext cx="7935554" cy="19460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97293"/>
                <a:gridCol w="422987"/>
                <a:gridCol w="1008112"/>
                <a:gridCol w="864096"/>
                <a:gridCol w="864096"/>
                <a:gridCol w="864096"/>
                <a:gridCol w="893702"/>
                <a:gridCol w="921172"/>
              </a:tblGrid>
              <a:tr h="3600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именование показателя (индикатора)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д. изм.</a:t>
                      </a:r>
                      <a:endParaRPr lang="ru-RU" sz="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  <a:endParaRPr lang="ru-RU" sz="1000" b="1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его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-21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860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оительство и реконструкция автодорог ГК Автодор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6,4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0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9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6,7 – факт</a:t>
                      </a:r>
                      <a:r>
                        <a:rPr lang="ru-RU" sz="10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00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578,6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222,1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197,1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168,2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 166 км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</a:tr>
              <a:tr h="4860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протяженности автодорог ГК Автодор, соответствующих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бованиям к ТЭП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72,8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(75 – факт)</a:t>
                      </a:r>
                    </a:p>
                  </a:txBody>
                  <a:tcPr marL="39370" marR="39370" marT="64770" marB="64770">
                    <a:solidFill>
                      <a:schemeClr val="bg1">
                        <a:lumMod val="5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79,4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81,9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85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Calibri"/>
                          <a:ea typeface="Calibri"/>
                          <a:cs typeface="Calibri"/>
                        </a:rPr>
                        <a:t>87,7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</a:tr>
              <a:tr h="4860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щая протяженность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латных участков ГК Автодор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dirty="0" smtClean="0">
                          <a:effectLst/>
                          <a:latin typeface="Calibri"/>
                          <a:ea typeface="Calibri"/>
                          <a:cs typeface="Calibri"/>
                        </a:rPr>
                        <a:t>794,1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(815,7 – факт)</a:t>
                      </a:r>
                      <a:endParaRPr lang="ru-RU" sz="1100" i="1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39370" marR="39370" marT="64770" marB="64770">
                    <a:solidFill>
                      <a:schemeClr val="bg1">
                        <a:lumMod val="5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Calibri"/>
                          <a:ea typeface="Calibri"/>
                          <a:cs typeface="Calibri"/>
                        </a:rPr>
                        <a:t>1 459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Calibri"/>
                          <a:ea typeface="Calibri"/>
                          <a:cs typeface="Calibri"/>
                        </a:rPr>
                        <a:t>1 508,4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Calibri"/>
                          <a:ea typeface="Calibri"/>
                          <a:cs typeface="Calibri"/>
                        </a:rPr>
                        <a:t>1 741,4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Calibri"/>
                          <a:ea typeface="Calibri"/>
                          <a:cs typeface="Calibri"/>
                        </a:rPr>
                        <a:t>2 031,2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572,2 км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559675" y="1556791"/>
            <a:ext cx="1993687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u="sng" dirty="0" smtClean="0"/>
              <a:t>За период 2010-2017:</a:t>
            </a:r>
          </a:p>
          <a:p>
            <a:endParaRPr lang="ru-RU" sz="500" dirty="0"/>
          </a:p>
          <a:p>
            <a:r>
              <a:rPr lang="ru-RU" sz="1400" dirty="0" smtClean="0"/>
              <a:t>более 2,6 тыс.км.</a:t>
            </a:r>
          </a:p>
          <a:p>
            <a:endParaRPr lang="ru-RU" sz="1400" dirty="0" smtClean="0"/>
          </a:p>
          <a:p>
            <a:endParaRPr lang="ru-RU" sz="1400" dirty="0"/>
          </a:p>
          <a:p>
            <a:r>
              <a:rPr lang="ru-RU" sz="1400" dirty="0" smtClean="0"/>
              <a:t>0,8 тыс. км.</a:t>
            </a:r>
            <a:endParaRPr lang="ru-RU" sz="1400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755576" y="2420888"/>
            <a:ext cx="763284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527884" y="5661248"/>
            <a:ext cx="1890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2021 – 2024 …?</a:t>
            </a:r>
            <a:endParaRPr lang="ru-RU" dirty="0"/>
          </a:p>
        </p:txBody>
      </p:sp>
      <p:sp>
        <p:nvSpPr>
          <p:cNvPr id="9" name="Название 1"/>
          <p:cNvSpPr txBox="1">
            <a:spLocks/>
          </p:cNvSpPr>
          <p:nvPr/>
        </p:nvSpPr>
        <p:spPr bwMode="auto">
          <a:xfrm>
            <a:off x="611560" y="260648"/>
            <a:ext cx="6048672" cy="543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E46C0A"/>
                </a:solidFill>
                <a:latin typeface="Arial" charset="0"/>
              </a:defRPr>
            </a:lvl9pPr>
          </a:lstStyle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ЦЕЛИ И ЗАДАЧИ ДОРОЖНОЙ ОТРАСЛИ</a:t>
            </a:r>
            <a:endParaRPr lang="ru-RU" sz="1600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961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C:\Users\biktimirov_rs\Desktop\СТП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87274"/>
            <a:ext cx="9144000" cy="5817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39552" y="908720"/>
            <a:ext cx="604867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азвание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6048672" cy="543595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Схема территориального планирования</a:t>
            </a:r>
            <a:b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</a:br>
            <a:r>
              <a:rPr lang="ru-RU" sz="12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(утв. распоряжением Правительства РФ от 19.03.2013 №384-р)</a:t>
            </a:r>
            <a:endParaRPr lang="ru-RU" sz="1600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9512" y="961813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1-й этап – до 2020 года:</a:t>
            </a:r>
          </a:p>
          <a:p>
            <a:r>
              <a:rPr lang="ru-RU" sz="1400" dirty="0" smtClean="0"/>
              <a:t>М-11 и ЦКАД, М-1, М-3, М-4</a:t>
            </a:r>
            <a:endParaRPr lang="ru-RU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179512" y="1628800"/>
            <a:ext cx="374441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2-й этап – до 2030 года:</a:t>
            </a:r>
          </a:p>
          <a:p>
            <a:r>
              <a:rPr lang="ru-RU" sz="1400" dirty="0" smtClean="0"/>
              <a:t>Строительство автомобильных </a:t>
            </a:r>
            <a:r>
              <a:rPr lang="ru-RU" sz="1400" dirty="0"/>
              <a:t>дорог, формирующих </a:t>
            </a:r>
            <a:r>
              <a:rPr lang="ru-RU" sz="1400" u="sng" dirty="0"/>
              <a:t>систему</a:t>
            </a:r>
            <a:r>
              <a:rPr lang="ru-RU" sz="1400" dirty="0"/>
              <a:t> платных автомагистралей и </a:t>
            </a:r>
            <a:r>
              <a:rPr lang="ru-RU" sz="1400" u="sng" dirty="0"/>
              <a:t>скоростных </a:t>
            </a:r>
            <a:r>
              <a:rPr lang="ru-RU" sz="1400" u="sng" dirty="0" smtClean="0"/>
              <a:t>дорог</a:t>
            </a:r>
          </a:p>
          <a:p>
            <a:r>
              <a:rPr lang="ru-RU" sz="1400" dirty="0" smtClean="0"/>
              <a:t>- «Москва – Н.Новгород – Казань»</a:t>
            </a:r>
          </a:p>
          <a:p>
            <a:r>
              <a:rPr lang="ru-RU" sz="1400" dirty="0" smtClean="0"/>
              <a:t>- «</a:t>
            </a:r>
            <a:r>
              <a:rPr lang="ru-RU" sz="1400" dirty="0"/>
              <a:t>Краснодар - Абинск </a:t>
            </a:r>
            <a:r>
              <a:rPr lang="ru-RU" sz="1400" dirty="0" smtClean="0"/>
              <a:t>– </a:t>
            </a:r>
          </a:p>
          <a:p>
            <a:r>
              <a:rPr lang="ru-RU" sz="1400" dirty="0" smtClean="0"/>
              <a:t>Кабардинка»</a:t>
            </a:r>
          </a:p>
          <a:p>
            <a:endParaRPr lang="ru-RU" sz="1400" dirty="0"/>
          </a:p>
          <a:p>
            <a:endParaRPr lang="ru-RU" sz="1400" dirty="0"/>
          </a:p>
          <a:p>
            <a:endParaRPr lang="ru-RU" sz="1400" dirty="0"/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935535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95494" y="3007887"/>
            <a:ext cx="453388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 startAt="3"/>
            </a:pPr>
            <a:r>
              <a:rPr lang="ru-RU" sz="1200" dirty="0" smtClean="0"/>
              <a:t>Прохождение </a:t>
            </a:r>
            <a:r>
              <a:rPr lang="ru-RU" sz="1200" dirty="0"/>
              <a:t>дорог, входящих в сеть, вне </a:t>
            </a:r>
            <a:r>
              <a:rPr lang="ru-RU" sz="1200" dirty="0" smtClean="0"/>
              <a:t>населен-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 ных пунктов</a:t>
            </a:r>
            <a:endParaRPr lang="ru-RU" sz="1200" dirty="0"/>
          </a:p>
          <a:p>
            <a:r>
              <a:rPr lang="ru-RU" sz="1200" dirty="0"/>
              <a:t> </a:t>
            </a:r>
          </a:p>
          <a:p>
            <a:r>
              <a:rPr lang="ru-RU" sz="1200" dirty="0" smtClean="0"/>
              <a:t>4. Обеспечение </a:t>
            </a:r>
            <a:r>
              <a:rPr lang="ru-RU" sz="1200" dirty="0"/>
              <a:t>скоростного </a:t>
            </a:r>
            <a:r>
              <a:rPr lang="ru-RU" sz="1200" dirty="0" smtClean="0"/>
              <a:t>движения для между-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народных перевозок (международные транспортные 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коридоры </a:t>
            </a:r>
            <a:r>
              <a:rPr lang="ru-RU" sz="1200" dirty="0"/>
              <a:t>и </a:t>
            </a:r>
            <a:r>
              <a:rPr lang="ru-RU" sz="1200" dirty="0" smtClean="0"/>
              <a:t>маршруты) </a:t>
            </a:r>
          </a:p>
          <a:p>
            <a:endParaRPr lang="ru-RU" sz="1200" dirty="0"/>
          </a:p>
          <a:p>
            <a:r>
              <a:rPr lang="ru-RU" sz="1200" dirty="0" smtClean="0"/>
              <a:t>5. Синхронизация </a:t>
            </a:r>
            <a:r>
              <a:rPr lang="ru-RU" sz="1200" dirty="0"/>
              <a:t>с планами по </a:t>
            </a:r>
            <a:endParaRPr lang="ru-RU" sz="1200" dirty="0" smtClean="0"/>
          </a:p>
          <a:p>
            <a:r>
              <a:rPr lang="ru-RU" sz="1200" dirty="0"/>
              <a:t> </a:t>
            </a:r>
            <a:r>
              <a:rPr lang="ru-RU" sz="1200" dirty="0" smtClean="0"/>
              <a:t>   развитию </a:t>
            </a:r>
            <a:r>
              <a:rPr lang="ru-RU" sz="1200" dirty="0"/>
              <a:t>других видов транспорта </a:t>
            </a:r>
            <a:endParaRPr lang="ru-RU" sz="1200" dirty="0" smtClean="0"/>
          </a:p>
          <a:p>
            <a:r>
              <a:rPr lang="ru-RU" sz="1200" dirty="0"/>
              <a:t> </a:t>
            </a:r>
            <a:r>
              <a:rPr lang="ru-RU" sz="1200" dirty="0" smtClean="0"/>
              <a:t>   и </a:t>
            </a:r>
            <a:r>
              <a:rPr lang="ru-RU" sz="1200" dirty="0"/>
              <a:t>нетранспортной </a:t>
            </a:r>
            <a:r>
              <a:rPr lang="ru-RU" sz="1200" dirty="0" smtClean="0"/>
              <a:t>инфраструктуры, 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а также планами по развитию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прилегающей сети и территорий</a:t>
            </a:r>
            <a:endParaRPr lang="ru-RU" sz="1200" dirty="0"/>
          </a:p>
        </p:txBody>
      </p:sp>
      <p:sp>
        <p:nvSpPr>
          <p:cNvPr id="31745" name="Rectangle 2"/>
          <p:cNvSpPr>
            <a:spLocks noGrp="1" noChangeArrowheads="1"/>
          </p:cNvSpPr>
          <p:nvPr>
            <p:ph type="title"/>
          </p:nvPr>
        </p:nvSpPr>
        <p:spPr>
          <a:xfrm>
            <a:off x="537117" y="188640"/>
            <a:ext cx="5904656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 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СЕТЬ СКОРОСТНЫХ ДОРОГ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Freeform 5"/>
          <p:cNvSpPr>
            <a:spLocks/>
          </p:cNvSpPr>
          <p:nvPr/>
        </p:nvSpPr>
        <p:spPr bwMode="auto">
          <a:xfrm>
            <a:off x="6168464" y="2772572"/>
            <a:ext cx="960220" cy="540299"/>
          </a:xfrm>
          <a:custGeom>
            <a:avLst/>
            <a:gdLst>
              <a:gd name="T0" fmla="*/ 210 w 212"/>
              <a:gd name="T1" fmla="*/ 45 h 119"/>
              <a:gd name="T2" fmla="*/ 182 w 212"/>
              <a:gd name="T3" fmla="*/ 66 h 119"/>
              <a:gd name="T4" fmla="*/ 143 w 212"/>
              <a:gd name="T5" fmla="*/ 48 h 119"/>
              <a:gd name="T6" fmla="*/ 103 w 212"/>
              <a:gd name="T7" fmla="*/ 14 h 119"/>
              <a:gd name="T8" fmla="*/ 97 w 212"/>
              <a:gd name="T9" fmla="*/ 0 h 119"/>
              <a:gd name="T10" fmla="*/ 89 w 212"/>
              <a:gd name="T11" fmla="*/ 9 h 119"/>
              <a:gd name="T12" fmla="*/ 71 w 212"/>
              <a:gd name="T13" fmla="*/ 3 h 119"/>
              <a:gd name="T14" fmla="*/ 52 w 212"/>
              <a:gd name="T15" fmla="*/ 11 h 119"/>
              <a:gd name="T16" fmla="*/ 21 w 212"/>
              <a:gd name="T17" fmla="*/ 30 h 119"/>
              <a:gd name="T18" fmla="*/ 0 w 212"/>
              <a:gd name="T19" fmla="*/ 51 h 119"/>
              <a:gd name="T20" fmla="*/ 23 w 212"/>
              <a:gd name="T21" fmla="*/ 64 h 119"/>
              <a:gd name="T22" fmla="*/ 37 w 212"/>
              <a:gd name="T23" fmla="*/ 54 h 119"/>
              <a:gd name="T24" fmla="*/ 42 w 212"/>
              <a:gd name="T25" fmla="*/ 70 h 119"/>
              <a:gd name="T26" fmla="*/ 60 w 212"/>
              <a:gd name="T27" fmla="*/ 83 h 119"/>
              <a:gd name="T28" fmla="*/ 54 w 212"/>
              <a:gd name="T29" fmla="*/ 83 h 119"/>
              <a:gd name="T30" fmla="*/ 54 w 212"/>
              <a:gd name="T31" fmla="*/ 83 h 119"/>
              <a:gd name="T32" fmla="*/ 54 w 212"/>
              <a:gd name="T33" fmla="*/ 91 h 119"/>
              <a:gd name="T34" fmla="*/ 54 w 212"/>
              <a:gd name="T35" fmla="*/ 91 h 119"/>
              <a:gd name="T36" fmla="*/ 79 w 212"/>
              <a:gd name="T37" fmla="*/ 108 h 119"/>
              <a:gd name="T38" fmla="*/ 95 w 212"/>
              <a:gd name="T39" fmla="*/ 110 h 119"/>
              <a:gd name="T40" fmla="*/ 117 w 212"/>
              <a:gd name="T41" fmla="*/ 98 h 119"/>
              <a:gd name="T42" fmla="*/ 128 w 212"/>
              <a:gd name="T43" fmla="*/ 114 h 119"/>
              <a:gd name="T44" fmla="*/ 148 w 212"/>
              <a:gd name="T45" fmla="*/ 119 h 119"/>
              <a:gd name="T46" fmla="*/ 154 w 212"/>
              <a:gd name="T47" fmla="*/ 114 h 119"/>
              <a:gd name="T48" fmla="*/ 163 w 212"/>
              <a:gd name="T49" fmla="*/ 104 h 119"/>
              <a:gd name="T50" fmla="*/ 201 w 212"/>
              <a:gd name="T51" fmla="*/ 97 h 119"/>
              <a:gd name="T52" fmla="*/ 212 w 212"/>
              <a:gd name="T53" fmla="*/ 43 h 119"/>
              <a:gd name="T54" fmla="*/ 212 w 212"/>
              <a:gd name="T55" fmla="*/ 43 h 119"/>
              <a:gd name="T56" fmla="*/ 210 w 212"/>
              <a:gd name="T57" fmla="*/ 45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12" h="119">
                <a:moveTo>
                  <a:pt x="210" y="45"/>
                </a:moveTo>
                <a:cubicBezTo>
                  <a:pt x="202" y="55"/>
                  <a:pt x="193" y="64"/>
                  <a:pt x="182" y="66"/>
                </a:cubicBezTo>
                <a:cubicBezTo>
                  <a:pt x="167" y="70"/>
                  <a:pt x="148" y="59"/>
                  <a:pt x="143" y="48"/>
                </a:cubicBezTo>
                <a:cubicBezTo>
                  <a:pt x="129" y="34"/>
                  <a:pt x="116" y="30"/>
                  <a:pt x="103" y="14"/>
                </a:cubicBezTo>
                <a:cubicBezTo>
                  <a:pt x="100" y="9"/>
                  <a:pt x="102" y="5"/>
                  <a:pt x="97" y="0"/>
                </a:cubicBezTo>
                <a:cubicBezTo>
                  <a:pt x="94" y="2"/>
                  <a:pt x="94" y="9"/>
                  <a:pt x="89" y="9"/>
                </a:cubicBezTo>
                <a:cubicBezTo>
                  <a:pt x="83" y="9"/>
                  <a:pt x="78" y="3"/>
                  <a:pt x="71" y="3"/>
                </a:cubicBezTo>
                <a:cubicBezTo>
                  <a:pt x="63" y="3"/>
                  <a:pt x="62" y="11"/>
                  <a:pt x="52" y="11"/>
                </a:cubicBezTo>
                <a:cubicBezTo>
                  <a:pt x="48" y="23"/>
                  <a:pt x="36" y="30"/>
                  <a:pt x="21" y="30"/>
                </a:cubicBezTo>
                <a:cubicBezTo>
                  <a:pt x="20" y="48"/>
                  <a:pt x="0" y="39"/>
                  <a:pt x="0" y="51"/>
                </a:cubicBezTo>
                <a:cubicBezTo>
                  <a:pt x="0" y="56"/>
                  <a:pt x="17" y="64"/>
                  <a:pt x="23" y="64"/>
                </a:cubicBezTo>
                <a:cubicBezTo>
                  <a:pt x="32" y="64"/>
                  <a:pt x="33" y="57"/>
                  <a:pt x="37" y="54"/>
                </a:cubicBezTo>
                <a:cubicBezTo>
                  <a:pt x="39" y="59"/>
                  <a:pt x="39" y="66"/>
                  <a:pt x="42" y="70"/>
                </a:cubicBezTo>
                <a:cubicBezTo>
                  <a:pt x="47" y="76"/>
                  <a:pt x="57" y="76"/>
                  <a:pt x="60" y="83"/>
                </a:cubicBezTo>
                <a:cubicBezTo>
                  <a:pt x="58" y="84"/>
                  <a:pt x="57" y="86"/>
                  <a:pt x="54" y="83"/>
                </a:cubicBezTo>
                <a:cubicBezTo>
                  <a:pt x="54" y="83"/>
                  <a:pt x="54" y="83"/>
                  <a:pt x="54" y="83"/>
                </a:cubicBezTo>
                <a:cubicBezTo>
                  <a:pt x="54" y="91"/>
                  <a:pt x="54" y="91"/>
                  <a:pt x="54" y="91"/>
                </a:cubicBezTo>
                <a:cubicBezTo>
                  <a:pt x="54" y="91"/>
                  <a:pt x="54" y="91"/>
                  <a:pt x="54" y="91"/>
                </a:cubicBezTo>
                <a:cubicBezTo>
                  <a:pt x="63" y="100"/>
                  <a:pt x="76" y="92"/>
                  <a:pt x="79" y="108"/>
                </a:cubicBezTo>
                <a:cubicBezTo>
                  <a:pt x="84" y="109"/>
                  <a:pt x="90" y="110"/>
                  <a:pt x="95" y="110"/>
                </a:cubicBezTo>
                <a:cubicBezTo>
                  <a:pt x="106" y="110"/>
                  <a:pt x="110" y="98"/>
                  <a:pt x="117" y="98"/>
                </a:cubicBezTo>
                <a:cubicBezTo>
                  <a:pt x="127" y="98"/>
                  <a:pt x="123" y="112"/>
                  <a:pt x="128" y="114"/>
                </a:cubicBezTo>
                <a:cubicBezTo>
                  <a:pt x="132" y="116"/>
                  <a:pt x="143" y="119"/>
                  <a:pt x="148" y="119"/>
                </a:cubicBezTo>
                <a:cubicBezTo>
                  <a:pt x="148" y="118"/>
                  <a:pt x="151" y="115"/>
                  <a:pt x="154" y="114"/>
                </a:cubicBezTo>
                <a:cubicBezTo>
                  <a:pt x="158" y="112"/>
                  <a:pt x="158" y="105"/>
                  <a:pt x="163" y="104"/>
                </a:cubicBezTo>
                <a:cubicBezTo>
                  <a:pt x="170" y="103"/>
                  <a:pt x="201" y="112"/>
                  <a:pt x="201" y="97"/>
                </a:cubicBezTo>
                <a:cubicBezTo>
                  <a:pt x="201" y="75"/>
                  <a:pt x="209" y="65"/>
                  <a:pt x="212" y="43"/>
                </a:cubicBezTo>
                <a:cubicBezTo>
                  <a:pt x="212" y="43"/>
                  <a:pt x="212" y="43"/>
                  <a:pt x="212" y="43"/>
                </a:cubicBezTo>
                <a:cubicBezTo>
                  <a:pt x="210" y="45"/>
                  <a:pt x="210" y="45"/>
                  <a:pt x="210" y="45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2" name="Freeform 6"/>
          <p:cNvSpPr>
            <a:spLocks/>
          </p:cNvSpPr>
          <p:nvPr/>
        </p:nvSpPr>
        <p:spPr bwMode="auto">
          <a:xfrm>
            <a:off x="5362216" y="2741780"/>
            <a:ext cx="534701" cy="643879"/>
          </a:xfrm>
          <a:custGeom>
            <a:avLst/>
            <a:gdLst>
              <a:gd name="T0" fmla="*/ 117 w 118"/>
              <a:gd name="T1" fmla="*/ 39 h 142"/>
              <a:gd name="T2" fmla="*/ 97 w 118"/>
              <a:gd name="T3" fmla="*/ 21 h 142"/>
              <a:gd name="T4" fmla="*/ 85 w 118"/>
              <a:gd name="T5" fmla="*/ 26 h 142"/>
              <a:gd name="T6" fmla="*/ 76 w 118"/>
              <a:gd name="T7" fmla="*/ 19 h 142"/>
              <a:gd name="T8" fmla="*/ 53 w 118"/>
              <a:gd name="T9" fmla="*/ 0 h 142"/>
              <a:gd name="T10" fmla="*/ 43 w 118"/>
              <a:gd name="T11" fmla="*/ 8 h 142"/>
              <a:gd name="T12" fmla="*/ 32 w 118"/>
              <a:gd name="T13" fmla="*/ 8 h 142"/>
              <a:gd name="T14" fmla="*/ 26 w 118"/>
              <a:gd name="T15" fmla="*/ 5 h 142"/>
              <a:gd name="T16" fmla="*/ 0 w 118"/>
              <a:gd name="T17" fmla="*/ 39 h 142"/>
              <a:gd name="T18" fmla="*/ 19 w 118"/>
              <a:gd name="T19" fmla="*/ 55 h 142"/>
              <a:gd name="T20" fmla="*/ 38 w 118"/>
              <a:gd name="T21" fmla="*/ 78 h 142"/>
              <a:gd name="T22" fmla="*/ 33 w 118"/>
              <a:gd name="T23" fmla="*/ 93 h 142"/>
              <a:gd name="T24" fmla="*/ 49 w 118"/>
              <a:gd name="T25" fmla="*/ 125 h 142"/>
              <a:gd name="T26" fmla="*/ 42 w 118"/>
              <a:gd name="T27" fmla="*/ 137 h 142"/>
              <a:gd name="T28" fmla="*/ 47 w 118"/>
              <a:gd name="T29" fmla="*/ 142 h 142"/>
              <a:gd name="T30" fmla="*/ 55 w 118"/>
              <a:gd name="T31" fmla="*/ 136 h 142"/>
              <a:gd name="T32" fmla="*/ 66 w 118"/>
              <a:gd name="T33" fmla="*/ 136 h 142"/>
              <a:gd name="T34" fmla="*/ 83 w 118"/>
              <a:gd name="T35" fmla="*/ 132 h 142"/>
              <a:gd name="T36" fmla="*/ 99 w 118"/>
              <a:gd name="T37" fmla="*/ 136 h 142"/>
              <a:gd name="T38" fmla="*/ 118 w 118"/>
              <a:gd name="T39" fmla="*/ 115 h 142"/>
              <a:gd name="T40" fmla="*/ 98 w 118"/>
              <a:gd name="T41" fmla="*/ 72 h 142"/>
              <a:gd name="T42" fmla="*/ 115 w 118"/>
              <a:gd name="T43" fmla="*/ 42 h 142"/>
              <a:gd name="T44" fmla="*/ 115 w 118"/>
              <a:gd name="T45" fmla="*/ 42 h 142"/>
              <a:gd name="T46" fmla="*/ 117 w 118"/>
              <a:gd name="T47" fmla="*/ 39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8" h="142">
                <a:moveTo>
                  <a:pt x="117" y="39"/>
                </a:moveTo>
                <a:cubicBezTo>
                  <a:pt x="113" y="30"/>
                  <a:pt x="110" y="21"/>
                  <a:pt x="97" y="21"/>
                </a:cubicBezTo>
                <a:cubicBezTo>
                  <a:pt x="92" y="21"/>
                  <a:pt x="88" y="26"/>
                  <a:pt x="85" y="26"/>
                </a:cubicBezTo>
                <a:cubicBezTo>
                  <a:pt x="80" y="26"/>
                  <a:pt x="80" y="21"/>
                  <a:pt x="76" y="19"/>
                </a:cubicBezTo>
                <a:cubicBezTo>
                  <a:pt x="62" y="12"/>
                  <a:pt x="58" y="21"/>
                  <a:pt x="53" y="0"/>
                </a:cubicBezTo>
                <a:cubicBezTo>
                  <a:pt x="48" y="2"/>
                  <a:pt x="47" y="8"/>
                  <a:pt x="43" y="8"/>
                </a:cubicBezTo>
                <a:cubicBezTo>
                  <a:pt x="39" y="8"/>
                  <a:pt x="35" y="8"/>
                  <a:pt x="32" y="8"/>
                </a:cubicBezTo>
                <a:cubicBezTo>
                  <a:pt x="29" y="8"/>
                  <a:pt x="27" y="7"/>
                  <a:pt x="26" y="5"/>
                </a:cubicBezTo>
                <a:cubicBezTo>
                  <a:pt x="13" y="19"/>
                  <a:pt x="12" y="31"/>
                  <a:pt x="0" y="39"/>
                </a:cubicBezTo>
                <a:cubicBezTo>
                  <a:pt x="13" y="41"/>
                  <a:pt x="15" y="46"/>
                  <a:pt x="19" y="55"/>
                </a:cubicBezTo>
                <a:cubicBezTo>
                  <a:pt x="23" y="62"/>
                  <a:pt x="38" y="59"/>
                  <a:pt x="38" y="78"/>
                </a:cubicBezTo>
                <a:cubicBezTo>
                  <a:pt x="38" y="83"/>
                  <a:pt x="33" y="87"/>
                  <a:pt x="33" y="93"/>
                </a:cubicBezTo>
                <a:cubicBezTo>
                  <a:pt x="33" y="110"/>
                  <a:pt x="49" y="107"/>
                  <a:pt x="49" y="125"/>
                </a:cubicBezTo>
                <a:cubicBezTo>
                  <a:pt x="49" y="130"/>
                  <a:pt x="42" y="131"/>
                  <a:pt x="42" y="137"/>
                </a:cubicBezTo>
                <a:cubicBezTo>
                  <a:pt x="42" y="141"/>
                  <a:pt x="44" y="142"/>
                  <a:pt x="47" y="142"/>
                </a:cubicBezTo>
                <a:cubicBezTo>
                  <a:pt x="50" y="142"/>
                  <a:pt x="51" y="136"/>
                  <a:pt x="55" y="136"/>
                </a:cubicBezTo>
                <a:cubicBezTo>
                  <a:pt x="62" y="136"/>
                  <a:pt x="64" y="136"/>
                  <a:pt x="66" y="136"/>
                </a:cubicBezTo>
                <a:cubicBezTo>
                  <a:pt x="71" y="136"/>
                  <a:pt x="76" y="132"/>
                  <a:pt x="83" y="132"/>
                </a:cubicBezTo>
                <a:cubicBezTo>
                  <a:pt x="90" y="132"/>
                  <a:pt x="92" y="136"/>
                  <a:pt x="99" y="136"/>
                </a:cubicBezTo>
                <a:cubicBezTo>
                  <a:pt x="113" y="136"/>
                  <a:pt x="118" y="128"/>
                  <a:pt x="118" y="115"/>
                </a:cubicBezTo>
                <a:cubicBezTo>
                  <a:pt x="118" y="99"/>
                  <a:pt x="98" y="90"/>
                  <a:pt x="98" y="72"/>
                </a:cubicBezTo>
                <a:cubicBezTo>
                  <a:pt x="98" y="57"/>
                  <a:pt x="110" y="53"/>
                  <a:pt x="115" y="42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7" y="39"/>
                  <a:pt x="117" y="39"/>
                  <a:pt x="117" y="39"/>
                </a:cubicBezTo>
                <a:close/>
              </a:path>
            </a:pathLst>
          </a:custGeom>
          <a:solidFill>
            <a:srgbClr val="B4B4B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5407007" y="1389632"/>
            <a:ext cx="923827" cy="856640"/>
          </a:xfrm>
          <a:custGeom>
            <a:avLst/>
            <a:gdLst>
              <a:gd name="T0" fmla="*/ 107 w 204"/>
              <a:gd name="T1" fmla="*/ 4 h 189"/>
              <a:gd name="T2" fmla="*/ 68 w 204"/>
              <a:gd name="T3" fmla="*/ 0 h 189"/>
              <a:gd name="T4" fmla="*/ 60 w 204"/>
              <a:gd name="T5" fmla="*/ 32 h 189"/>
              <a:gd name="T6" fmla="*/ 70 w 204"/>
              <a:gd name="T7" fmla="*/ 71 h 189"/>
              <a:gd name="T8" fmla="*/ 56 w 204"/>
              <a:gd name="T9" fmla="*/ 47 h 189"/>
              <a:gd name="T10" fmla="*/ 35 w 204"/>
              <a:gd name="T11" fmla="*/ 40 h 189"/>
              <a:gd name="T12" fmla="*/ 16 w 204"/>
              <a:gd name="T13" fmla="*/ 40 h 189"/>
              <a:gd name="T14" fmla="*/ 16 w 204"/>
              <a:gd name="T15" fmla="*/ 40 h 189"/>
              <a:gd name="T16" fmla="*/ 16 w 204"/>
              <a:gd name="T17" fmla="*/ 51 h 189"/>
              <a:gd name="T18" fmla="*/ 16 w 204"/>
              <a:gd name="T19" fmla="*/ 51 h 189"/>
              <a:gd name="T20" fmla="*/ 0 w 204"/>
              <a:gd name="T21" fmla="*/ 62 h 189"/>
              <a:gd name="T22" fmla="*/ 8 w 204"/>
              <a:gd name="T23" fmla="*/ 87 h 189"/>
              <a:gd name="T24" fmla="*/ 5 w 204"/>
              <a:gd name="T25" fmla="*/ 105 h 189"/>
              <a:gd name="T26" fmla="*/ 9 w 204"/>
              <a:gd name="T27" fmla="*/ 119 h 189"/>
              <a:gd name="T28" fmla="*/ 21 w 204"/>
              <a:gd name="T29" fmla="*/ 111 h 189"/>
              <a:gd name="T30" fmla="*/ 28 w 204"/>
              <a:gd name="T31" fmla="*/ 118 h 189"/>
              <a:gd name="T32" fmla="*/ 50 w 204"/>
              <a:gd name="T33" fmla="*/ 119 h 189"/>
              <a:gd name="T34" fmla="*/ 62 w 204"/>
              <a:gd name="T35" fmla="*/ 125 h 189"/>
              <a:gd name="T36" fmla="*/ 71 w 204"/>
              <a:gd name="T37" fmla="*/ 121 h 189"/>
              <a:gd name="T38" fmla="*/ 91 w 204"/>
              <a:gd name="T39" fmla="*/ 145 h 189"/>
              <a:gd name="T40" fmla="*/ 97 w 204"/>
              <a:gd name="T41" fmla="*/ 145 h 189"/>
              <a:gd name="T42" fmla="*/ 107 w 204"/>
              <a:gd name="T43" fmla="*/ 168 h 189"/>
              <a:gd name="T44" fmla="*/ 137 w 204"/>
              <a:gd name="T45" fmla="*/ 189 h 189"/>
              <a:gd name="T46" fmla="*/ 157 w 204"/>
              <a:gd name="T47" fmla="*/ 178 h 189"/>
              <a:gd name="T48" fmla="*/ 158 w 204"/>
              <a:gd name="T49" fmla="*/ 158 h 189"/>
              <a:gd name="T50" fmla="*/ 193 w 204"/>
              <a:gd name="T51" fmla="*/ 135 h 189"/>
              <a:gd name="T52" fmla="*/ 204 w 204"/>
              <a:gd name="T53" fmla="*/ 123 h 189"/>
              <a:gd name="T54" fmla="*/ 173 w 204"/>
              <a:gd name="T55" fmla="*/ 89 h 189"/>
              <a:gd name="T56" fmla="*/ 169 w 204"/>
              <a:gd name="T57" fmla="*/ 103 h 189"/>
              <a:gd name="T58" fmla="*/ 139 w 204"/>
              <a:gd name="T59" fmla="*/ 94 h 189"/>
              <a:gd name="T60" fmla="*/ 136 w 204"/>
              <a:gd name="T61" fmla="*/ 97 h 189"/>
              <a:gd name="T62" fmla="*/ 121 w 204"/>
              <a:gd name="T63" fmla="*/ 105 h 189"/>
              <a:gd name="T64" fmla="*/ 121 w 204"/>
              <a:gd name="T65" fmla="*/ 105 h 189"/>
              <a:gd name="T66" fmla="*/ 114 w 204"/>
              <a:gd name="T67" fmla="*/ 105 h 189"/>
              <a:gd name="T68" fmla="*/ 114 w 204"/>
              <a:gd name="T69" fmla="*/ 105 h 189"/>
              <a:gd name="T70" fmla="*/ 86 w 204"/>
              <a:gd name="T71" fmla="*/ 89 h 189"/>
              <a:gd name="T72" fmla="*/ 108 w 204"/>
              <a:gd name="T73" fmla="*/ 44 h 189"/>
              <a:gd name="T74" fmla="*/ 110 w 204"/>
              <a:gd name="T75" fmla="*/ 22 h 189"/>
              <a:gd name="T76" fmla="*/ 108 w 204"/>
              <a:gd name="T77" fmla="*/ 4 h 189"/>
              <a:gd name="T78" fmla="*/ 108 w 204"/>
              <a:gd name="T79" fmla="*/ 4 h 189"/>
              <a:gd name="T80" fmla="*/ 107 w 204"/>
              <a:gd name="T81" fmla="*/ 4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4" h="189">
                <a:moveTo>
                  <a:pt x="107" y="4"/>
                </a:moveTo>
                <a:cubicBezTo>
                  <a:pt x="92" y="4"/>
                  <a:pt x="80" y="3"/>
                  <a:pt x="68" y="0"/>
                </a:cubicBezTo>
                <a:cubicBezTo>
                  <a:pt x="65" y="11"/>
                  <a:pt x="60" y="22"/>
                  <a:pt x="60" y="32"/>
                </a:cubicBezTo>
                <a:cubicBezTo>
                  <a:pt x="56" y="47"/>
                  <a:pt x="80" y="51"/>
                  <a:pt x="70" y="71"/>
                </a:cubicBezTo>
                <a:cubicBezTo>
                  <a:pt x="61" y="87"/>
                  <a:pt x="61" y="55"/>
                  <a:pt x="56" y="47"/>
                </a:cubicBezTo>
                <a:cubicBezTo>
                  <a:pt x="45" y="43"/>
                  <a:pt x="39" y="43"/>
                  <a:pt x="35" y="40"/>
                </a:cubicBezTo>
                <a:cubicBezTo>
                  <a:pt x="22" y="28"/>
                  <a:pt x="19" y="43"/>
                  <a:pt x="16" y="40"/>
                </a:cubicBezTo>
                <a:cubicBezTo>
                  <a:pt x="16" y="40"/>
                  <a:pt x="16" y="40"/>
                  <a:pt x="16" y="40"/>
                </a:cubicBezTo>
                <a:cubicBezTo>
                  <a:pt x="16" y="51"/>
                  <a:pt x="16" y="51"/>
                  <a:pt x="16" y="51"/>
                </a:cubicBezTo>
                <a:cubicBezTo>
                  <a:pt x="16" y="51"/>
                  <a:pt x="16" y="51"/>
                  <a:pt x="16" y="51"/>
                </a:cubicBezTo>
                <a:cubicBezTo>
                  <a:pt x="3" y="51"/>
                  <a:pt x="0" y="50"/>
                  <a:pt x="0" y="62"/>
                </a:cubicBezTo>
                <a:cubicBezTo>
                  <a:pt x="0" y="76"/>
                  <a:pt x="8" y="75"/>
                  <a:pt x="8" y="87"/>
                </a:cubicBezTo>
                <a:cubicBezTo>
                  <a:pt x="8" y="94"/>
                  <a:pt x="5" y="98"/>
                  <a:pt x="5" y="105"/>
                </a:cubicBezTo>
                <a:cubicBezTo>
                  <a:pt x="5" y="111"/>
                  <a:pt x="5" y="119"/>
                  <a:pt x="9" y="119"/>
                </a:cubicBezTo>
                <a:cubicBezTo>
                  <a:pt x="14" y="119"/>
                  <a:pt x="17" y="111"/>
                  <a:pt x="21" y="111"/>
                </a:cubicBezTo>
                <a:cubicBezTo>
                  <a:pt x="27" y="111"/>
                  <a:pt x="25" y="116"/>
                  <a:pt x="28" y="118"/>
                </a:cubicBezTo>
                <a:cubicBezTo>
                  <a:pt x="35" y="120"/>
                  <a:pt x="43" y="116"/>
                  <a:pt x="50" y="119"/>
                </a:cubicBezTo>
                <a:cubicBezTo>
                  <a:pt x="54" y="120"/>
                  <a:pt x="56" y="125"/>
                  <a:pt x="62" y="125"/>
                </a:cubicBezTo>
                <a:cubicBezTo>
                  <a:pt x="66" y="125"/>
                  <a:pt x="68" y="121"/>
                  <a:pt x="71" y="121"/>
                </a:cubicBezTo>
                <a:cubicBezTo>
                  <a:pt x="88" y="121"/>
                  <a:pt x="77" y="145"/>
                  <a:pt x="91" y="145"/>
                </a:cubicBezTo>
                <a:cubicBezTo>
                  <a:pt x="96" y="145"/>
                  <a:pt x="93" y="142"/>
                  <a:pt x="97" y="145"/>
                </a:cubicBezTo>
                <a:cubicBezTo>
                  <a:pt x="104" y="145"/>
                  <a:pt x="104" y="158"/>
                  <a:pt x="107" y="168"/>
                </a:cubicBezTo>
                <a:cubicBezTo>
                  <a:pt x="110" y="187"/>
                  <a:pt x="121" y="189"/>
                  <a:pt x="137" y="189"/>
                </a:cubicBezTo>
                <a:cubicBezTo>
                  <a:pt x="140" y="189"/>
                  <a:pt x="156" y="180"/>
                  <a:pt x="157" y="178"/>
                </a:cubicBezTo>
                <a:cubicBezTo>
                  <a:pt x="160" y="169"/>
                  <a:pt x="152" y="164"/>
                  <a:pt x="158" y="158"/>
                </a:cubicBezTo>
                <a:cubicBezTo>
                  <a:pt x="166" y="151"/>
                  <a:pt x="180" y="142"/>
                  <a:pt x="193" y="135"/>
                </a:cubicBezTo>
                <a:cubicBezTo>
                  <a:pt x="194" y="130"/>
                  <a:pt x="200" y="128"/>
                  <a:pt x="204" y="123"/>
                </a:cubicBezTo>
                <a:cubicBezTo>
                  <a:pt x="194" y="112"/>
                  <a:pt x="185" y="97"/>
                  <a:pt x="173" y="89"/>
                </a:cubicBezTo>
                <a:cubicBezTo>
                  <a:pt x="172" y="94"/>
                  <a:pt x="172" y="103"/>
                  <a:pt x="169" y="103"/>
                </a:cubicBezTo>
                <a:cubicBezTo>
                  <a:pt x="161" y="103"/>
                  <a:pt x="148" y="100"/>
                  <a:pt x="139" y="94"/>
                </a:cubicBezTo>
                <a:cubicBezTo>
                  <a:pt x="138" y="95"/>
                  <a:pt x="137" y="96"/>
                  <a:pt x="136" y="97"/>
                </a:cubicBezTo>
                <a:cubicBezTo>
                  <a:pt x="129" y="100"/>
                  <a:pt x="123" y="95"/>
                  <a:pt x="121" y="105"/>
                </a:cubicBezTo>
                <a:cubicBezTo>
                  <a:pt x="121" y="105"/>
                  <a:pt x="121" y="105"/>
                  <a:pt x="121" y="105"/>
                </a:cubicBezTo>
                <a:cubicBezTo>
                  <a:pt x="114" y="105"/>
                  <a:pt x="114" y="105"/>
                  <a:pt x="114" y="105"/>
                </a:cubicBezTo>
                <a:cubicBezTo>
                  <a:pt x="114" y="105"/>
                  <a:pt x="114" y="105"/>
                  <a:pt x="114" y="105"/>
                </a:cubicBezTo>
                <a:cubicBezTo>
                  <a:pt x="113" y="104"/>
                  <a:pt x="86" y="92"/>
                  <a:pt x="86" y="89"/>
                </a:cubicBezTo>
                <a:cubicBezTo>
                  <a:pt x="86" y="70"/>
                  <a:pt x="102" y="60"/>
                  <a:pt x="108" y="44"/>
                </a:cubicBezTo>
                <a:cubicBezTo>
                  <a:pt x="110" y="38"/>
                  <a:pt x="107" y="29"/>
                  <a:pt x="110" y="22"/>
                </a:cubicBezTo>
                <a:cubicBezTo>
                  <a:pt x="109" y="16"/>
                  <a:pt x="108" y="10"/>
                  <a:pt x="108" y="4"/>
                </a:cubicBezTo>
                <a:cubicBezTo>
                  <a:pt x="108" y="4"/>
                  <a:pt x="108" y="4"/>
                  <a:pt x="108" y="4"/>
                </a:cubicBezTo>
                <a:cubicBezTo>
                  <a:pt x="107" y="4"/>
                  <a:pt x="107" y="4"/>
                  <a:pt x="107" y="4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4" name="Freeform 8"/>
          <p:cNvSpPr>
            <a:spLocks/>
          </p:cNvSpPr>
          <p:nvPr/>
        </p:nvSpPr>
        <p:spPr bwMode="auto">
          <a:xfrm>
            <a:off x="5896914" y="616976"/>
            <a:ext cx="1186978" cy="1461328"/>
          </a:xfrm>
          <a:custGeom>
            <a:avLst/>
            <a:gdLst>
              <a:gd name="T0" fmla="*/ 135 w 262"/>
              <a:gd name="T1" fmla="*/ 304 h 322"/>
              <a:gd name="T2" fmla="*/ 123 w 262"/>
              <a:gd name="T3" fmla="*/ 281 h 322"/>
              <a:gd name="T4" fmla="*/ 123 w 262"/>
              <a:gd name="T5" fmla="*/ 281 h 322"/>
              <a:gd name="T6" fmla="*/ 149 w 262"/>
              <a:gd name="T7" fmla="*/ 240 h 322"/>
              <a:gd name="T8" fmla="*/ 131 w 262"/>
              <a:gd name="T9" fmla="*/ 229 h 322"/>
              <a:gd name="T10" fmla="*/ 129 w 262"/>
              <a:gd name="T11" fmla="*/ 254 h 322"/>
              <a:gd name="T12" fmla="*/ 117 w 262"/>
              <a:gd name="T13" fmla="*/ 249 h 322"/>
              <a:gd name="T14" fmla="*/ 123 w 262"/>
              <a:gd name="T15" fmla="*/ 235 h 322"/>
              <a:gd name="T16" fmla="*/ 123 w 262"/>
              <a:gd name="T17" fmla="*/ 230 h 322"/>
              <a:gd name="T18" fmla="*/ 111 w 262"/>
              <a:gd name="T19" fmla="*/ 242 h 322"/>
              <a:gd name="T20" fmla="*/ 111 w 262"/>
              <a:gd name="T21" fmla="*/ 235 h 322"/>
              <a:gd name="T22" fmla="*/ 106 w 262"/>
              <a:gd name="T23" fmla="*/ 252 h 322"/>
              <a:gd name="T24" fmla="*/ 96 w 262"/>
              <a:gd name="T25" fmla="*/ 257 h 322"/>
              <a:gd name="T26" fmla="*/ 96 w 262"/>
              <a:gd name="T27" fmla="*/ 293 h 322"/>
              <a:gd name="T28" fmla="*/ 61 w 262"/>
              <a:gd name="T29" fmla="*/ 273 h 322"/>
              <a:gd name="T30" fmla="*/ 40 w 262"/>
              <a:gd name="T31" fmla="*/ 237 h 322"/>
              <a:gd name="T32" fmla="*/ 40 w 262"/>
              <a:gd name="T33" fmla="*/ 197 h 322"/>
              <a:gd name="T34" fmla="*/ 31 w 262"/>
              <a:gd name="T35" fmla="*/ 190 h 322"/>
              <a:gd name="T36" fmla="*/ 31 w 262"/>
              <a:gd name="T37" fmla="*/ 190 h 322"/>
              <a:gd name="T38" fmla="*/ 18 w 262"/>
              <a:gd name="T39" fmla="*/ 188 h 322"/>
              <a:gd name="T40" fmla="*/ 2 w 262"/>
              <a:gd name="T41" fmla="*/ 192 h 322"/>
              <a:gd name="T42" fmla="*/ 87 w 262"/>
              <a:gd name="T43" fmla="*/ 166 h 322"/>
              <a:gd name="T44" fmla="*/ 125 w 262"/>
              <a:gd name="T45" fmla="*/ 80 h 322"/>
              <a:gd name="T46" fmla="*/ 159 w 262"/>
              <a:gd name="T47" fmla="*/ 37 h 322"/>
              <a:gd name="T48" fmla="*/ 231 w 262"/>
              <a:gd name="T49" fmla="*/ 35 h 322"/>
              <a:gd name="T50" fmla="*/ 253 w 262"/>
              <a:gd name="T51" fmla="*/ 55 h 322"/>
              <a:gd name="T52" fmla="*/ 210 w 262"/>
              <a:gd name="T53" fmla="*/ 173 h 322"/>
              <a:gd name="T54" fmla="*/ 198 w 262"/>
              <a:gd name="T55" fmla="*/ 219 h 322"/>
              <a:gd name="T56" fmla="*/ 192 w 262"/>
              <a:gd name="T57" fmla="*/ 213 h 322"/>
              <a:gd name="T58" fmla="*/ 186 w 262"/>
              <a:gd name="T59" fmla="*/ 213 h 322"/>
              <a:gd name="T60" fmla="*/ 178 w 262"/>
              <a:gd name="T61" fmla="*/ 273 h 322"/>
              <a:gd name="T62" fmla="*/ 149 w 262"/>
              <a:gd name="T63" fmla="*/ 322 h 322"/>
              <a:gd name="T64" fmla="*/ 147 w 262"/>
              <a:gd name="T65" fmla="*/ 321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62" h="322">
                <a:moveTo>
                  <a:pt x="147" y="321"/>
                </a:moveTo>
                <a:cubicBezTo>
                  <a:pt x="143" y="318"/>
                  <a:pt x="139" y="306"/>
                  <a:pt x="135" y="304"/>
                </a:cubicBezTo>
                <a:cubicBezTo>
                  <a:pt x="128" y="301"/>
                  <a:pt x="121" y="302"/>
                  <a:pt x="115" y="301"/>
                </a:cubicBezTo>
                <a:cubicBezTo>
                  <a:pt x="117" y="293"/>
                  <a:pt x="116" y="281"/>
                  <a:pt x="123" y="281"/>
                </a:cubicBezTo>
                <a:cubicBezTo>
                  <a:pt x="123" y="281"/>
                  <a:pt x="123" y="281"/>
                  <a:pt x="123" y="281"/>
                </a:cubicBezTo>
                <a:cubicBezTo>
                  <a:pt x="123" y="281"/>
                  <a:pt x="123" y="281"/>
                  <a:pt x="123" y="281"/>
                </a:cubicBezTo>
                <a:cubicBezTo>
                  <a:pt x="125" y="281"/>
                  <a:pt x="128" y="268"/>
                  <a:pt x="128" y="268"/>
                </a:cubicBezTo>
                <a:cubicBezTo>
                  <a:pt x="131" y="257"/>
                  <a:pt x="149" y="254"/>
                  <a:pt x="149" y="240"/>
                </a:cubicBezTo>
                <a:cubicBezTo>
                  <a:pt x="149" y="233"/>
                  <a:pt x="144" y="219"/>
                  <a:pt x="138" y="219"/>
                </a:cubicBezTo>
                <a:cubicBezTo>
                  <a:pt x="135" y="219"/>
                  <a:pt x="131" y="226"/>
                  <a:pt x="131" y="229"/>
                </a:cubicBezTo>
                <a:cubicBezTo>
                  <a:pt x="131" y="232"/>
                  <a:pt x="136" y="235"/>
                  <a:pt x="136" y="242"/>
                </a:cubicBezTo>
                <a:cubicBezTo>
                  <a:pt x="136" y="249"/>
                  <a:pt x="135" y="254"/>
                  <a:pt x="129" y="254"/>
                </a:cubicBezTo>
                <a:cubicBezTo>
                  <a:pt x="125" y="254"/>
                  <a:pt x="125" y="253"/>
                  <a:pt x="125" y="249"/>
                </a:cubicBezTo>
                <a:cubicBezTo>
                  <a:pt x="118" y="251"/>
                  <a:pt x="120" y="252"/>
                  <a:pt x="117" y="249"/>
                </a:cubicBezTo>
                <a:cubicBezTo>
                  <a:pt x="118" y="243"/>
                  <a:pt x="122" y="237"/>
                  <a:pt x="123" y="235"/>
                </a:cubicBezTo>
                <a:cubicBezTo>
                  <a:pt x="123" y="235"/>
                  <a:pt x="123" y="235"/>
                  <a:pt x="123" y="235"/>
                </a:cubicBezTo>
                <a:cubicBezTo>
                  <a:pt x="123" y="230"/>
                  <a:pt x="123" y="230"/>
                  <a:pt x="123" y="230"/>
                </a:cubicBezTo>
                <a:cubicBezTo>
                  <a:pt x="123" y="230"/>
                  <a:pt x="123" y="230"/>
                  <a:pt x="123" y="230"/>
                </a:cubicBezTo>
                <a:cubicBezTo>
                  <a:pt x="115" y="232"/>
                  <a:pt x="117" y="240"/>
                  <a:pt x="111" y="242"/>
                </a:cubicBezTo>
                <a:cubicBezTo>
                  <a:pt x="111" y="242"/>
                  <a:pt x="111" y="242"/>
                  <a:pt x="111" y="242"/>
                </a:cubicBezTo>
                <a:cubicBezTo>
                  <a:pt x="111" y="235"/>
                  <a:pt x="111" y="235"/>
                  <a:pt x="111" y="235"/>
                </a:cubicBezTo>
                <a:cubicBezTo>
                  <a:pt x="111" y="235"/>
                  <a:pt x="111" y="235"/>
                  <a:pt x="111" y="235"/>
                </a:cubicBezTo>
                <a:cubicBezTo>
                  <a:pt x="115" y="231"/>
                  <a:pt x="114" y="229"/>
                  <a:pt x="112" y="221"/>
                </a:cubicBezTo>
                <a:cubicBezTo>
                  <a:pt x="108" y="227"/>
                  <a:pt x="106" y="243"/>
                  <a:pt x="106" y="252"/>
                </a:cubicBezTo>
                <a:cubicBezTo>
                  <a:pt x="102" y="252"/>
                  <a:pt x="99" y="252"/>
                  <a:pt x="98" y="249"/>
                </a:cubicBezTo>
                <a:cubicBezTo>
                  <a:pt x="97" y="252"/>
                  <a:pt x="96" y="254"/>
                  <a:pt x="96" y="257"/>
                </a:cubicBezTo>
                <a:cubicBezTo>
                  <a:pt x="96" y="268"/>
                  <a:pt x="98" y="273"/>
                  <a:pt x="98" y="284"/>
                </a:cubicBezTo>
                <a:cubicBezTo>
                  <a:pt x="98" y="288"/>
                  <a:pt x="97" y="291"/>
                  <a:pt x="96" y="293"/>
                </a:cubicBezTo>
                <a:cubicBezTo>
                  <a:pt x="86" y="282"/>
                  <a:pt x="77" y="267"/>
                  <a:pt x="65" y="259"/>
                </a:cubicBezTo>
                <a:cubicBezTo>
                  <a:pt x="64" y="264"/>
                  <a:pt x="64" y="273"/>
                  <a:pt x="61" y="273"/>
                </a:cubicBezTo>
                <a:cubicBezTo>
                  <a:pt x="53" y="273"/>
                  <a:pt x="40" y="270"/>
                  <a:pt x="31" y="264"/>
                </a:cubicBezTo>
                <a:cubicBezTo>
                  <a:pt x="36" y="258"/>
                  <a:pt x="40" y="246"/>
                  <a:pt x="40" y="237"/>
                </a:cubicBezTo>
                <a:cubicBezTo>
                  <a:pt x="40" y="229"/>
                  <a:pt x="37" y="221"/>
                  <a:pt x="37" y="213"/>
                </a:cubicBezTo>
                <a:cubicBezTo>
                  <a:pt x="37" y="206"/>
                  <a:pt x="40" y="203"/>
                  <a:pt x="40" y="197"/>
                </a:cubicBezTo>
                <a:cubicBezTo>
                  <a:pt x="40" y="195"/>
                  <a:pt x="39" y="193"/>
                  <a:pt x="40" y="190"/>
                </a:cubicBezTo>
                <a:cubicBezTo>
                  <a:pt x="36" y="190"/>
                  <a:pt x="34" y="190"/>
                  <a:pt x="31" y="190"/>
                </a:cubicBezTo>
                <a:cubicBezTo>
                  <a:pt x="31" y="190"/>
                  <a:pt x="31" y="190"/>
                  <a:pt x="31" y="190"/>
                </a:cubicBezTo>
                <a:cubicBezTo>
                  <a:pt x="31" y="190"/>
                  <a:pt x="31" y="190"/>
                  <a:pt x="31" y="190"/>
                </a:cubicBezTo>
                <a:cubicBezTo>
                  <a:pt x="28" y="190"/>
                  <a:pt x="27" y="194"/>
                  <a:pt x="24" y="194"/>
                </a:cubicBezTo>
                <a:cubicBezTo>
                  <a:pt x="21" y="194"/>
                  <a:pt x="20" y="190"/>
                  <a:pt x="18" y="188"/>
                </a:cubicBezTo>
                <a:cubicBezTo>
                  <a:pt x="15" y="190"/>
                  <a:pt x="2" y="192"/>
                  <a:pt x="2" y="192"/>
                </a:cubicBezTo>
                <a:cubicBezTo>
                  <a:pt x="2" y="192"/>
                  <a:pt x="2" y="192"/>
                  <a:pt x="2" y="192"/>
                </a:cubicBezTo>
                <a:cubicBezTo>
                  <a:pt x="1" y="186"/>
                  <a:pt x="0" y="180"/>
                  <a:pt x="0" y="174"/>
                </a:cubicBezTo>
                <a:cubicBezTo>
                  <a:pt x="40" y="174"/>
                  <a:pt x="87" y="166"/>
                  <a:pt x="87" y="166"/>
                </a:cubicBezTo>
                <a:cubicBezTo>
                  <a:pt x="92" y="166"/>
                  <a:pt x="103" y="154"/>
                  <a:pt x="98" y="108"/>
                </a:cubicBezTo>
                <a:cubicBezTo>
                  <a:pt x="117" y="108"/>
                  <a:pt x="125" y="109"/>
                  <a:pt x="125" y="80"/>
                </a:cubicBezTo>
                <a:cubicBezTo>
                  <a:pt x="135" y="80"/>
                  <a:pt x="141" y="77"/>
                  <a:pt x="140" y="54"/>
                </a:cubicBezTo>
                <a:cubicBezTo>
                  <a:pt x="156" y="54"/>
                  <a:pt x="154" y="35"/>
                  <a:pt x="159" y="37"/>
                </a:cubicBezTo>
                <a:cubicBezTo>
                  <a:pt x="181" y="40"/>
                  <a:pt x="189" y="19"/>
                  <a:pt x="199" y="0"/>
                </a:cubicBezTo>
                <a:cubicBezTo>
                  <a:pt x="199" y="0"/>
                  <a:pt x="231" y="19"/>
                  <a:pt x="231" y="35"/>
                </a:cubicBezTo>
                <a:cubicBezTo>
                  <a:pt x="231" y="42"/>
                  <a:pt x="231" y="44"/>
                  <a:pt x="231" y="48"/>
                </a:cubicBezTo>
                <a:cubicBezTo>
                  <a:pt x="231" y="55"/>
                  <a:pt x="242" y="55"/>
                  <a:pt x="253" y="55"/>
                </a:cubicBezTo>
                <a:cubicBezTo>
                  <a:pt x="254" y="94"/>
                  <a:pt x="262" y="112"/>
                  <a:pt x="227" y="125"/>
                </a:cubicBezTo>
                <a:cubicBezTo>
                  <a:pt x="214" y="152"/>
                  <a:pt x="208" y="158"/>
                  <a:pt x="210" y="173"/>
                </a:cubicBezTo>
                <a:cubicBezTo>
                  <a:pt x="210" y="182"/>
                  <a:pt x="208" y="199"/>
                  <a:pt x="210" y="213"/>
                </a:cubicBezTo>
                <a:cubicBezTo>
                  <a:pt x="207" y="215"/>
                  <a:pt x="203" y="219"/>
                  <a:pt x="198" y="219"/>
                </a:cubicBezTo>
                <a:cubicBezTo>
                  <a:pt x="197" y="219"/>
                  <a:pt x="193" y="214"/>
                  <a:pt x="192" y="213"/>
                </a:cubicBezTo>
                <a:cubicBezTo>
                  <a:pt x="192" y="213"/>
                  <a:pt x="192" y="213"/>
                  <a:pt x="192" y="213"/>
                </a:cubicBezTo>
                <a:cubicBezTo>
                  <a:pt x="186" y="213"/>
                  <a:pt x="186" y="213"/>
                  <a:pt x="186" y="213"/>
                </a:cubicBezTo>
                <a:cubicBezTo>
                  <a:pt x="186" y="213"/>
                  <a:pt x="186" y="213"/>
                  <a:pt x="186" y="213"/>
                </a:cubicBezTo>
                <a:cubicBezTo>
                  <a:pt x="186" y="236"/>
                  <a:pt x="171" y="240"/>
                  <a:pt x="171" y="262"/>
                </a:cubicBezTo>
                <a:cubicBezTo>
                  <a:pt x="171" y="269"/>
                  <a:pt x="178" y="267"/>
                  <a:pt x="178" y="273"/>
                </a:cubicBezTo>
                <a:cubicBezTo>
                  <a:pt x="178" y="281"/>
                  <a:pt x="170" y="279"/>
                  <a:pt x="168" y="286"/>
                </a:cubicBezTo>
                <a:cubicBezTo>
                  <a:pt x="166" y="302"/>
                  <a:pt x="156" y="311"/>
                  <a:pt x="149" y="322"/>
                </a:cubicBezTo>
                <a:cubicBezTo>
                  <a:pt x="149" y="322"/>
                  <a:pt x="149" y="322"/>
                  <a:pt x="149" y="322"/>
                </a:cubicBezTo>
                <a:cubicBezTo>
                  <a:pt x="147" y="321"/>
                  <a:pt x="147" y="321"/>
                  <a:pt x="147" y="32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5" name="Line 27"/>
          <p:cNvSpPr>
            <a:spLocks noChangeShapeType="1"/>
          </p:cNvSpPr>
          <p:nvPr/>
        </p:nvSpPr>
        <p:spPr bwMode="auto">
          <a:xfrm>
            <a:off x="5407007" y="3945555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" name="Line 28"/>
          <p:cNvSpPr>
            <a:spLocks noChangeShapeType="1"/>
          </p:cNvSpPr>
          <p:nvPr/>
        </p:nvSpPr>
        <p:spPr bwMode="auto">
          <a:xfrm>
            <a:off x="5407007" y="3945555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" name="Line 29"/>
          <p:cNvSpPr>
            <a:spLocks noChangeShapeType="1"/>
          </p:cNvSpPr>
          <p:nvPr/>
        </p:nvSpPr>
        <p:spPr bwMode="auto">
          <a:xfrm>
            <a:off x="5407007" y="3945555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8" name="Line 30"/>
          <p:cNvSpPr>
            <a:spLocks noChangeShapeType="1"/>
          </p:cNvSpPr>
          <p:nvPr/>
        </p:nvSpPr>
        <p:spPr bwMode="auto">
          <a:xfrm>
            <a:off x="5407007" y="3945555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0" name="Freeform 50"/>
          <p:cNvSpPr>
            <a:spLocks/>
          </p:cNvSpPr>
          <p:nvPr/>
        </p:nvSpPr>
        <p:spPr bwMode="auto">
          <a:xfrm>
            <a:off x="4925496" y="1635986"/>
            <a:ext cx="517902" cy="825846"/>
          </a:xfrm>
          <a:custGeom>
            <a:avLst/>
            <a:gdLst>
              <a:gd name="T0" fmla="*/ 106 w 114"/>
              <a:gd name="T1" fmla="*/ 0 h 182"/>
              <a:gd name="T2" fmla="*/ 85 w 114"/>
              <a:gd name="T3" fmla="*/ 0 h 182"/>
              <a:gd name="T4" fmla="*/ 85 w 114"/>
              <a:gd name="T5" fmla="*/ 0 h 182"/>
              <a:gd name="T6" fmla="*/ 64 w 114"/>
              <a:gd name="T7" fmla="*/ 22 h 182"/>
              <a:gd name="T8" fmla="*/ 55 w 114"/>
              <a:gd name="T9" fmla="*/ 38 h 182"/>
              <a:gd name="T10" fmla="*/ 37 w 114"/>
              <a:gd name="T11" fmla="*/ 40 h 182"/>
              <a:gd name="T12" fmla="*/ 37 w 114"/>
              <a:gd name="T13" fmla="*/ 60 h 182"/>
              <a:gd name="T14" fmla="*/ 22 w 114"/>
              <a:gd name="T15" fmla="*/ 66 h 182"/>
              <a:gd name="T16" fmla="*/ 8 w 114"/>
              <a:gd name="T17" fmla="*/ 98 h 182"/>
              <a:gd name="T18" fmla="*/ 0 w 114"/>
              <a:gd name="T19" fmla="*/ 110 h 182"/>
              <a:gd name="T20" fmla="*/ 11 w 114"/>
              <a:gd name="T21" fmla="*/ 133 h 182"/>
              <a:gd name="T22" fmla="*/ 2 w 114"/>
              <a:gd name="T23" fmla="*/ 146 h 182"/>
              <a:gd name="T24" fmla="*/ 22 w 114"/>
              <a:gd name="T25" fmla="*/ 160 h 182"/>
              <a:gd name="T26" fmla="*/ 29 w 114"/>
              <a:gd name="T27" fmla="*/ 179 h 182"/>
              <a:gd name="T28" fmla="*/ 35 w 114"/>
              <a:gd name="T29" fmla="*/ 176 h 182"/>
              <a:gd name="T30" fmla="*/ 43 w 114"/>
              <a:gd name="T31" fmla="*/ 182 h 182"/>
              <a:gd name="T32" fmla="*/ 66 w 114"/>
              <a:gd name="T33" fmla="*/ 162 h 182"/>
              <a:gd name="T34" fmla="*/ 66 w 114"/>
              <a:gd name="T35" fmla="*/ 153 h 182"/>
              <a:gd name="T36" fmla="*/ 70 w 114"/>
              <a:gd name="T37" fmla="*/ 135 h 182"/>
              <a:gd name="T38" fmla="*/ 77 w 114"/>
              <a:gd name="T39" fmla="*/ 135 h 182"/>
              <a:gd name="T40" fmla="*/ 77 w 114"/>
              <a:gd name="T41" fmla="*/ 126 h 182"/>
              <a:gd name="T42" fmla="*/ 104 w 114"/>
              <a:gd name="T43" fmla="*/ 91 h 182"/>
              <a:gd name="T44" fmla="*/ 99 w 114"/>
              <a:gd name="T45" fmla="*/ 77 h 182"/>
              <a:gd name="T46" fmla="*/ 112 w 114"/>
              <a:gd name="T47" fmla="*/ 62 h 182"/>
              <a:gd name="T48" fmla="*/ 111 w 114"/>
              <a:gd name="T49" fmla="*/ 51 h 182"/>
              <a:gd name="T50" fmla="*/ 114 w 114"/>
              <a:gd name="T51" fmla="*/ 33 h 182"/>
              <a:gd name="T52" fmla="*/ 106 w 114"/>
              <a:gd name="T53" fmla="*/ 8 h 182"/>
              <a:gd name="T54" fmla="*/ 107 w 114"/>
              <a:gd name="T55" fmla="*/ 0 h 182"/>
              <a:gd name="T56" fmla="*/ 107 w 114"/>
              <a:gd name="T57" fmla="*/ 0 h 182"/>
              <a:gd name="T58" fmla="*/ 106 w 114"/>
              <a:gd name="T59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4" h="182">
                <a:moveTo>
                  <a:pt x="106" y="0"/>
                </a:moveTo>
                <a:cubicBezTo>
                  <a:pt x="85" y="0"/>
                  <a:pt x="85" y="0"/>
                  <a:pt x="85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79" y="12"/>
                  <a:pt x="70" y="13"/>
                  <a:pt x="64" y="22"/>
                </a:cubicBezTo>
                <a:cubicBezTo>
                  <a:pt x="60" y="27"/>
                  <a:pt x="60" y="33"/>
                  <a:pt x="55" y="38"/>
                </a:cubicBezTo>
                <a:cubicBezTo>
                  <a:pt x="51" y="40"/>
                  <a:pt x="42" y="37"/>
                  <a:pt x="37" y="40"/>
                </a:cubicBezTo>
                <a:cubicBezTo>
                  <a:pt x="31" y="45"/>
                  <a:pt x="38" y="53"/>
                  <a:pt x="37" y="60"/>
                </a:cubicBezTo>
                <a:cubicBezTo>
                  <a:pt x="35" y="61"/>
                  <a:pt x="22" y="66"/>
                  <a:pt x="22" y="66"/>
                </a:cubicBezTo>
                <a:cubicBezTo>
                  <a:pt x="13" y="73"/>
                  <a:pt x="13" y="89"/>
                  <a:pt x="8" y="98"/>
                </a:cubicBezTo>
                <a:cubicBezTo>
                  <a:pt x="6" y="103"/>
                  <a:pt x="0" y="103"/>
                  <a:pt x="0" y="110"/>
                </a:cubicBezTo>
                <a:cubicBezTo>
                  <a:pt x="0" y="123"/>
                  <a:pt x="11" y="124"/>
                  <a:pt x="11" y="133"/>
                </a:cubicBezTo>
                <a:cubicBezTo>
                  <a:pt x="11" y="139"/>
                  <a:pt x="2" y="140"/>
                  <a:pt x="2" y="146"/>
                </a:cubicBezTo>
                <a:cubicBezTo>
                  <a:pt x="2" y="148"/>
                  <a:pt x="21" y="155"/>
                  <a:pt x="22" y="160"/>
                </a:cubicBezTo>
                <a:cubicBezTo>
                  <a:pt x="24" y="167"/>
                  <a:pt x="22" y="179"/>
                  <a:pt x="29" y="179"/>
                </a:cubicBezTo>
                <a:cubicBezTo>
                  <a:pt x="32" y="179"/>
                  <a:pt x="33" y="176"/>
                  <a:pt x="35" y="176"/>
                </a:cubicBezTo>
                <a:cubicBezTo>
                  <a:pt x="38" y="176"/>
                  <a:pt x="39" y="182"/>
                  <a:pt x="43" y="182"/>
                </a:cubicBezTo>
                <a:cubicBezTo>
                  <a:pt x="49" y="182"/>
                  <a:pt x="66" y="168"/>
                  <a:pt x="66" y="162"/>
                </a:cubicBezTo>
                <a:cubicBezTo>
                  <a:pt x="66" y="158"/>
                  <a:pt x="66" y="157"/>
                  <a:pt x="66" y="153"/>
                </a:cubicBezTo>
                <a:cubicBezTo>
                  <a:pt x="66" y="148"/>
                  <a:pt x="69" y="142"/>
                  <a:pt x="70" y="135"/>
                </a:cubicBezTo>
                <a:cubicBezTo>
                  <a:pt x="72" y="135"/>
                  <a:pt x="75" y="134"/>
                  <a:pt x="77" y="135"/>
                </a:cubicBezTo>
                <a:cubicBezTo>
                  <a:pt x="77" y="131"/>
                  <a:pt x="77" y="126"/>
                  <a:pt x="77" y="126"/>
                </a:cubicBezTo>
                <a:cubicBezTo>
                  <a:pt x="77" y="115"/>
                  <a:pt x="104" y="103"/>
                  <a:pt x="104" y="91"/>
                </a:cubicBezTo>
                <a:cubicBezTo>
                  <a:pt x="104" y="86"/>
                  <a:pt x="99" y="83"/>
                  <a:pt x="99" y="77"/>
                </a:cubicBezTo>
                <a:cubicBezTo>
                  <a:pt x="99" y="66"/>
                  <a:pt x="103" y="62"/>
                  <a:pt x="112" y="62"/>
                </a:cubicBezTo>
                <a:cubicBezTo>
                  <a:pt x="111" y="60"/>
                  <a:pt x="111" y="55"/>
                  <a:pt x="111" y="51"/>
                </a:cubicBezTo>
                <a:cubicBezTo>
                  <a:pt x="111" y="44"/>
                  <a:pt x="114" y="40"/>
                  <a:pt x="114" y="33"/>
                </a:cubicBezTo>
                <a:cubicBezTo>
                  <a:pt x="114" y="21"/>
                  <a:pt x="106" y="22"/>
                  <a:pt x="106" y="8"/>
                </a:cubicBezTo>
                <a:cubicBezTo>
                  <a:pt x="106" y="3"/>
                  <a:pt x="106" y="1"/>
                  <a:pt x="107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6" y="0"/>
                  <a:pt x="106" y="0"/>
                  <a:pt x="106" y="0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1" name="Freeform 51"/>
          <p:cNvSpPr>
            <a:spLocks/>
          </p:cNvSpPr>
          <p:nvPr/>
        </p:nvSpPr>
        <p:spPr bwMode="auto">
          <a:xfrm>
            <a:off x="5275429" y="1893537"/>
            <a:ext cx="730665" cy="568295"/>
          </a:xfrm>
          <a:custGeom>
            <a:avLst/>
            <a:gdLst>
              <a:gd name="T0" fmla="*/ 157 w 161"/>
              <a:gd name="T1" fmla="*/ 125 h 125"/>
              <a:gd name="T2" fmla="*/ 157 w 161"/>
              <a:gd name="T3" fmla="*/ 100 h 125"/>
              <a:gd name="T4" fmla="*/ 144 w 161"/>
              <a:gd name="T5" fmla="*/ 94 h 125"/>
              <a:gd name="T6" fmla="*/ 149 w 161"/>
              <a:gd name="T7" fmla="*/ 74 h 125"/>
              <a:gd name="T8" fmla="*/ 136 w 161"/>
              <a:gd name="T9" fmla="*/ 57 h 125"/>
              <a:gd name="T10" fmla="*/ 126 w 161"/>
              <a:gd name="T11" fmla="*/ 34 h 125"/>
              <a:gd name="T12" fmla="*/ 120 w 161"/>
              <a:gd name="T13" fmla="*/ 34 h 125"/>
              <a:gd name="T14" fmla="*/ 100 w 161"/>
              <a:gd name="T15" fmla="*/ 10 h 125"/>
              <a:gd name="T16" fmla="*/ 91 w 161"/>
              <a:gd name="T17" fmla="*/ 14 h 125"/>
              <a:gd name="T18" fmla="*/ 79 w 161"/>
              <a:gd name="T19" fmla="*/ 8 h 125"/>
              <a:gd name="T20" fmla="*/ 57 w 161"/>
              <a:gd name="T21" fmla="*/ 7 h 125"/>
              <a:gd name="T22" fmla="*/ 50 w 161"/>
              <a:gd name="T23" fmla="*/ 0 h 125"/>
              <a:gd name="T24" fmla="*/ 40 w 161"/>
              <a:gd name="T25" fmla="*/ 8 h 125"/>
              <a:gd name="T26" fmla="*/ 35 w 161"/>
              <a:gd name="T27" fmla="*/ 5 h 125"/>
              <a:gd name="T28" fmla="*/ 22 w 161"/>
              <a:gd name="T29" fmla="*/ 20 h 125"/>
              <a:gd name="T30" fmla="*/ 27 w 161"/>
              <a:gd name="T31" fmla="*/ 34 h 125"/>
              <a:gd name="T32" fmla="*/ 0 w 161"/>
              <a:gd name="T33" fmla="*/ 69 h 125"/>
              <a:gd name="T34" fmla="*/ 0 w 161"/>
              <a:gd name="T35" fmla="*/ 77 h 125"/>
              <a:gd name="T36" fmla="*/ 11 w 161"/>
              <a:gd name="T37" fmla="*/ 89 h 125"/>
              <a:gd name="T38" fmla="*/ 52 w 161"/>
              <a:gd name="T39" fmla="*/ 96 h 125"/>
              <a:gd name="T40" fmla="*/ 63 w 161"/>
              <a:gd name="T41" fmla="*/ 105 h 125"/>
              <a:gd name="T42" fmla="*/ 95 w 161"/>
              <a:gd name="T43" fmla="*/ 93 h 125"/>
              <a:gd name="T44" fmla="*/ 112 w 161"/>
              <a:gd name="T45" fmla="*/ 111 h 125"/>
              <a:gd name="T46" fmla="*/ 121 w 161"/>
              <a:gd name="T47" fmla="*/ 107 h 125"/>
              <a:gd name="T48" fmla="*/ 128 w 161"/>
              <a:gd name="T49" fmla="*/ 116 h 125"/>
              <a:gd name="T50" fmla="*/ 134 w 161"/>
              <a:gd name="T51" fmla="*/ 112 h 125"/>
              <a:gd name="T52" fmla="*/ 155 w 161"/>
              <a:gd name="T53" fmla="*/ 122 h 125"/>
              <a:gd name="T54" fmla="*/ 155 w 161"/>
              <a:gd name="T55" fmla="*/ 122 h 125"/>
              <a:gd name="T56" fmla="*/ 157 w 161"/>
              <a:gd name="T57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61" h="125">
                <a:moveTo>
                  <a:pt x="157" y="125"/>
                </a:moveTo>
                <a:cubicBezTo>
                  <a:pt x="157" y="119"/>
                  <a:pt x="161" y="107"/>
                  <a:pt x="157" y="100"/>
                </a:cubicBezTo>
                <a:cubicBezTo>
                  <a:pt x="157" y="99"/>
                  <a:pt x="144" y="98"/>
                  <a:pt x="144" y="94"/>
                </a:cubicBezTo>
                <a:cubicBezTo>
                  <a:pt x="144" y="88"/>
                  <a:pt x="149" y="84"/>
                  <a:pt x="149" y="74"/>
                </a:cubicBezTo>
                <a:cubicBezTo>
                  <a:pt x="142" y="71"/>
                  <a:pt x="138" y="64"/>
                  <a:pt x="136" y="57"/>
                </a:cubicBezTo>
                <a:cubicBezTo>
                  <a:pt x="132" y="47"/>
                  <a:pt x="133" y="34"/>
                  <a:pt x="126" y="34"/>
                </a:cubicBezTo>
                <a:cubicBezTo>
                  <a:pt x="122" y="31"/>
                  <a:pt x="125" y="34"/>
                  <a:pt x="120" y="34"/>
                </a:cubicBezTo>
                <a:cubicBezTo>
                  <a:pt x="106" y="34"/>
                  <a:pt x="117" y="10"/>
                  <a:pt x="100" y="10"/>
                </a:cubicBezTo>
                <a:cubicBezTo>
                  <a:pt x="97" y="10"/>
                  <a:pt x="95" y="14"/>
                  <a:pt x="91" y="14"/>
                </a:cubicBezTo>
                <a:cubicBezTo>
                  <a:pt x="85" y="14"/>
                  <a:pt x="83" y="9"/>
                  <a:pt x="79" y="8"/>
                </a:cubicBezTo>
                <a:cubicBezTo>
                  <a:pt x="72" y="5"/>
                  <a:pt x="64" y="9"/>
                  <a:pt x="57" y="7"/>
                </a:cubicBezTo>
                <a:cubicBezTo>
                  <a:pt x="54" y="5"/>
                  <a:pt x="56" y="0"/>
                  <a:pt x="50" y="0"/>
                </a:cubicBezTo>
                <a:cubicBezTo>
                  <a:pt x="46" y="0"/>
                  <a:pt x="45" y="8"/>
                  <a:pt x="40" y="8"/>
                </a:cubicBezTo>
                <a:cubicBezTo>
                  <a:pt x="38" y="8"/>
                  <a:pt x="36" y="7"/>
                  <a:pt x="35" y="5"/>
                </a:cubicBezTo>
                <a:cubicBezTo>
                  <a:pt x="26" y="5"/>
                  <a:pt x="22" y="9"/>
                  <a:pt x="22" y="20"/>
                </a:cubicBezTo>
                <a:cubicBezTo>
                  <a:pt x="22" y="26"/>
                  <a:pt x="27" y="29"/>
                  <a:pt x="27" y="34"/>
                </a:cubicBezTo>
                <a:cubicBezTo>
                  <a:pt x="27" y="46"/>
                  <a:pt x="0" y="58"/>
                  <a:pt x="0" y="69"/>
                </a:cubicBezTo>
                <a:cubicBezTo>
                  <a:pt x="0" y="69"/>
                  <a:pt x="0" y="73"/>
                  <a:pt x="0" y="77"/>
                </a:cubicBezTo>
                <a:cubicBezTo>
                  <a:pt x="8" y="78"/>
                  <a:pt x="6" y="88"/>
                  <a:pt x="11" y="89"/>
                </a:cubicBezTo>
                <a:cubicBezTo>
                  <a:pt x="31" y="95"/>
                  <a:pt x="36" y="90"/>
                  <a:pt x="52" y="96"/>
                </a:cubicBezTo>
                <a:cubicBezTo>
                  <a:pt x="57" y="99"/>
                  <a:pt x="58" y="105"/>
                  <a:pt x="63" y="105"/>
                </a:cubicBezTo>
                <a:cubicBezTo>
                  <a:pt x="77" y="105"/>
                  <a:pt x="86" y="93"/>
                  <a:pt x="95" y="93"/>
                </a:cubicBezTo>
                <a:cubicBezTo>
                  <a:pt x="110" y="93"/>
                  <a:pt x="105" y="111"/>
                  <a:pt x="112" y="111"/>
                </a:cubicBezTo>
                <a:cubicBezTo>
                  <a:pt x="115" y="111"/>
                  <a:pt x="118" y="107"/>
                  <a:pt x="121" y="107"/>
                </a:cubicBezTo>
                <a:cubicBezTo>
                  <a:pt x="122" y="112"/>
                  <a:pt x="125" y="116"/>
                  <a:pt x="128" y="116"/>
                </a:cubicBezTo>
                <a:cubicBezTo>
                  <a:pt x="131" y="116"/>
                  <a:pt x="132" y="112"/>
                  <a:pt x="134" y="112"/>
                </a:cubicBezTo>
                <a:cubicBezTo>
                  <a:pt x="141" y="112"/>
                  <a:pt x="145" y="122"/>
                  <a:pt x="155" y="122"/>
                </a:cubicBezTo>
                <a:cubicBezTo>
                  <a:pt x="155" y="122"/>
                  <a:pt x="155" y="122"/>
                  <a:pt x="155" y="122"/>
                </a:cubicBezTo>
                <a:cubicBezTo>
                  <a:pt x="157" y="125"/>
                  <a:pt x="157" y="125"/>
                  <a:pt x="157" y="125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2" name="Freeform 53"/>
          <p:cNvSpPr>
            <a:spLocks/>
          </p:cNvSpPr>
          <p:nvPr/>
        </p:nvSpPr>
        <p:spPr bwMode="auto">
          <a:xfrm>
            <a:off x="6507201" y="4471856"/>
            <a:ext cx="1307357" cy="1310155"/>
          </a:xfrm>
          <a:custGeom>
            <a:avLst/>
            <a:gdLst>
              <a:gd name="T0" fmla="*/ 0 w 288"/>
              <a:gd name="T1" fmla="*/ 93 h 289"/>
              <a:gd name="T2" fmla="*/ 25 w 288"/>
              <a:gd name="T3" fmla="*/ 113 h 289"/>
              <a:gd name="T4" fmla="*/ 40 w 288"/>
              <a:gd name="T5" fmla="*/ 113 h 289"/>
              <a:gd name="T6" fmla="*/ 42 w 288"/>
              <a:gd name="T7" fmla="*/ 131 h 289"/>
              <a:gd name="T8" fmla="*/ 64 w 288"/>
              <a:gd name="T9" fmla="*/ 147 h 289"/>
              <a:gd name="T10" fmla="*/ 80 w 288"/>
              <a:gd name="T11" fmla="*/ 188 h 289"/>
              <a:gd name="T12" fmla="*/ 91 w 288"/>
              <a:gd name="T13" fmla="*/ 200 h 289"/>
              <a:gd name="T14" fmla="*/ 111 w 288"/>
              <a:gd name="T15" fmla="*/ 217 h 289"/>
              <a:gd name="T16" fmla="*/ 139 w 288"/>
              <a:gd name="T17" fmla="*/ 210 h 289"/>
              <a:gd name="T18" fmla="*/ 164 w 288"/>
              <a:gd name="T19" fmla="*/ 231 h 289"/>
              <a:gd name="T20" fmla="*/ 164 w 288"/>
              <a:gd name="T21" fmla="*/ 231 h 289"/>
              <a:gd name="T22" fmla="*/ 185 w 288"/>
              <a:gd name="T23" fmla="*/ 231 h 289"/>
              <a:gd name="T24" fmla="*/ 185 w 288"/>
              <a:gd name="T25" fmla="*/ 231 h 289"/>
              <a:gd name="T26" fmla="*/ 217 w 288"/>
              <a:gd name="T27" fmla="*/ 275 h 289"/>
              <a:gd name="T28" fmla="*/ 230 w 288"/>
              <a:gd name="T29" fmla="*/ 270 h 289"/>
              <a:gd name="T30" fmla="*/ 254 w 288"/>
              <a:gd name="T31" fmla="*/ 289 h 289"/>
              <a:gd name="T32" fmla="*/ 288 w 288"/>
              <a:gd name="T33" fmla="*/ 266 h 289"/>
              <a:gd name="T34" fmla="*/ 273 w 288"/>
              <a:gd name="T35" fmla="*/ 250 h 289"/>
              <a:gd name="T36" fmla="*/ 272 w 288"/>
              <a:gd name="T37" fmla="*/ 242 h 289"/>
              <a:gd name="T38" fmla="*/ 261 w 288"/>
              <a:gd name="T39" fmla="*/ 235 h 289"/>
              <a:gd name="T40" fmla="*/ 265 w 288"/>
              <a:gd name="T41" fmla="*/ 227 h 289"/>
              <a:gd name="T42" fmla="*/ 257 w 288"/>
              <a:gd name="T43" fmla="*/ 215 h 289"/>
              <a:gd name="T44" fmla="*/ 257 w 288"/>
              <a:gd name="T45" fmla="*/ 215 h 289"/>
              <a:gd name="T46" fmla="*/ 259 w 288"/>
              <a:gd name="T47" fmla="*/ 206 h 289"/>
              <a:gd name="T48" fmla="*/ 259 w 288"/>
              <a:gd name="T49" fmla="*/ 206 h 289"/>
              <a:gd name="T50" fmla="*/ 270 w 288"/>
              <a:gd name="T51" fmla="*/ 195 h 289"/>
              <a:gd name="T52" fmla="*/ 251 w 288"/>
              <a:gd name="T53" fmla="*/ 182 h 289"/>
              <a:gd name="T54" fmla="*/ 243 w 288"/>
              <a:gd name="T55" fmla="*/ 182 h 289"/>
              <a:gd name="T56" fmla="*/ 236 w 288"/>
              <a:gd name="T57" fmla="*/ 179 h 289"/>
              <a:gd name="T58" fmla="*/ 211 w 288"/>
              <a:gd name="T59" fmla="*/ 200 h 289"/>
              <a:gd name="T60" fmla="*/ 190 w 288"/>
              <a:gd name="T61" fmla="*/ 188 h 289"/>
              <a:gd name="T62" fmla="*/ 179 w 288"/>
              <a:gd name="T63" fmla="*/ 191 h 289"/>
              <a:gd name="T64" fmla="*/ 161 w 288"/>
              <a:gd name="T65" fmla="*/ 182 h 289"/>
              <a:gd name="T66" fmla="*/ 167 w 288"/>
              <a:gd name="T67" fmla="*/ 167 h 289"/>
              <a:gd name="T68" fmla="*/ 160 w 288"/>
              <a:gd name="T69" fmla="*/ 153 h 289"/>
              <a:gd name="T70" fmla="*/ 174 w 288"/>
              <a:gd name="T71" fmla="*/ 141 h 289"/>
              <a:gd name="T72" fmla="*/ 164 w 288"/>
              <a:gd name="T73" fmla="*/ 129 h 289"/>
              <a:gd name="T74" fmla="*/ 154 w 288"/>
              <a:gd name="T75" fmla="*/ 134 h 289"/>
              <a:gd name="T76" fmla="*/ 150 w 288"/>
              <a:gd name="T77" fmla="*/ 124 h 289"/>
              <a:gd name="T78" fmla="*/ 150 w 288"/>
              <a:gd name="T79" fmla="*/ 113 h 289"/>
              <a:gd name="T80" fmla="*/ 131 w 288"/>
              <a:gd name="T81" fmla="*/ 43 h 289"/>
              <a:gd name="T82" fmla="*/ 128 w 288"/>
              <a:gd name="T83" fmla="*/ 30 h 289"/>
              <a:gd name="T84" fmla="*/ 119 w 288"/>
              <a:gd name="T85" fmla="*/ 18 h 289"/>
              <a:gd name="T86" fmla="*/ 126 w 288"/>
              <a:gd name="T87" fmla="*/ 7 h 289"/>
              <a:gd name="T88" fmla="*/ 111 w 288"/>
              <a:gd name="T89" fmla="*/ 0 h 289"/>
              <a:gd name="T90" fmla="*/ 102 w 288"/>
              <a:gd name="T91" fmla="*/ 18 h 289"/>
              <a:gd name="T92" fmla="*/ 86 w 288"/>
              <a:gd name="T93" fmla="*/ 30 h 289"/>
              <a:gd name="T94" fmla="*/ 62 w 288"/>
              <a:gd name="T95" fmla="*/ 54 h 289"/>
              <a:gd name="T96" fmla="*/ 35 w 288"/>
              <a:gd name="T97" fmla="*/ 76 h 289"/>
              <a:gd name="T98" fmla="*/ 3 w 288"/>
              <a:gd name="T99" fmla="*/ 91 h 289"/>
              <a:gd name="T100" fmla="*/ 3 w 288"/>
              <a:gd name="T101" fmla="*/ 91 h 289"/>
              <a:gd name="T102" fmla="*/ 0 w 288"/>
              <a:gd name="T103" fmla="*/ 9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88" h="289">
                <a:moveTo>
                  <a:pt x="0" y="93"/>
                </a:moveTo>
                <a:cubicBezTo>
                  <a:pt x="12" y="95"/>
                  <a:pt x="9" y="113"/>
                  <a:pt x="25" y="113"/>
                </a:cubicBezTo>
                <a:cubicBezTo>
                  <a:pt x="31" y="113"/>
                  <a:pt x="35" y="110"/>
                  <a:pt x="40" y="113"/>
                </a:cubicBezTo>
                <a:cubicBezTo>
                  <a:pt x="44" y="116"/>
                  <a:pt x="41" y="126"/>
                  <a:pt x="42" y="131"/>
                </a:cubicBezTo>
                <a:cubicBezTo>
                  <a:pt x="44" y="139"/>
                  <a:pt x="64" y="135"/>
                  <a:pt x="64" y="147"/>
                </a:cubicBezTo>
                <a:cubicBezTo>
                  <a:pt x="64" y="157"/>
                  <a:pt x="70" y="183"/>
                  <a:pt x="80" y="188"/>
                </a:cubicBezTo>
                <a:cubicBezTo>
                  <a:pt x="90" y="189"/>
                  <a:pt x="90" y="194"/>
                  <a:pt x="91" y="200"/>
                </a:cubicBezTo>
                <a:cubicBezTo>
                  <a:pt x="92" y="210"/>
                  <a:pt x="101" y="217"/>
                  <a:pt x="111" y="217"/>
                </a:cubicBezTo>
                <a:cubicBezTo>
                  <a:pt x="121" y="217"/>
                  <a:pt x="128" y="210"/>
                  <a:pt x="139" y="210"/>
                </a:cubicBezTo>
                <a:cubicBezTo>
                  <a:pt x="156" y="210"/>
                  <a:pt x="153" y="226"/>
                  <a:pt x="164" y="231"/>
                </a:cubicBezTo>
                <a:cubicBezTo>
                  <a:pt x="164" y="231"/>
                  <a:pt x="164" y="231"/>
                  <a:pt x="164" y="231"/>
                </a:cubicBezTo>
                <a:cubicBezTo>
                  <a:pt x="185" y="231"/>
                  <a:pt x="185" y="231"/>
                  <a:pt x="185" y="231"/>
                </a:cubicBezTo>
                <a:cubicBezTo>
                  <a:pt x="185" y="231"/>
                  <a:pt x="185" y="231"/>
                  <a:pt x="185" y="231"/>
                </a:cubicBezTo>
                <a:cubicBezTo>
                  <a:pt x="198" y="242"/>
                  <a:pt x="193" y="275"/>
                  <a:pt x="217" y="275"/>
                </a:cubicBezTo>
                <a:cubicBezTo>
                  <a:pt x="222" y="275"/>
                  <a:pt x="224" y="270"/>
                  <a:pt x="230" y="270"/>
                </a:cubicBezTo>
                <a:cubicBezTo>
                  <a:pt x="241" y="270"/>
                  <a:pt x="241" y="289"/>
                  <a:pt x="254" y="289"/>
                </a:cubicBezTo>
                <a:cubicBezTo>
                  <a:pt x="274" y="289"/>
                  <a:pt x="283" y="281"/>
                  <a:pt x="288" y="266"/>
                </a:cubicBezTo>
                <a:cubicBezTo>
                  <a:pt x="288" y="253"/>
                  <a:pt x="277" y="257"/>
                  <a:pt x="273" y="250"/>
                </a:cubicBezTo>
                <a:cubicBezTo>
                  <a:pt x="272" y="248"/>
                  <a:pt x="274" y="244"/>
                  <a:pt x="272" y="242"/>
                </a:cubicBezTo>
                <a:cubicBezTo>
                  <a:pt x="271" y="238"/>
                  <a:pt x="261" y="238"/>
                  <a:pt x="261" y="235"/>
                </a:cubicBezTo>
                <a:cubicBezTo>
                  <a:pt x="261" y="232"/>
                  <a:pt x="265" y="230"/>
                  <a:pt x="265" y="227"/>
                </a:cubicBezTo>
                <a:cubicBezTo>
                  <a:pt x="265" y="220"/>
                  <a:pt x="257" y="221"/>
                  <a:pt x="257" y="215"/>
                </a:cubicBezTo>
                <a:cubicBezTo>
                  <a:pt x="257" y="215"/>
                  <a:pt x="257" y="215"/>
                  <a:pt x="257" y="215"/>
                </a:cubicBezTo>
                <a:cubicBezTo>
                  <a:pt x="259" y="206"/>
                  <a:pt x="259" y="206"/>
                  <a:pt x="259" y="206"/>
                </a:cubicBezTo>
                <a:cubicBezTo>
                  <a:pt x="259" y="206"/>
                  <a:pt x="259" y="206"/>
                  <a:pt x="259" y="206"/>
                </a:cubicBezTo>
                <a:cubicBezTo>
                  <a:pt x="261" y="204"/>
                  <a:pt x="270" y="196"/>
                  <a:pt x="270" y="195"/>
                </a:cubicBezTo>
                <a:cubicBezTo>
                  <a:pt x="270" y="187"/>
                  <a:pt x="255" y="182"/>
                  <a:pt x="251" y="182"/>
                </a:cubicBezTo>
                <a:cubicBezTo>
                  <a:pt x="247" y="182"/>
                  <a:pt x="245" y="182"/>
                  <a:pt x="243" y="182"/>
                </a:cubicBezTo>
                <a:cubicBezTo>
                  <a:pt x="239" y="182"/>
                  <a:pt x="236" y="183"/>
                  <a:pt x="236" y="179"/>
                </a:cubicBezTo>
                <a:cubicBezTo>
                  <a:pt x="229" y="184"/>
                  <a:pt x="219" y="200"/>
                  <a:pt x="211" y="200"/>
                </a:cubicBezTo>
                <a:cubicBezTo>
                  <a:pt x="199" y="200"/>
                  <a:pt x="199" y="188"/>
                  <a:pt x="190" y="188"/>
                </a:cubicBezTo>
                <a:cubicBezTo>
                  <a:pt x="185" y="188"/>
                  <a:pt x="183" y="191"/>
                  <a:pt x="179" y="191"/>
                </a:cubicBezTo>
                <a:cubicBezTo>
                  <a:pt x="175" y="191"/>
                  <a:pt x="161" y="183"/>
                  <a:pt x="161" y="182"/>
                </a:cubicBezTo>
                <a:cubicBezTo>
                  <a:pt x="161" y="173"/>
                  <a:pt x="167" y="175"/>
                  <a:pt x="167" y="167"/>
                </a:cubicBezTo>
                <a:cubicBezTo>
                  <a:pt x="167" y="159"/>
                  <a:pt x="160" y="158"/>
                  <a:pt x="160" y="153"/>
                </a:cubicBezTo>
                <a:cubicBezTo>
                  <a:pt x="160" y="147"/>
                  <a:pt x="174" y="148"/>
                  <a:pt x="174" y="141"/>
                </a:cubicBezTo>
                <a:cubicBezTo>
                  <a:pt x="174" y="136"/>
                  <a:pt x="166" y="129"/>
                  <a:pt x="164" y="129"/>
                </a:cubicBezTo>
                <a:cubicBezTo>
                  <a:pt x="160" y="129"/>
                  <a:pt x="159" y="134"/>
                  <a:pt x="154" y="134"/>
                </a:cubicBezTo>
                <a:cubicBezTo>
                  <a:pt x="150" y="134"/>
                  <a:pt x="150" y="129"/>
                  <a:pt x="150" y="124"/>
                </a:cubicBezTo>
                <a:cubicBezTo>
                  <a:pt x="150" y="123"/>
                  <a:pt x="150" y="116"/>
                  <a:pt x="150" y="113"/>
                </a:cubicBezTo>
                <a:cubicBezTo>
                  <a:pt x="150" y="82"/>
                  <a:pt x="131" y="76"/>
                  <a:pt x="131" y="43"/>
                </a:cubicBezTo>
                <a:cubicBezTo>
                  <a:pt x="131" y="39"/>
                  <a:pt x="128" y="34"/>
                  <a:pt x="128" y="30"/>
                </a:cubicBezTo>
                <a:cubicBezTo>
                  <a:pt x="126" y="27"/>
                  <a:pt x="119" y="24"/>
                  <a:pt x="119" y="18"/>
                </a:cubicBezTo>
                <a:cubicBezTo>
                  <a:pt x="119" y="13"/>
                  <a:pt x="124" y="12"/>
                  <a:pt x="126" y="7"/>
                </a:cubicBezTo>
                <a:cubicBezTo>
                  <a:pt x="119" y="6"/>
                  <a:pt x="117" y="0"/>
                  <a:pt x="111" y="0"/>
                </a:cubicBezTo>
                <a:cubicBezTo>
                  <a:pt x="101" y="0"/>
                  <a:pt x="106" y="13"/>
                  <a:pt x="102" y="18"/>
                </a:cubicBezTo>
                <a:cubicBezTo>
                  <a:pt x="97" y="25"/>
                  <a:pt x="90" y="24"/>
                  <a:pt x="86" y="30"/>
                </a:cubicBezTo>
                <a:cubicBezTo>
                  <a:pt x="79" y="38"/>
                  <a:pt x="76" y="54"/>
                  <a:pt x="62" y="54"/>
                </a:cubicBezTo>
                <a:cubicBezTo>
                  <a:pt x="49" y="54"/>
                  <a:pt x="41" y="71"/>
                  <a:pt x="35" y="76"/>
                </a:cubicBezTo>
                <a:cubicBezTo>
                  <a:pt x="25" y="83"/>
                  <a:pt x="5" y="78"/>
                  <a:pt x="3" y="91"/>
                </a:cubicBezTo>
                <a:cubicBezTo>
                  <a:pt x="3" y="91"/>
                  <a:pt x="3" y="91"/>
                  <a:pt x="3" y="91"/>
                </a:cubicBezTo>
                <a:cubicBezTo>
                  <a:pt x="0" y="93"/>
                  <a:pt x="0" y="93"/>
                  <a:pt x="0" y="93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3" name="Freeform 54"/>
          <p:cNvSpPr>
            <a:spLocks/>
          </p:cNvSpPr>
          <p:nvPr/>
        </p:nvSpPr>
        <p:spPr bwMode="auto">
          <a:xfrm>
            <a:off x="5986497" y="3217691"/>
            <a:ext cx="949023" cy="671875"/>
          </a:xfrm>
          <a:custGeom>
            <a:avLst/>
            <a:gdLst>
              <a:gd name="T0" fmla="*/ 92 w 209"/>
              <a:gd name="T1" fmla="*/ 144 h 148"/>
              <a:gd name="T2" fmla="*/ 111 w 209"/>
              <a:gd name="T3" fmla="*/ 128 h 148"/>
              <a:gd name="T4" fmla="*/ 129 w 209"/>
              <a:gd name="T5" fmla="*/ 105 h 148"/>
              <a:gd name="T6" fmla="*/ 124 w 209"/>
              <a:gd name="T7" fmla="*/ 89 h 148"/>
              <a:gd name="T8" fmla="*/ 148 w 209"/>
              <a:gd name="T9" fmla="*/ 68 h 148"/>
              <a:gd name="T10" fmla="*/ 163 w 209"/>
              <a:gd name="T11" fmla="*/ 75 h 148"/>
              <a:gd name="T12" fmla="*/ 163 w 209"/>
              <a:gd name="T13" fmla="*/ 75 h 148"/>
              <a:gd name="T14" fmla="*/ 163 w 209"/>
              <a:gd name="T15" fmla="*/ 74 h 148"/>
              <a:gd name="T16" fmla="*/ 163 w 209"/>
              <a:gd name="T17" fmla="*/ 74 h 148"/>
              <a:gd name="T18" fmla="*/ 183 w 209"/>
              <a:gd name="T19" fmla="*/ 55 h 148"/>
              <a:gd name="T20" fmla="*/ 194 w 209"/>
              <a:gd name="T21" fmla="*/ 60 h 148"/>
              <a:gd name="T22" fmla="*/ 209 w 209"/>
              <a:gd name="T23" fmla="*/ 54 h 148"/>
              <a:gd name="T24" fmla="*/ 209 w 209"/>
              <a:gd name="T25" fmla="*/ 54 h 148"/>
              <a:gd name="T26" fmla="*/ 209 w 209"/>
              <a:gd name="T27" fmla="*/ 48 h 148"/>
              <a:gd name="T28" fmla="*/ 209 w 209"/>
              <a:gd name="T29" fmla="*/ 48 h 148"/>
              <a:gd name="T30" fmla="*/ 188 w 209"/>
              <a:gd name="T31" fmla="*/ 21 h 148"/>
              <a:gd name="T32" fmla="*/ 168 w 209"/>
              <a:gd name="T33" fmla="*/ 16 h 148"/>
              <a:gd name="T34" fmla="*/ 157 w 209"/>
              <a:gd name="T35" fmla="*/ 0 h 148"/>
              <a:gd name="T36" fmla="*/ 135 w 209"/>
              <a:gd name="T37" fmla="*/ 12 h 148"/>
              <a:gd name="T38" fmla="*/ 114 w 209"/>
              <a:gd name="T39" fmla="*/ 10 h 148"/>
              <a:gd name="T40" fmla="*/ 114 w 209"/>
              <a:gd name="T41" fmla="*/ 10 h 148"/>
              <a:gd name="T42" fmla="*/ 100 w 209"/>
              <a:gd name="T43" fmla="*/ 10 h 148"/>
              <a:gd name="T44" fmla="*/ 100 w 209"/>
              <a:gd name="T45" fmla="*/ 10 h 148"/>
              <a:gd name="T46" fmla="*/ 86 w 209"/>
              <a:gd name="T47" fmla="*/ 26 h 148"/>
              <a:gd name="T48" fmla="*/ 75 w 209"/>
              <a:gd name="T49" fmla="*/ 17 h 148"/>
              <a:gd name="T50" fmla="*/ 60 w 209"/>
              <a:gd name="T51" fmla="*/ 27 h 148"/>
              <a:gd name="T52" fmla="*/ 0 w 209"/>
              <a:gd name="T53" fmla="*/ 68 h 148"/>
              <a:gd name="T54" fmla="*/ 9 w 209"/>
              <a:gd name="T55" fmla="*/ 79 h 148"/>
              <a:gd name="T56" fmla="*/ 9 w 209"/>
              <a:gd name="T57" fmla="*/ 79 h 148"/>
              <a:gd name="T58" fmla="*/ 9 w 209"/>
              <a:gd name="T59" fmla="*/ 84 h 148"/>
              <a:gd name="T60" fmla="*/ 9 w 209"/>
              <a:gd name="T61" fmla="*/ 84 h 148"/>
              <a:gd name="T62" fmla="*/ 6 w 209"/>
              <a:gd name="T63" fmla="*/ 90 h 148"/>
              <a:gd name="T64" fmla="*/ 25 w 209"/>
              <a:gd name="T65" fmla="*/ 101 h 148"/>
              <a:gd name="T66" fmla="*/ 36 w 209"/>
              <a:gd name="T67" fmla="*/ 130 h 148"/>
              <a:gd name="T68" fmla="*/ 50 w 209"/>
              <a:gd name="T69" fmla="*/ 148 h 148"/>
              <a:gd name="T70" fmla="*/ 82 w 209"/>
              <a:gd name="T71" fmla="*/ 134 h 148"/>
              <a:gd name="T72" fmla="*/ 92 w 209"/>
              <a:gd name="T73" fmla="*/ 145 h 148"/>
              <a:gd name="T74" fmla="*/ 92 w 209"/>
              <a:gd name="T75" fmla="*/ 145 h 148"/>
              <a:gd name="T76" fmla="*/ 92 w 209"/>
              <a:gd name="T77" fmla="*/ 144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9" h="148">
                <a:moveTo>
                  <a:pt x="92" y="144"/>
                </a:moveTo>
                <a:cubicBezTo>
                  <a:pt x="92" y="137"/>
                  <a:pt x="109" y="134"/>
                  <a:pt x="111" y="128"/>
                </a:cubicBezTo>
                <a:cubicBezTo>
                  <a:pt x="118" y="116"/>
                  <a:pt x="109" y="105"/>
                  <a:pt x="129" y="105"/>
                </a:cubicBezTo>
                <a:cubicBezTo>
                  <a:pt x="129" y="103"/>
                  <a:pt x="124" y="90"/>
                  <a:pt x="124" y="89"/>
                </a:cubicBezTo>
                <a:cubicBezTo>
                  <a:pt x="124" y="75"/>
                  <a:pt x="136" y="68"/>
                  <a:pt x="148" y="68"/>
                </a:cubicBezTo>
                <a:cubicBezTo>
                  <a:pt x="155" y="68"/>
                  <a:pt x="158" y="73"/>
                  <a:pt x="163" y="75"/>
                </a:cubicBezTo>
                <a:cubicBezTo>
                  <a:pt x="163" y="75"/>
                  <a:pt x="163" y="75"/>
                  <a:pt x="163" y="75"/>
                </a:cubicBezTo>
                <a:cubicBezTo>
                  <a:pt x="163" y="74"/>
                  <a:pt x="163" y="74"/>
                  <a:pt x="163" y="74"/>
                </a:cubicBezTo>
                <a:cubicBezTo>
                  <a:pt x="163" y="74"/>
                  <a:pt x="163" y="74"/>
                  <a:pt x="163" y="74"/>
                </a:cubicBezTo>
                <a:cubicBezTo>
                  <a:pt x="163" y="68"/>
                  <a:pt x="174" y="55"/>
                  <a:pt x="183" y="55"/>
                </a:cubicBezTo>
                <a:cubicBezTo>
                  <a:pt x="188" y="55"/>
                  <a:pt x="189" y="60"/>
                  <a:pt x="194" y="60"/>
                </a:cubicBezTo>
                <a:cubicBezTo>
                  <a:pt x="199" y="60"/>
                  <a:pt x="201" y="54"/>
                  <a:pt x="209" y="54"/>
                </a:cubicBezTo>
                <a:cubicBezTo>
                  <a:pt x="209" y="54"/>
                  <a:pt x="209" y="54"/>
                  <a:pt x="209" y="54"/>
                </a:cubicBezTo>
                <a:cubicBezTo>
                  <a:pt x="209" y="48"/>
                  <a:pt x="209" y="48"/>
                  <a:pt x="209" y="48"/>
                </a:cubicBezTo>
                <a:cubicBezTo>
                  <a:pt x="209" y="48"/>
                  <a:pt x="209" y="48"/>
                  <a:pt x="209" y="48"/>
                </a:cubicBezTo>
                <a:cubicBezTo>
                  <a:pt x="205" y="44"/>
                  <a:pt x="188" y="23"/>
                  <a:pt x="188" y="21"/>
                </a:cubicBezTo>
                <a:cubicBezTo>
                  <a:pt x="183" y="21"/>
                  <a:pt x="172" y="18"/>
                  <a:pt x="168" y="16"/>
                </a:cubicBezTo>
                <a:cubicBezTo>
                  <a:pt x="163" y="14"/>
                  <a:pt x="167" y="0"/>
                  <a:pt x="157" y="0"/>
                </a:cubicBezTo>
                <a:cubicBezTo>
                  <a:pt x="150" y="0"/>
                  <a:pt x="146" y="12"/>
                  <a:pt x="135" y="12"/>
                </a:cubicBezTo>
                <a:cubicBezTo>
                  <a:pt x="129" y="12"/>
                  <a:pt x="119" y="11"/>
                  <a:pt x="114" y="10"/>
                </a:cubicBezTo>
                <a:cubicBezTo>
                  <a:pt x="114" y="10"/>
                  <a:pt x="114" y="10"/>
                  <a:pt x="114" y="10"/>
                </a:cubicBezTo>
                <a:cubicBezTo>
                  <a:pt x="100" y="10"/>
                  <a:pt x="100" y="10"/>
                  <a:pt x="100" y="10"/>
                </a:cubicBezTo>
                <a:cubicBezTo>
                  <a:pt x="100" y="10"/>
                  <a:pt x="100" y="10"/>
                  <a:pt x="100" y="10"/>
                </a:cubicBezTo>
                <a:cubicBezTo>
                  <a:pt x="100" y="21"/>
                  <a:pt x="95" y="26"/>
                  <a:pt x="86" y="26"/>
                </a:cubicBezTo>
                <a:cubicBezTo>
                  <a:pt x="81" y="26"/>
                  <a:pt x="79" y="17"/>
                  <a:pt x="75" y="17"/>
                </a:cubicBezTo>
                <a:cubicBezTo>
                  <a:pt x="70" y="17"/>
                  <a:pt x="67" y="27"/>
                  <a:pt x="60" y="27"/>
                </a:cubicBezTo>
                <a:cubicBezTo>
                  <a:pt x="56" y="59"/>
                  <a:pt x="0" y="41"/>
                  <a:pt x="0" y="68"/>
                </a:cubicBezTo>
                <a:cubicBezTo>
                  <a:pt x="0" y="76"/>
                  <a:pt x="3" y="77"/>
                  <a:pt x="9" y="79"/>
                </a:cubicBezTo>
                <a:cubicBezTo>
                  <a:pt x="9" y="79"/>
                  <a:pt x="9" y="79"/>
                  <a:pt x="9" y="79"/>
                </a:cubicBezTo>
                <a:cubicBezTo>
                  <a:pt x="9" y="84"/>
                  <a:pt x="9" y="84"/>
                  <a:pt x="9" y="84"/>
                </a:cubicBezTo>
                <a:cubicBezTo>
                  <a:pt x="9" y="84"/>
                  <a:pt x="9" y="84"/>
                  <a:pt x="9" y="84"/>
                </a:cubicBezTo>
                <a:cubicBezTo>
                  <a:pt x="8" y="86"/>
                  <a:pt x="6" y="87"/>
                  <a:pt x="6" y="90"/>
                </a:cubicBezTo>
                <a:cubicBezTo>
                  <a:pt x="6" y="98"/>
                  <a:pt x="20" y="101"/>
                  <a:pt x="25" y="101"/>
                </a:cubicBezTo>
                <a:cubicBezTo>
                  <a:pt x="36" y="101"/>
                  <a:pt x="36" y="123"/>
                  <a:pt x="36" y="130"/>
                </a:cubicBezTo>
                <a:cubicBezTo>
                  <a:pt x="36" y="139"/>
                  <a:pt x="43" y="148"/>
                  <a:pt x="50" y="148"/>
                </a:cubicBezTo>
                <a:cubicBezTo>
                  <a:pt x="59" y="148"/>
                  <a:pt x="71" y="134"/>
                  <a:pt x="82" y="134"/>
                </a:cubicBezTo>
                <a:cubicBezTo>
                  <a:pt x="82" y="137"/>
                  <a:pt x="92" y="145"/>
                  <a:pt x="92" y="145"/>
                </a:cubicBezTo>
                <a:cubicBezTo>
                  <a:pt x="92" y="145"/>
                  <a:pt x="92" y="145"/>
                  <a:pt x="92" y="145"/>
                </a:cubicBezTo>
                <a:cubicBezTo>
                  <a:pt x="92" y="144"/>
                  <a:pt x="92" y="144"/>
                  <a:pt x="92" y="144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4" name="Freeform 55"/>
          <p:cNvSpPr>
            <a:spLocks/>
          </p:cNvSpPr>
          <p:nvPr/>
        </p:nvSpPr>
        <p:spPr bwMode="auto">
          <a:xfrm>
            <a:off x="5882917" y="2568212"/>
            <a:ext cx="520702" cy="473110"/>
          </a:xfrm>
          <a:custGeom>
            <a:avLst/>
            <a:gdLst>
              <a:gd name="T0" fmla="*/ 63 w 115"/>
              <a:gd name="T1" fmla="*/ 96 h 104"/>
              <a:gd name="T2" fmla="*/ 84 w 115"/>
              <a:gd name="T3" fmla="*/ 75 h 104"/>
              <a:gd name="T4" fmla="*/ 115 w 115"/>
              <a:gd name="T5" fmla="*/ 56 h 104"/>
              <a:gd name="T6" fmla="*/ 83 w 115"/>
              <a:gd name="T7" fmla="*/ 9 h 104"/>
              <a:gd name="T8" fmla="*/ 78 w 115"/>
              <a:gd name="T9" fmla="*/ 14 h 104"/>
              <a:gd name="T10" fmla="*/ 57 w 115"/>
              <a:gd name="T11" fmla="*/ 0 h 104"/>
              <a:gd name="T12" fmla="*/ 48 w 115"/>
              <a:gd name="T13" fmla="*/ 0 h 104"/>
              <a:gd name="T14" fmla="*/ 42 w 115"/>
              <a:gd name="T15" fmla="*/ 4 h 104"/>
              <a:gd name="T16" fmla="*/ 32 w 115"/>
              <a:gd name="T17" fmla="*/ 4 h 104"/>
              <a:gd name="T18" fmla="*/ 20 w 115"/>
              <a:gd name="T19" fmla="*/ 30 h 104"/>
              <a:gd name="T20" fmla="*/ 29 w 115"/>
              <a:gd name="T21" fmla="*/ 38 h 104"/>
              <a:gd name="T22" fmla="*/ 29 w 115"/>
              <a:gd name="T23" fmla="*/ 45 h 104"/>
              <a:gd name="T24" fmla="*/ 0 w 115"/>
              <a:gd name="T25" fmla="*/ 84 h 104"/>
              <a:gd name="T26" fmla="*/ 14 w 115"/>
              <a:gd name="T27" fmla="*/ 104 h 104"/>
              <a:gd name="T28" fmla="*/ 35 w 115"/>
              <a:gd name="T29" fmla="*/ 93 h 104"/>
              <a:gd name="T30" fmla="*/ 62 w 115"/>
              <a:gd name="T31" fmla="*/ 96 h 104"/>
              <a:gd name="T32" fmla="*/ 62 w 115"/>
              <a:gd name="T33" fmla="*/ 96 h 104"/>
              <a:gd name="T34" fmla="*/ 63 w 115"/>
              <a:gd name="T35" fmla="*/ 9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15" h="104">
                <a:moveTo>
                  <a:pt x="63" y="96"/>
                </a:moveTo>
                <a:cubicBezTo>
                  <a:pt x="63" y="84"/>
                  <a:pt x="83" y="93"/>
                  <a:pt x="84" y="75"/>
                </a:cubicBezTo>
                <a:cubicBezTo>
                  <a:pt x="99" y="75"/>
                  <a:pt x="111" y="68"/>
                  <a:pt x="115" y="56"/>
                </a:cubicBezTo>
                <a:cubicBezTo>
                  <a:pt x="93" y="56"/>
                  <a:pt x="104" y="9"/>
                  <a:pt x="83" y="9"/>
                </a:cubicBezTo>
                <a:cubicBezTo>
                  <a:pt x="80" y="9"/>
                  <a:pt x="79" y="14"/>
                  <a:pt x="78" y="14"/>
                </a:cubicBezTo>
                <a:cubicBezTo>
                  <a:pt x="68" y="14"/>
                  <a:pt x="67" y="0"/>
                  <a:pt x="57" y="0"/>
                </a:cubicBezTo>
                <a:cubicBezTo>
                  <a:pt x="53" y="0"/>
                  <a:pt x="50" y="3"/>
                  <a:pt x="48" y="0"/>
                </a:cubicBezTo>
                <a:cubicBezTo>
                  <a:pt x="46" y="3"/>
                  <a:pt x="43" y="4"/>
                  <a:pt x="42" y="4"/>
                </a:cubicBezTo>
                <a:cubicBezTo>
                  <a:pt x="39" y="4"/>
                  <a:pt x="35" y="4"/>
                  <a:pt x="32" y="4"/>
                </a:cubicBezTo>
                <a:cubicBezTo>
                  <a:pt x="32" y="21"/>
                  <a:pt x="20" y="18"/>
                  <a:pt x="20" y="30"/>
                </a:cubicBezTo>
                <a:cubicBezTo>
                  <a:pt x="20" y="36"/>
                  <a:pt x="24" y="38"/>
                  <a:pt x="29" y="38"/>
                </a:cubicBezTo>
                <a:cubicBezTo>
                  <a:pt x="29" y="41"/>
                  <a:pt x="29" y="45"/>
                  <a:pt x="29" y="45"/>
                </a:cubicBezTo>
                <a:cubicBezTo>
                  <a:pt x="29" y="62"/>
                  <a:pt x="0" y="62"/>
                  <a:pt x="0" y="84"/>
                </a:cubicBezTo>
                <a:cubicBezTo>
                  <a:pt x="0" y="91"/>
                  <a:pt x="7" y="104"/>
                  <a:pt x="14" y="104"/>
                </a:cubicBezTo>
                <a:cubicBezTo>
                  <a:pt x="24" y="104"/>
                  <a:pt x="26" y="93"/>
                  <a:pt x="35" y="93"/>
                </a:cubicBezTo>
                <a:cubicBezTo>
                  <a:pt x="45" y="93"/>
                  <a:pt x="52" y="96"/>
                  <a:pt x="62" y="96"/>
                </a:cubicBezTo>
                <a:cubicBezTo>
                  <a:pt x="62" y="96"/>
                  <a:pt x="62" y="96"/>
                  <a:pt x="62" y="96"/>
                </a:cubicBezTo>
                <a:cubicBezTo>
                  <a:pt x="63" y="96"/>
                  <a:pt x="63" y="96"/>
                  <a:pt x="63" y="9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5" name="Freeform 56"/>
          <p:cNvSpPr>
            <a:spLocks/>
          </p:cNvSpPr>
          <p:nvPr/>
        </p:nvSpPr>
        <p:spPr bwMode="auto">
          <a:xfrm>
            <a:off x="5121458" y="2243472"/>
            <a:ext cx="979817" cy="674675"/>
          </a:xfrm>
          <a:custGeom>
            <a:avLst/>
            <a:gdLst>
              <a:gd name="T0" fmla="*/ 0 w 216"/>
              <a:gd name="T1" fmla="*/ 48 h 149"/>
              <a:gd name="T2" fmla="*/ 23 w 216"/>
              <a:gd name="T3" fmla="*/ 28 h 149"/>
              <a:gd name="T4" fmla="*/ 23 w 216"/>
              <a:gd name="T5" fmla="*/ 19 h 149"/>
              <a:gd name="T6" fmla="*/ 27 w 216"/>
              <a:gd name="T7" fmla="*/ 1 h 149"/>
              <a:gd name="T8" fmla="*/ 34 w 216"/>
              <a:gd name="T9" fmla="*/ 1 h 149"/>
              <a:gd name="T10" fmla="*/ 45 w 216"/>
              <a:gd name="T11" fmla="*/ 12 h 149"/>
              <a:gd name="T12" fmla="*/ 86 w 216"/>
              <a:gd name="T13" fmla="*/ 19 h 149"/>
              <a:gd name="T14" fmla="*/ 97 w 216"/>
              <a:gd name="T15" fmla="*/ 28 h 149"/>
              <a:gd name="T16" fmla="*/ 129 w 216"/>
              <a:gd name="T17" fmla="*/ 16 h 149"/>
              <a:gd name="T18" fmla="*/ 146 w 216"/>
              <a:gd name="T19" fmla="*/ 34 h 149"/>
              <a:gd name="T20" fmla="*/ 155 w 216"/>
              <a:gd name="T21" fmla="*/ 30 h 149"/>
              <a:gd name="T22" fmla="*/ 162 w 216"/>
              <a:gd name="T23" fmla="*/ 39 h 149"/>
              <a:gd name="T24" fmla="*/ 168 w 216"/>
              <a:gd name="T25" fmla="*/ 35 h 149"/>
              <a:gd name="T26" fmla="*/ 189 w 216"/>
              <a:gd name="T27" fmla="*/ 45 h 149"/>
              <a:gd name="T28" fmla="*/ 189 w 216"/>
              <a:gd name="T29" fmla="*/ 45 h 149"/>
              <a:gd name="T30" fmla="*/ 191 w 216"/>
              <a:gd name="T31" fmla="*/ 48 h 149"/>
              <a:gd name="T32" fmla="*/ 191 w 216"/>
              <a:gd name="T33" fmla="*/ 48 h 149"/>
              <a:gd name="T34" fmla="*/ 194 w 216"/>
              <a:gd name="T35" fmla="*/ 54 h 149"/>
              <a:gd name="T36" fmla="*/ 208 w 216"/>
              <a:gd name="T37" fmla="*/ 48 h 149"/>
              <a:gd name="T38" fmla="*/ 214 w 216"/>
              <a:gd name="T39" fmla="*/ 67 h 149"/>
              <a:gd name="T40" fmla="*/ 216 w 216"/>
              <a:gd name="T41" fmla="*/ 72 h 149"/>
              <a:gd name="T42" fmla="*/ 210 w 216"/>
              <a:gd name="T43" fmla="*/ 76 h 149"/>
              <a:gd name="T44" fmla="*/ 200 w 216"/>
              <a:gd name="T45" fmla="*/ 76 h 149"/>
              <a:gd name="T46" fmla="*/ 188 w 216"/>
              <a:gd name="T47" fmla="*/ 102 h 149"/>
              <a:gd name="T48" fmla="*/ 197 w 216"/>
              <a:gd name="T49" fmla="*/ 110 h 149"/>
              <a:gd name="T50" fmla="*/ 197 w 216"/>
              <a:gd name="T51" fmla="*/ 117 h 149"/>
              <a:gd name="T52" fmla="*/ 170 w 216"/>
              <a:gd name="T53" fmla="*/ 149 h 149"/>
              <a:gd name="T54" fmla="*/ 150 w 216"/>
              <a:gd name="T55" fmla="*/ 131 h 149"/>
              <a:gd name="T56" fmla="*/ 138 w 216"/>
              <a:gd name="T57" fmla="*/ 136 h 149"/>
              <a:gd name="T58" fmla="*/ 129 w 216"/>
              <a:gd name="T59" fmla="*/ 129 h 149"/>
              <a:gd name="T60" fmla="*/ 106 w 216"/>
              <a:gd name="T61" fmla="*/ 110 h 149"/>
              <a:gd name="T62" fmla="*/ 96 w 216"/>
              <a:gd name="T63" fmla="*/ 118 h 149"/>
              <a:gd name="T64" fmla="*/ 85 w 216"/>
              <a:gd name="T65" fmla="*/ 118 h 149"/>
              <a:gd name="T66" fmla="*/ 53 w 216"/>
              <a:gd name="T67" fmla="*/ 92 h 149"/>
              <a:gd name="T68" fmla="*/ 43 w 216"/>
              <a:gd name="T69" fmla="*/ 92 h 149"/>
              <a:gd name="T70" fmla="*/ 0 w 216"/>
              <a:gd name="T71" fmla="*/ 48 h 149"/>
              <a:gd name="T72" fmla="*/ 0 w 216"/>
              <a:gd name="T73" fmla="*/ 48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16" h="149">
                <a:moveTo>
                  <a:pt x="0" y="48"/>
                </a:moveTo>
                <a:cubicBezTo>
                  <a:pt x="6" y="48"/>
                  <a:pt x="23" y="34"/>
                  <a:pt x="23" y="28"/>
                </a:cubicBezTo>
                <a:cubicBezTo>
                  <a:pt x="23" y="24"/>
                  <a:pt x="23" y="23"/>
                  <a:pt x="23" y="19"/>
                </a:cubicBezTo>
                <a:cubicBezTo>
                  <a:pt x="23" y="14"/>
                  <a:pt x="26" y="8"/>
                  <a:pt x="27" y="1"/>
                </a:cubicBezTo>
                <a:cubicBezTo>
                  <a:pt x="29" y="1"/>
                  <a:pt x="32" y="0"/>
                  <a:pt x="34" y="1"/>
                </a:cubicBezTo>
                <a:cubicBezTo>
                  <a:pt x="42" y="3"/>
                  <a:pt x="40" y="11"/>
                  <a:pt x="45" y="12"/>
                </a:cubicBezTo>
                <a:cubicBezTo>
                  <a:pt x="65" y="18"/>
                  <a:pt x="70" y="13"/>
                  <a:pt x="86" y="19"/>
                </a:cubicBezTo>
                <a:cubicBezTo>
                  <a:pt x="91" y="22"/>
                  <a:pt x="92" y="28"/>
                  <a:pt x="97" y="28"/>
                </a:cubicBezTo>
                <a:cubicBezTo>
                  <a:pt x="111" y="28"/>
                  <a:pt x="120" y="16"/>
                  <a:pt x="129" y="16"/>
                </a:cubicBezTo>
                <a:cubicBezTo>
                  <a:pt x="144" y="16"/>
                  <a:pt x="139" y="34"/>
                  <a:pt x="146" y="34"/>
                </a:cubicBezTo>
                <a:cubicBezTo>
                  <a:pt x="149" y="34"/>
                  <a:pt x="152" y="30"/>
                  <a:pt x="155" y="30"/>
                </a:cubicBezTo>
                <a:cubicBezTo>
                  <a:pt x="156" y="35"/>
                  <a:pt x="159" y="39"/>
                  <a:pt x="162" y="39"/>
                </a:cubicBezTo>
                <a:cubicBezTo>
                  <a:pt x="165" y="39"/>
                  <a:pt x="166" y="35"/>
                  <a:pt x="168" y="35"/>
                </a:cubicBezTo>
                <a:cubicBezTo>
                  <a:pt x="175" y="35"/>
                  <a:pt x="179" y="45"/>
                  <a:pt x="189" y="45"/>
                </a:cubicBezTo>
                <a:cubicBezTo>
                  <a:pt x="189" y="45"/>
                  <a:pt x="189" y="45"/>
                  <a:pt x="189" y="45"/>
                </a:cubicBezTo>
                <a:cubicBezTo>
                  <a:pt x="191" y="48"/>
                  <a:pt x="191" y="48"/>
                  <a:pt x="191" y="48"/>
                </a:cubicBezTo>
                <a:cubicBezTo>
                  <a:pt x="191" y="48"/>
                  <a:pt x="191" y="48"/>
                  <a:pt x="191" y="48"/>
                </a:cubicBezTo>
                <a:cubicBezTo>
                  <a:pt x="191" y="51"/>
                  <a:pt x="192" y="54"/>
                  <a:pt x="194" y="54"/>
                </a:cubicBezTo>
                <a:cubicBezTo>
                  <a:pt x="200" y="54"/>
                  <a:pt x="203" y="48"/>
                  <a:pt x="208" y="48"/>
                </a:cubicBezTo>
                <a:cubicBezTo>
                  <a:pt x="216" y="48"/>
                  <a:pt x="213" y="61"/>
                  <a:pt x="214" y="67"/>
                </a:cubicBezTo>
                <a:cubicBezTo>
                  <a:pt x="214" y="70"/>
                  <a:pt x="215" y="72"/>
                  <a:pt x="216" y="72"/>
                </a:cubicBezTo>
                <a:cubicBezTo>
                  <a:pt x="214" y="75"/>
                  <a:pt x="211" y="76"/>
                  <a:pt x="210" y="76"/>
                </a:cubicBezTo>
                <a:cubicBezTo>
                  <a:pt x="207" y="76"/>
                  <a:pt x="203" y="76"/>
                  <a:pt x="200" y="76"/>
                </a:cubicBezTo>
                <a:cubicBezTo>
                  <a:pt x="200" y="93"/>
                  <a:pt x="188" y="90"/>
                  <a:pt x="188" y="102"/>
                </a:cubicBezTo>
                <a:cubicBezTo>
                  <a:pt x="188" y="108"/>
                  <a:pt x="192" y="110"/>
                  <a:pt x="197" y="110"/>
                </a:cubicBezTo>
                <a:cubicBezTo>
                  <a:pt x="197" y="113"/>
                  <a:pt x="197" y="117"/>
                  <a:pt x="197" y="117"/>
                </a:cubicBezTo>
                <a:cubicBezTo>
                  <a:pt x="197" y="131"/>
                  <a:pt x="175" y="133"/>
                  <a:pt x="170" y="149"/>
                </a:cubicBezTo>
                <a:cubicBezTo>
                  <a:pt x="166" y="140"/>
                  <a:pt x="163" y="131"/>
                  <a:pt x="150" y="131"/>
                </a:cubicBezTo>
                <a:cubicBezTo>
                  <a:pt x="145" y="131"/>
                  <a:pt x="141" y="136"/>
                  <a:pt x="138" y="136"/>
                </a:cubicBezTo>
                <a:cubicBezTo>
                  <a:pt x="133" y="136"/>
                  <a:pt x="133" y="131"/>
                  <a:pt x="129" y="129"/>
                </a:cubicBezTo>
                <a:cubicBezTo>
                  <a:pt x="115" y="122"/>
                  <a:pt x="111" y="131"/>
                  <a:pt x="106" y="110"/>
                </a:cubicBezTo>
                <a:cubicBezTo>
                  <a:pt x="101" y="112"/>
                  <a:pt x="100" y="118"/>
                  <a:pt x="96" y="118"/>
                </a:cubicBezTo>
                <a:cubicBezTo>
                  <a:pt x="92" y="118"/>
                  <a:pt x="88" y="118"/>
                  <a:pt x="85" y="118"/>
                </a:cubicBezTo>
                <a:cubicBezTo>
                  <a:pt x="66" y="118"/>
                  <a:pt x="74" y="92"/>
                  <a:pt x="53" y="92"/>
                </a:cubicBezTo>
                <a:cubicBezTo>
                  <a:pt x="52" y="92"/>
                  <a:pt x="48" y="92"/>
                  <a:pt x="43" y="92"/>
                </a:cubicBezTo>
                <a:cubicBezTo>
                  <a:pt x="22" y="92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6" name="Freeform 57"/>
          <p:cNvSpPr>
            <a:spLocks/>
          </p:cNvSpPr>
          <p:nvPr/>
        </p:nvSpPr>
        <p:spPr bwMode="auto">
          <a:xfrm>
            <a:off x="4810718" y="2433838"/>
            <a:ext cx="671875" cy="534701"/>
          </a:xfrm>
          <a:custGeom>
            <a:avLst/>
            <a:gdLst>
              <a:gd name="T0" fmla="*/ 68 w 148"/>
              <a:gd name="T1" fmla="*/ 6 h 118"/>
              <a:gd name="T2" fmla="*/ 60 w 148"/>
              <a:gd name="T3" fmla="*/ 0 h 118"/>
              <a:gd name="T4" fmla="*/ 54 w 148"/>
              <a:gd name="T5" fmla="*/ 3 h 118"/>
              <a:gd name="T6" fmla="*/ 42 w 148"/>
              <a:gd name="T7" fmla="*/ 12 h 118"/>
              <a:gd name="T8" fmla="*/ 19 w 148"/>
              <a:gd name="T9" fmla="*/ 30 h 118"/>
              <a:gd name="T10" fmla="*/ 10 w 148"/>
              <a:gd name="T11" fmla="*/ 62 h 118"/>
              <a:gd name="T12" fmla="*/ 11 w 148"/>
              <a:gd name="T13" fmla="*/ 78 h 118"/>
              <a:gd name="T14" fmla="*/ 0 w 148"/>
              <a:gd name="T15" fmla="*/ 81 h 118"/>
              <a:gd name="T16" fmla="*/ 10 w 148"/>
              <a:gd name="T17" fmla="*/ 100 h 118"/>
              <a:gd name="T18" fmla="*/ 8 w 148"/>
              <a:gd name="T19" fmla="*/ 110 h 118"/>
              <a:gd name="T20" fmla="*/ 20 w 148"/>
              <a:gd name="T21" fmla="*/ 116 h 118"/>
              <a:gd name="T22" fmla="*/ 72 w 148"/>
              <a:gd name="T23" fmla="*/ 98 h 118"/>
              <a:gd name="T24" fmla="*/ 81 w 148"/>
              <a:gd name="T25" fmla="*/ 114 h 118"/>
              <a:gd name="T26" fmla="*/ 86 w 148"/>
              <a:gd name="T27" fmla="*/ 110 h 118"/>
              <a:gd name="T28" fmla="*/ 96 w 148"/>
              <a:gd name="T29" fmla="*/ 118 h 118"/>
              <a:gd name="T30" fmla="*/ 105 w 148"/>
              <a:gd name="T31" fmla="*/ 111 h 118"/>
              <a:gd name="T32" fmla="*/ 148 w 148"/>
              <a:gd name="T33" fmla="*/ 75 h 118"/>
              <a:gd name="T34" fmla="*/ 121 w 148"/>
              <a:gd name="T35" fmla="*/ 50 h 118"/>
              <a:gd name="T36" fmla="*/ 111 w 148"/>
              <a:gd name="T37" fmla="*/ 50 h 118"/>
              <a:gd name="T38" fmla="*/ 65 w 148"/>
              <a:gd name="T39" fmla="*/ 3 h 118"/>
              <a:gd name="T40" fmla="*/ 65 w 148"/>
              <a:gd name="T41" fmla="*/ 3 h 118"/>
              <a:gd name="T42" fmla="*/ 68 w 148"/>
              <a:gd name="T43" fmla="*/ 6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8" h="118">
                <a:moveTo>
                  <a:pt x="68" y="6"/>
                </a:moveTo>
                <a:cubicBezTo>
                  <a:pt x="64" y="6"/>
                  <a:pt x="63" y="0"/>
                  <a:pt x="60" y="0"/>
                </a:cubicBezTo>
                <a:cubicBezTo>
                  <a:pt x="58" y="0"/>
                  <a:pt x="57" y="3"/>
                  <a:pt x="54" y="3"/>
                </a:cubicBezTo>
                <a:cubicBezTo>
                  <a:pt x="52" y="9"/>
                  <a:pt x="48" y="9"/>
                  <a:pt x="42" y="12"/>
                </a:cubicBezTo>
                <a:cubicBezTo>
                  <a:pt x="33" y="17"/>
                  <a:pt x="38" y="30"/>
                  <a:pt x="19" y="30"/>
                </a:cubicBezTo>
                <a:cubicBezTo>
                  <a:pt x="16" y="44"/>
                  <a:pt x="13" y="51"/>
                  <a:pt x="10" y="62"/>
                </a:cubicBezTo>
                <a:cubicBezTo>
                  <a:pt x="9" y="70"/>
                  <a:pt x="14" y="72"/>
                  <a:pt x="11" y="78"/>
                </a:cubicBezTo>
                <a:cubicBezTo>
                  <a:pt x="9" y="82"/>
                  <a:pt x="3" y="81"/>
                  <a:pt x="0" y="81"/>
                </a:cubicBezTo>
                <a:cubicBezTo>
                  <a:pt x="0" y="89"/>
                  <a:pt x="10" y="91"/>
                  <a:pt x="10" y="100"/>
                </a:cubicBezTo>
                <a:cubicBezTo>
                  <a:pt x="10" y="104"/>
                  <a:pt x="8" y="107"/>
                  <a:pt x="8" y="110"/>
                </a:cubicBezTo>
                <a:cubicBezTo>
                  <a:pt x="8" y="118"/>
                  <a:pt x="14" y="116"/>
                  <a:pt x="20" y="116"/>
                </a:cubicBezTo>
                <a:cubicBezTo>
                  <a:pt x="41" y="116"/>
                  <a:pt x="59" y="102"/>
                  <a:pt x="72" y="98"/>
                </a:cubicBezTo>
                <a:cubicBezTo>
                  <a:pt x="75" y="104"/>
                  <a:pt x="76" y="110"/>
                  <a:pt x="81" y="114"/>
                </a:cubicBezTo>
                <a:cubicBezTo>
                  <a:pt x="84" y="113"/>
                  <a:pt x="85" y="111"/>
                  <a:pt x="86" y="110"/>
                </a:cubicBezTo>
                <a:cubicBezTo>
                  <a:pt x="91" y="113"/>
                  <a:pt x="92" y="118"/>
                  <a:pt x="96" y="118"/>
                </a:cubicBezTo>
                <a:cubicBezTo>
                  <a:pt x="102" y="118"/>
                  <a:pt x="100" y="113"/>
                  <a:pt x="105" y="111"/>
                </a:cubicBezTo>
                <a:cubicBezTo>
                  <a:pt x="132" y="107"/>
                  <a:pt x="131" y="92"/>
                  <a:pt x="148" y="75"/>
                </a:cubicBezTo>
                <a:cubicBezTo>
                  <a:pt x="136" y="70"/>
                  <a:pt x="139" y="50"/>
                  <a:pt x="121" y="50"/>
                </a:cubicBezTo>
                <a:cubicBezTo>
                  <a:pt x="120" y="50"/>
                  <a:pt x="116" y="50"/>
                  <a:pt x="111" y="50"/>
                </a:cubicBezTo>
                <a:cubicBezTo>
                  <a:pt x="90" y="50"/>
                  <a:pt x="79" y="14"/>
                  <a:pt x="65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68" y="6"/>
                  <a:pt x="68" y="6"/>
                  <a:pt x="68" y="6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7" name="Freeform 58"/>
          <p:cNvSpPr>
            <a:spLocks/>
          </p:cNvSpPr>
          <p:nvPr/>
        </p:nvSpPr>
        <p:spPr bwMode="auto">
          <a:xfrm>
            <a:off x="5804532" y="2918147"/>
            <a:ext cx="453517" cy="607486"/>
          </a:xfrm>
          <a:custGeom>
            <a:avLst/>
            <a:gdLst>
              <a:gd name="T0" fmla="*/ 40 w 100"/>
              <a:gd name="T1" fmla="*/ 134 h 134"/>
              <a:gd name="T2" fmla="*/ 100 w 100"/>
              <a:gd name="T3" fmla="*/ 93 h 134"/>
              <a:gd name="T4" fmla="*/ 84 w 100"/>
              <a:gd name="T5" fmla="*/ 87 h 134"/>
              <a:gd name="T6" fmla="*/ 68 w 100"/>
              <a:gd name="T7" fmla="*/ 66 h 134"/>
              <a:gd name="T8" fmla="*/ 60 w 100"/>
              <a:gd name="T9" fmla="*/ 51 h 134"/>
              <a:gd name="T10" fmla="*/ 44 w 100"/>
              <a:gd name="T11" fmla="*/ 43 h 134"/>
              <a:gd name="T12" fmla="*/ 48 w 100"/>
              <a:gd name="T13" fmla="*/ 32 h 134"/>
              <a:gd name="T14" fmla="*/ 43 w 100"/>
              <a:gd name="T15" fmla="*/ 20 h 134"/>
              <a:gd name="T16" fmla="*/ 31 w 100"/>
              <a:gd name="T17" fmla="*/ 27 h 134"/>
              <a:gd name="T18" fmla="*/ 17 w 100"/>
              <a:gd name="T19" fmla="*/ 7 h 134"/>
              <a:gd name="T20" fmla="*/ 19 w 100"/>
              <a:gd name="T21" fmla="*/ 0 h 134"/>
              <a:gd name="T22" fmla="*/ 19 w 100"/>
              <a:gd name="T23" fmla="*/ 0 h 134"/>
              <a:gd name="T24" fmla="*/ 17 w 100"/>
              <a:gd name="T25" fmla="*/ 3 h 134"/>
              <a:gd name="T26" fmla="*/ 17 w 100"/>
              <a:gd name="T27" fmla="*/ 3 h 134"/>
              <a:gd name="T28" fmla="*/ 0 w 100"/>
              <a:gd name="T29" fmla="*/ 33 h 134"/>
              <a:gd name="T30" fmla="*/ 20 w 100"/>
              <a:gd name="T31" fmla="*/ 76 h 134"/>
              <a:gd name="T32" fmla="*/ 17 w 100"/>
              <a:gd name="T33" fmla="*/ 87 h 134"/>
              <a:gd name="T34" fmla="*/ 17 w 100"/>
              <a:gd name="T35" fmla="*/ 100 h 134"/>
              <a:gd name="T36" fmla="*/ 27 w 100"/>
              <a:gd name="T37" fmla="*/ 112 h 134"/>
              <a:gd name="T38" fmla="*/ 41 w 100"/>
              <a:gd name="T39" fmla="*/ 129 h 134"/>
              <a:gd name="T40" fmla="*/ 41 w 100"/>
              <a:gd name="T41" fmla="*/ 129 h 134"/>
              <a:gd name="T42" fmla="*/ 40 w 100"/>
              <a:gd name="T43" fmla="*/ 134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0" h="134">
                <a:moveTo>
                  <a:pt x="40" y="134"/>
                </a:moveTo>
                <a:cubicBezTo>
                  <a:pt x="40" y="107"/>
                  <a:pt x="96" y="125"/>
                  <a:pt x="100" y="93"/>
                </a:cubicBezTo>
                <a:cubicBezTo>
                  <a:pt x="96" y="92"/>
                  <a:pt x="91" y="87"/>
                  <a:pt x="84" y="87"/>
                </a:cubicBezTo>
                <a:cubicBezTo>
                  <a:pt x="84" y="72"/>
                  <a:pt x="73" y="75"/>
                  <a:pt x="68" y="66"/>
                </a:cubicBezTo>
                <a:cubicBezTo>
                  <a:pt x="64" y="60"/>
                  <a:pt x="69" y="54"/>
                  <a:pt x="60" y="51"/>
                </a:cubicBezTo>
                <a:cubicBezTo>
                  <a:pt x="56" y="49"/>
                  <a:pt x="44" y="52"/>
                  <a:pt x="44" y="43"/>
                </a:cubicBezTo>
                <a:cubicBezTo>
                  <a:pt x="44" y="38"/>
                  <a:pt x="48" y="38"/>
                  <a:pt x="48" y="32"/>
                </a:cubicBezTo>
                <a:cubicBezTo>
                  <a:pt x="48" y="27"/>
                  <a:pt x="44" y="24"/>
                  <a:pt x="43" y="20"/>
                </a:cubicBezTo>
                <a:cubicBezTo>
                  <a:pt x="40" y="24"/>
                  <a:pt x="37" y="27"/>
                  <a:pt x="31" y="27"/>
                </a:cubicBezTo>
                <a:cubicBezTo>
                  <a:pt x="24" y="27"/>
                  <a:pt x="17" y="16"/>
                  <a:pt x="17" y="7"/>
                </a:cubicBezTo>
                <a:cubicBezTo>
                  <a:pt x="17" y="6"/>
                  <a:pt x="17" y="1"/>
                  <a:pt x="1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2" y="14"/>
                  <a:pt x="0" y="18"/>
                  <a:pt x="0" y="33"/>
                </a:cubicBezTo>
                <a:cubicBezTo>
                  <a:pt x="0" y="51"/>
                  <a:pt x="20" y="60"/>
                  <a:pt x="20" y="76"/>
                </a:cubicBezTo>
                <a:cubicBezTo>
                  <a:pt x="20" y="81"/>
                  <a:pt x="19" y="84"/>
                  <a:pt x="17" y="87"/>
                </a:cubicBezTo>
                <a:cubicBezTo>
                  <a:pt x="17" y="96"/>
                  <a:pt x="17" y="97"/>
                  <a:pt x="17" y="100"/>
                </a:cubicBezTo>
                <a:cubicBezTo>
                  <a:pt x="17" y="107"/>
                  <a:pt x="24" y="110"/>
                  <a:pt x="27" y="112"/>
                </a:cubicBezTo>
                <a:cubicBezTo>
                  <a:pt x="30" y="120"/>
                  <a:pt x="36" y="126"/>
                  <a:pt x="41" y="129"/>
                </a:cubicBezTo>
                <a:cubicBezTo>
                  <a:pt x="41" y="129"/>
                  <a:pt x="41" y="129"/>
                  <a:pt x="41" y="129"/>
                </a:cubicBezTo>
                <a:cubicBezTo>
                  <a:pt x="40" y="134"/>
                  <a:pt x="40" y="134"/>
                  <a:pt x="40" y="134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8" name="Freeform 59"/>
          <p:cNvSpPr>
            <a:spLocks/>
          </p:cNvSpPr>
          <p:nvPr/>
        </p:nvSpPr>
        <p:spPr bwMode="auto">
          <a:xfrm>
            <a:off x="6000496" y="2990932"/>
            <a:ext cx="526300" cy="349935"/>
          </a:xfrm>
          <a:custGeom>
            <a:avLst/>
            <a:gdLst>
              <a:gd name="T0" fmla="*/ 116 w 116"/>
              <a:gd name="T1" fmla="*/ 61 h 77"/>
              <a:gd name="T2" fmla="*/ 111 w 116"/>
              <a:gd name="T3" fmla="*/ 60 h 77"/>
              <a:gd name="T4" fmla="*/ 111 w 116"/>
              <a:gd name="T5" fmla="*/ 60 h 77"/>
              <a:gd name="T6" fmla="*/ 97 w 116"/>
              <a:gd name="T7" fmla="*/ 60 h 77"/>
              <a:gd name="T8" fmla="*/ 97 w 116"/>
              <a:gd name="T9" fmla="*/ 60 h 77"/>
              <a:gd name="T10" fmla="*/ 83 w 116"/>
              <a:gd name="T11" fmla="*/ 76 h 77"/>
              <a:gd name="T12" fmla="*/ 72 w 116"/>
              <a:gd name="T13" fmla="*/ 67 h 77"/>
              <a:gd name="T14" fmla="*/ 57 w 116"/>
              <a:gd name="T15" fmla="*/ 77 h 77"/>
              <a:gd name="T16" fmla="*/ 41 w 116"/>
              <a:gd name="T17" fmla="*/ 71 h 77"/>
              <a:gd name="T18" fmla="*/ 25 w 116"/>
              <a:gd name="T19" fmla="*/ 50 h 77"/>
              <a:gd name="T20" fmla="*/ 17 w 116"/>
              <a:gd name="T21" fmla="*/ 35 h 77"/>
              <a:gd name="T22" fmla="*/ 1 w 116"/>
              <a:gd name="T23" fmla="*/ 27 h 77"/>
              <a:gd name="T24" fmla="*/ 5 w 116"/>
              <a:gd name="T25" fmla="*/ 16 h 77"/>
              <a:gd name="T26" fmla="*/ 0 w 116"/>
              <a:gd name="T27" fmla="*/ 4 h 77"/>
              <a:gd name="T28" fmla="*/ 9 w 116"/>
              <a:gd name="T29" fmla="*/ 0 h 77"/>
              <a:gd name="T30" fmla="*/ 37 w 116"/>
              <a:gd name="T31" fmla="*/ 3 h 77"/>
              <a:gd name="T32" fmla="*/ 60 w 116"/>
              <a:gd name="T33" fmla="*/ 16 h 77"/>
              <a:gd name="T34" fmla="*/ 74 w 116"/>
              <a:gd name="T35" fmla="*/ 6 h 77"/>
              <a:gd name="T36" fmla="*/ 79 w 116"/>
              <a:gd name="T37" fmla="*/ 22 h 77"/>
              <a:gd name="T38" fmla="*/ 97 w 116"/>
              <a:gd name="T39" fmla="*/ 35 h 77"/>
              <a:gd name="T40" fmla="*/ 91 w 116"/>
              <a:gd name="T41" fmla="*/ 35 h 77"/>
              <a:gd name="T42" fmla="*/ 91 w 116"/>
              <a:gd name="T43" fmla="*/ 35 h 77"/>
              <a:gd name="T44" fmla="*/ 91 w 116"/>
              <a:gd name="T45" fmla="*/ 43 h 77"/>
              <a:gd name="T46" fmla="*/ 91 w 116"/>
              <a:gd name="T47" fmla="*/ 43 h 77"/>
              <a:gd name="T48" fmla="*/ 116 w 116"/>
              <a:gd name="T49" fmla="*/ 59 h 77"/>
              <a:gd name="T50" fmla="*/ 116 w 116"/>
              <a:gd name="T51" fmla="*/ 59 h 77"/>
              <a:gd name="T52" fmla="*/ 116 w 116"/>
              <a:gd name="T53" fmla="*/ 61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16" h="77">
                <a:moveTo>
                  <a:pt x="116" y="61"/>
                </a:moveTo>
                <a:cubicBezTo>
                  <a:pt x="115" y="60"/>
                  <a:pt x="112" y="60"/>
                  <a:pt x="111" y="60"/>
                </a:cubicBezTo>
                <a:cubicBezTo>
                  <a:pt x="111" y="60"/>
                  <a:pt x="111" y="60"/>
                  <a:pt x="111" y="60"/>
                </a:cubicBezTo>
                <a:cubicBezTo>
                  <a:pt x="97" y="60"/>
                  <a:pt x="97" y="60"/>
                  <a:pt x="97" y="60"/>
                </a:cubicBezTo>
                <a:cubicBezTo>
                  <a:pt x="97" y="60"/>
                  <a:pt x="97" y="60"/>
                  <a:pt x="97" y="60"/>
                </a:cubicBezTo>
                <a:cubicBezTo>
                  <a:pt x="97" y="71"/>
                  <a:pt x="92" y="76"/>
                  <a:pt x="83" y="76"/>
                </a:cubicBezTo>
                <a:cubicBezTo>
                  <a:pt x="78" y="76"/>
                  <a:pt x="76" y="67"/>
                  <a:pt x="72" y="67"/>
                </a:cubicBezTo>
                <a:cubicBezTo>
                  <a:pt x="67" y="67"/>
                  <a:pt x="64" y="77"/>
                  <a:pt x="57" y="77"/>
                </a:cubicBezTo>
                <a:cubicBezTo>
                  <a:pt x="53" y="76"/>
                  <a:pt x="48" y="71"/>
                  <a:pt x="41" y="71"/>
                </a:cubicBezTo>
                <a:cubicBezTo>
                  <a:pt x="41" y="56"/>
                  <a:pt x="30" y="59"/>
                  <a:pt x="25" y="50"/>
                </a:cubicBezTo>
                <a:cubicBezTo>
                  <a:pt x="21" y="44"/>
                  <a:pt x="26" y="38"/>
                  <a:pt x="17" y="35"/>
                </a:cubicBezTo>
                <a:cubicBezTo>
                  <a:pt x="13" y="33"/>
                  <a:pt x="1" y="36"/>
                  <a:pt x="1" y="27"/>
                </a:cubicBezTo>
                <a:cubicBezTo>
                  <a:pt x="1" y="22"/>
                  <a:pt x="5" y="22"/>
                  <a:pt x="5" y="16"/>
                </a:cubicBezTo>
                <a:cubicBezTo>
                  <a:pt x="5" y="11"/>
                  <a:pt x="1" y="8"/>
                  <a:pt x="0" y="4"/>
                </a:cubicBezTo>
                <a:cubicBezTo>
                  <a:pt x="3" y="2"/>
                  <a:pt x="5" y="0"/>
                  <a:pt x="9" y="0"/>
                </a:cubicBezTo>
                <a:cubicBezTo>
                  <a:pt x="19" y="0"/>
                  <a:pt x="27" y="3"/>
                  <a:pt x="37" y="3"/>
                </a:cubicBezTo>
                <a:cubicBezTo>
                  <a:pt x="37" y="8"/>
                  <a:pt x="54" y="16"/>
                  <a:pt x="60" y="16"/>
                </a:cubicBezTo>
                <a:cubicBezTo>
                  <a:pt x="69" y="16"/>
                  <a:pt x="70" y="9"/>
                  <a:pt x="74" y="6"/>
                </a:cubicBezTo>
                <a:cubicBezTo>
                  <a:pt x="76" y="11"/>
                  <a:pt x="76" y="18"/>
                  <a:pt x="79" y="22"/>
                </a:cubicBezTo>
                <a:cubicBezTo>
                  <a:pt x="84" y="28"/>
                  <a:pt x="94" y="28"/>
                  <a:pt x="97" y="35"/>
                </a:cubicBezTo>
                <a:cubicBezTo>
                  <a:pt x="95" y="36"/>
                  <a:pt x="94" y="38"/>
                  <a:pt x="91" y="35"/>
                </a:cubicBezTo>
                <a:cubicBezTo>
                  <a:pt x="91" y="35"/>
                  <a:pt x="91" y="35"/>
                  <a:pt x="91" y="35"/>
                </a:cubicBezTo>
                <a:cubicBezTo>
                  <a:pt x="91" y="43"/>
                  <a:pt x="91" y="43"/>
                  <a:pt x="91" y="43"/>
                </a:cubicBezTo>
                <a:cubicBezTo>
                  <a:pt x="91" y="43"/>
                  <a:pt x="91" y="43"/>
                  <a:pt x="91" y="43"/>
                </a:cubicBezTo>
                <a:cubicBezTo>
                  <a:pt x="100" y="52"/>
                  <a:pt x="110" y="44"/>
                  <a:pt x="116" y="59"/>
                </a:cubicBezTo>
                <a:cubicBezTo>
                  <a:pt x="116" y="59"/>
                  <a:pt x="116" y="59"/>
                  <a:pt x="116" y="59"/>
                </a:cubicBezTo>
                <a:cubicBezTo>
                  <a:pt x="116" y="61"/>
                  <a:pt x="116" y="61"/>
                  <a:pt x="116" y="61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29" name="Freeform 60"/>
          <p:cNvSpPr>
            <a:spLocks/>
          </p:cNvSpPr>
          <p:nvPr/>
        </p:nvSpPr>
        <p:spPr bwMode="auto">
          <a:xfrm>
            <a:off x="5541383" y="4107925"/>
            <a:ext cx="1007813" cy="949023"/>
          </a:xfrm>
          <a:custGeom>
            <a:avLst/>
            <a:gdLst>
              <a:gd name="T0" fmla="*/ 141 w 222"/>
              <a:gd name="T1" fmla="*/ 62 h 209"/>
              <a:gd name="T2" fmla="*/ 190 w 222"/>
              <a:gd name="T3" fmla="*/ 80 h 209"/>
              <a:gd name="T4" fmla="*/ 190 w 222"/>
              <a:gd name="T5" fmla="*/ 75 h 209"/>
              <a:gd name="T6" fmla="*/ 190 w 222"/>
              <a:gd name="T7" fmla="*/ 75 h 209"/>
              <a:gd name="T8" fmla="*/ 190 w 222"/>
              <a:gd name="T9" fmla="*/ 75 h 209"/>
              <a:gd name="T10" fmla="*/ 190 w 222"/>
              <a:gd name="T11" fmla="*/ 75 h 209"/>
              <a:gd name="T12" fmla="*/ 190 w 222"/>
              <a:gd name="T13" fmla="*/ 75 h 209"/>
              <a:gd name="T14" fmla="*/ 181 w 222"/>
              <a:gd name="T15" fmla="*/ 89 h 209"/>
              <a:gd name="T16" fmla="*/ 201 w 222"/>
              <a:gd name="T17" fmla="*/ 115 h 209"/>
              <a:gd name="T18" fmla="*/ 222 w 222"/>
              <a:gd name="T19" fmla="*/ 163 h 209"/>
              <a:gd name="T20" fmla="*/ 216 w 222"/>
              <a:gd name="T21" fmla="*/ 171 h 209"/>
              <a:gd name="T22" fmla="*/ 209 w 222"/>
              <a:gd name="T23" fmla="*/ 172 h 209"/>
              <a:gd name="T24" fmla="*/ 177 w 222"/>
              <a:gd name="T25" fmla="*/ 178 h 209"/>
              <a:gd name="T26" fmla="*/ 165 w 222"/>
              <a:gd name="T27" fmla="*/ 174 h 209"/>
              <a:gd name="T28" fmla="*/ 142 w 222"/>
              <a:gd name="T29" fmla="*/ 180 h 209"/>
              <a:gd name="T30" fmla="*/ 111 w 222"/>
              <a:gd name="T31" fmla="*/ 209 h 209"/>
              <a:gd name="T32" fmla="*/ 98 w 222"/>
              <a:gd name="T33" fmla="*/ 204 h 209"/>
              <a:gd name="T34" fmla="*/ 98 w 222"/>
              <a:gd name="T35" fmla="*/ 169 h 209"/>
              <a:gd name="T36" fmla="*/ 94 w 222"/>
              <a:gd name="T37" fmla="*/ 168 h 209"/>
              <a:gd name="T38" fmla="*/ 78 w 222"/>
              <a:gd name="T39" fmla="*/ 140 h 209"/>
              <a:gd name="T40" fmla="*/ 70 w 222"/>
              <a:gd name="T41" fmla="*/ 140 h 209"/>
              <a:gd name="T42" fmla="*/ 61 w 222"/>
              <a:gd name="T43" fmla="*/ 121 h 209"/>
              <a:gd name="T44" fmla="*/ 52 w 222"/>
              <a:gd name="T45" fmla="*/ 121 h 209"/>
              <a:gd name="T46" fmla="*/ 43 w 222"/>
              <a:gd name="T47" fmla="*/ 114 h 209"/>
              <a:gd name="T48" fmla="*/ 53 w 222"/>
              <a:gd name="T49" fmla="*/ 98 h 209"/>
              <a:gd name="T50" fmla="*/ 24 w 222"/>
              <a:gd name="T51" fmla="*/ 66 h 209"/>
              <a:gd name="T52" fmla="*/ 0 w 222"/>
              <a:gd name="T53" fmla="*/ 46 h 209"/>
              <a:gd name="T54" fmla="*/ 4 w 222"/>
              <a:gd name="T55" fmla="*/ 29 h 209"/>
              <a:gd name="T56" fmla="*/ 4 w 222"/>
              <a:gd name="T57" fmla="*/ 19 h 209"/>
              <a:gd name="T58" fmla="*/ 4 w 222"/>
              <a:gd name="T59" fmla="*/ 19 h 209"/>
              <a:gd name="T60" fmla="*/ 27 w 222"/>
              <a:gd name="T61" fmla="*/ 3 h 209"/>
              <a:gd name="T62" fmla="*/ 27 w 222"/>
              <a:gd name="T63" fmla="*/ 3 h 209"/>
              <a:gd name="T64" fmla="*/ 40 w 222"/>
              <a:gd name="T65" fmla="*/ 0 h 209"/>
              <a:gd name="T66" fmla="*/ 62 w 222"/>
              <a:gd name="T67" fmla="*/ 19 h 209"/>
              <a:gd name="T68" fmla="*/ 88 w 222"/>
              <a:gd name="T69" fmla="*/ 33 h 209"/>
              <a:gd name="T70" fmla="*/ 141 w 222"/>
              <a:gd name="T71" fmla="*/ 60 h 209"/>
              <a:gd name="T72" fmla="*/ 141 w 222"/>
              <a:gd name="T73" fmla="*/ 60 h 209"/>
              <a:gd name="T74" fmla="*/ 141 w 222"/>
              <a:gd name="T75" fmla="*/ 62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22" h="209">
                <a:moveTo>
                  <a:pt x="141" y="62"/>
                </a:moveTo>
                <a:cubicBezTo>
                  <a:pt x="141" y="71"/>
                  <a:pt x="180" y="80"/>
                  <a:pt x="190" y="80"/>
                </a:cubicBezTo>
                <a:cubicBezTo>
                  <a:pt x="192" y="78"/>
                  <a:pt x="190" y="78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75"/>
                  <a:pt x="190" y="75"/>
                  <a:pt x="190" y="75"/>
                </a:cubicBezTo>
                <a:cubicBezTo>
                  <a:pt x="190" y="84"/>
                  <a:pt x="181" y="82"/>
                  <a:pt x="181" y="89"/>
                </a:cubicBezTo>
                <a:cubicBezTo>
                  <a:pt x="181" y="102"/>
                  <a:pt x="196" y="109"/>
                  <a:pt x="201" y="115"/>
                </a:cubicBezTo>
                <a:cubicBezTo>
                  <a:pt x="209" y="128"/>
                  <a:pt x="212" y="151"/>
                  <a:pt x="222" y="163"/>
                </a:cubicBezTo>
                <a:cubicBezTo>
                  <a:pt x="218" y="164"/>
                  <a:pt x="217" y="167"/>
                  <a:pt x="216" y="171"/>
                </a:cubicBezTo>
                <a:cubicBezTo>
                  <a:pt x="214" y="171"/>
                  <a:pt x="211" y="172"/>
                  <a:pt x="209" y="172"/>
                </a:cubicBezTo>
                <a:cubicBezTo>
                  <a:pt x="196" y="172"/>
                  <a:pt x="190" y="178"/>
                  <a:pt x="177" y="178"/>
                </a:cubicBezTo>
                <a:cubicBezTo>
                  <a:pt x="173" y="178"/>
                  <a:pt x="169" y="174"/>
                  <a:pt x="165" y="174"/>
                </a:cubicBezTo>
                <a:cubicBezTo>
                  <a:pt x="157" y="174"/>
                  <a:pt x="152" y="180"/>
                  <a:pt x="142" y="180"/>
                </a:cubicBezTo>
                <a:cubicBezTo>
                  <a:pt x="120" y="180"/>
                  <a:pt x="130" y="209"/>
                  <a:pt x="111" y="209"/>
                </a:cubicBezTo>
                <a:cubicBezTo>
                  <a:pt x="106" y="209"/>
                  <a:pt x="100" y="205"/>
                  <a:pt x="98" y="204"/>
                </a:cubicBezTo>
                <a:cubicBezTo>
                  <a:pt x="98" y="183"/>
                  <a:pt x="94" y="177"/>
                  <a:pt x="98" y="169"/>
                </a:cubicBezTo>
                <a:cubicBezTo>
                  <a:pt x="94" y="169"/>
                  <a:pt x="95" y="168"/>
                  <a:pt x="94" y="168"/>
                </a:cubicBezTo>
                <a:cubicBezTo>
                  <a:pt x="93" y="164"/>
                  <a:pt x="78" y="140"/>
                  <a:pt x="78" y="140"/>
                </a:cubicBezTo>
                <a:cubicBezTo>
                  <a:pt x="78" y="140"/>
                  <a:pt x="74" y="140"/>
                  <a:pt x="70" y="140"/>
                </a:cubicBezTo>
                <a:cubicBezTo>
                  <a:pt x="61" y="140"/>
                  <a:pt x="66" y="121"/>
                  <a:pt x="61" y="121"/>
                </a:cubicBezTo>
                <a:cubicBezTo>
                  <a:pt x="59" y="121"/>
                  <a:pt x="57" y="121"/>
                  <a:pt x="52" y="121"/>
                </a:cubicBezTo>
                <a:cubicBezTo>
                  <a:pt x="48" y="121"/>
                  <a:pt x="43" y="119"/>
                  <a:pt x="43" y="114"/>
                </a:cubicBezTo>
                <a:cubicBezTo>
                  <a:pt x="43" y="107"/>
                  <a:pt x="53" y="105"/>
                  <a:pt x="53" y="98"/>
                </a:cubicBezTo>
                <a:cubicBezTo>
                  <a:pt x="53" y="78"/>
                  <a:pt x="31" y="78"/>
                  <a:pt x="24" y="66"/>
                </a:cubicBezTo>
                <a:cubicBezTo>
                  <a:pt x="19" y="56"/>
                  <a:pt x="0" y="64"/>
                  <a:pt x="0" y="46"/>
                </a:cubicBezTo>
                <a:cubicBezTo>
                  <a:pt x="0" y="39"/>
                  <a:pt x="4" y="34"/>
                  <a:pt x="4" y="29"/>
                </a:cubicBezTo>
                <a:cubicBezTo>
                  <a:pt x="4" y="29"/>
                  <a:pt x="4" y="24"/>
                  <a:pt x="4" y="19"/>
                </a:cubicBezTo>
                <a:cubicBezTo>
                  <a:pt x="4" y="19"/>
                  <a:pt x="4" y="19"/>
                  <a:pt x="4" y="19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32" y="2"/>
                  <a:pt x="35" y="0"/>
                  <a:pt x="40" y="0"/>
                </a:cubicBezTo>
                <a:cubicBezTo>
                  <a:pt x="48" y="0"/>
                  <a:pt x="58" y="13"/>
                  <a:pt x="62" y="19"/>
                </a:cubicBezTo>
                <a:cubicBezTo>
                  <a:pt x="68" y="27"/>
                  <a:pt x="86" y="21"/>
                  <a:pt x="88" y="33"/>
                </a:cubicBezTo>
                <a:cubicBezTo>
                  <a:pt x="91" y="56"/>
                  <a:pt x="131" y="40"/>
                  <a:pt x="141" y="60"/>
                </a:cubicBezTo>
                <a:cubicBezTo>
                  <a:pt x="141" y="60"/>
                  <a:pt x="141" y="60"/>
                  <a:pt x="141" y="60"/>
                </a:cubicBezTo>
                <a:cubicBezTo>
                  <a:pt x="141" y="62"/>
                  <a:pt x="141" y="62"/>
                  <a:pt x="141" y="62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0" name="Freeform 61"/>
          <p:cNvSpPr>
            <a:spLocks/>
          </p:cNvSpPr>
          <p:nvPr/>
        </p:nvSpPr>
        <p:spPr bwMode="auto">
          <a:xfrm>
            <a:off x="5723346" y="3771987"/>
            <a:ext cx="557096" cy="615887"/>
          </a:xfrm>
          <a:custGeom>
            <a:avLst/>
            <a:gdLst>
              <a:gd name="T0" fmla="*/ 101 w 123"/>
              <a:gd name="T1" fmla="*/ 136 h 136"/>
              <a:gd name="T2" fmla="*/ 123 w 123"/>
              <a:gd name="T3" fmla="*/ 107 h 136"/>
              <a:gd name="T4" fmla="*/ 117 w 123"/>
              <a:gd name="T5" fmla="*/ 96 h 136"/>
              <a:gd name="T6" fmla="*/ 123 w 123"/>
              <a:gd name="T7" fmla="*/ 77 h 136"/>
              <a:gd name="T8" fmla="*/ 117 w 123"/>
              <a:gd name="T9" fmla="*/ 64 h 136"/>
              <a:gd name="T10" fmla="*/ 117 w 123"/>
              <a:gd name="T11" fmla="*/ 64 h 136"/>
              <a:gd name="T12" fmla="*/ 117 w 123"/>
              <a:gd name="T13" fmla="*/ 56 h 136"/>
              <a:gd name="T14" fmla="*/ 117 w 123"/>
              <a:gd name="T15" fmla="*/ 56 h 136"/>
              <a:gd name="T16" fmla="*/ 90 w 123"/>
              <a:gd name="T17" fmla="*/ 42 h 136"/>
              <a:gd name="T18" fmla="*/ 77 w 123"/>
              <a:gd name="T19" fmla="*/ 50 h 136"/>
              <a:gd name="T20" fmla="*/ 56 w 123"/>
              <a:gd name="T21" fmla="*/ 13 h 136"/>
              <a:gd name="T22" fmla="*/ 45 w 123"/>
              <a:gd name="T23" fmla="*/ 17 h 136"/>
              <a:gd name="T24" fmla="*/ 27 w 123"/>
              <a:gd name="T25" fmla="*/ 0 h 136"/>
              <a:gd name="T26" fmla="*/ 17 w 123"/>
              <a:gd name="T27" fmla="*/ 13 h 136"/>
              <a:gd name="T28" fmla="*/ 17 w 123"/>
              <a:gd name="T29" fmla="*/ 53 h 136"/>
              <a:gd name="T30" fmla="*/ 0 w 123"/>
              <a:gd name="T31" fmla="*/ 74 h 136"/>
              <a:gd name="T32" fmla="*/ 0 w 123"/>
              <a:gd name="T33" fmla="*/ 74 h 136"/>
              <a:gd name="T34" fmla="*/ 0 w 123"/>
              <a:gd name="T35" fmla="*/ 74 h 136"/>
              <a:gd name="T36" fmla="*/ 0 w 123"/>
              <a:gd name="T37" fmla="*/ 74 h 136"/>
              <a:gd name="T38" fmla="*/ 22 w 123"/>
              <a:gd name="T39" fmla="*/ 93 h 136"/>
              <a:gd name="T40" fmla="*/ 48 w 123"/>
              <a:gd name="T41" fmla="*/ 107 h 136"/>
              <a:gd name="T42" fmla="*/ 101 w 123"/>
              <a:gd name="T43" fmla="*/ 134 h 136"/>
              <a:gd name="T44" fmla="*/ 101 w 123"/>
              <a:gd name="T45" fmla="*/ 134 h 136"/>
              <a:gd name="T46" fmla="*/ 101 w 123"/>
              <a:gd name="T47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23" h="136">
                <a:moveTo>
                  <a:pt x="101" y="136"/>
                </a:moveTo>
                <a:cubicBezTo>
                  <a:pt x="101" y="125"/>
                  <a:pt x="123" y="120"/>
                  <a:pt x="123" y="107"/>
                </a:cubicBezTo>
                <a:cubicBezTo>
                  <a:pt x="123" y="101"/>
                  <a:pt x="117" y="102"/>
                  <a:pt x="117" y="96"/>
                </a:cubicBezTo>
                <a:cubicBezTo>
                  <a:pt x="117" y="88"/>
                  <a:pt x="123" y="87"/>
                  <a:pt x="123" y="77"/>
                </a:cubicBezTo>
                <a:cubicBezTo>
                  <a:pt x="123" y="70"/>
                  <a:pt x="121" y="65"/>
                  <a:pt x="117" y="64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56"/>
                  <a:pt x="117" y="56"/>
                  <a:pt x="117" y="56"/>
                </a:cubicBezTo>
                <a:cubicBezTo>
                  <a:pt x="117" y="56"/>
                  <a:pt x="117" y="56"/>
                  <a:pt x="117" y="56"/>
                </a:cubicBezTo>
                <a:cubicBezTo>
                  <a:pt x="106" y="55"/>
                  <a:pt x="101" y="42"/>
                  <a:pt x="90" y="42"/>
                </a:cubicBezTo>
                <a:cubicBezTo>
                  <a:pt x="83" y="42"/>
                  <a:pt x="82" y="50"/>
                  <a:pt x="77" y="50"/>
                </a:cubicBezTo>
                <a:cubicBezTo>
                  <a:pt x="61" y="50"/>
                  <a:pt x="75" y="13"/>
                  <a:pt x="56" y="13"/>
                </a:cubicBezTo>
                <a:cubicBezTo>
                  <a:pt x="53" y="13"/>
                  <a:pt x="50" y="17"/>
                  <a:pt x="45" y="17"/>
                </a:cubicBezTo>
                <a:cubicBezTo>
                  <a:pt x="39" y="17"/>
                  <a:pt x="28" y="7"/>
                  <a:pt x="27" y="0"/>
                </a:cubicBezTo>
                <a:cubicBezTo>
                  <a:pt x="21" y="2"/>
                  <a:pt x="17" y="7"/>
                  <a:pt x="17" y="13"/>
                </a:cubicBezTo>
                <a:cubicBezTo>
                  <a:pt x="17" y="28"/>
                  <a:pt x="17" y="35"/>
                  <a:pt x="17" y="53"/>
                </a:cubicBezTo>
                <a:cubicBezTo>
                  <a:pt x="17" y="65"/>
                  <a:pt x="3" y="67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8" y="74"/>
                  <a:pt x="18" y="87"/>
                  <a:pt x="22" y="93"/>
                </a:cubicBezTo>
                <a:cubicBezTo>
                  <a:pt x="28" y="101"/>
                  <a:pt x="46" y="95"/>
                  <a:pt x="48" y="107"/>
                </a:cubicBezTo>
                <a:cubicBezTo>
                  <a:pt x="51" y="130"/>
                  <a:pt x="91" y="114"/>
                  <a:pt x="101" y="134"/>
                </a:cubicBezTo>
                <a:cubicBezTo>
                  <a:pt x="101" y="134"/>
                  <a:pt x="101" y="134"/>
                  <a:pt x="101" y="134"/>
                </a:cubicBezTo>
                <a:cubicBezTo>
                  <a:pt x="101" y="136"/>
                  <a:pt x="101" y="136"/>
                  <a:pt x="101" y="13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1" name="Freeform 62"/>
          <p:cNvSpPr>
            <a:spLocks/>
          </p:cNvSpPr>
          <p:nvPr/>
        </p:nvSpPr>
        <p:spPr bwMode="auto">
          <a:xfrm>
            <a:off x="5012278" y="4219903"/>
            <a:ext cx="974219" cy="884636"/>
          </a:xfrm>
          <a:custGeom>
            <a:avLst/>
            <a:gdLst>
              <a:gd name="T0" fmla="*/ 208 w 215"/>
              <a:gd name="T1" fmla="*/ 144 h 195"/>
              <a:gd name="T2" fmla="*/ 197 w 215"/>
              <a:gd name="T3" fmla="*/ 152 h 195"/>
              <a:gd name="T4" fmla="*/ 163 w 215"/>
              <a:gd name="T5" fmla="*/ 170 h 195"/>
              <a:gd name="T6" fmla="*/ 137 w 215"/>
              <a:gd name="T7" fmla="*/ 195 h 195"/>
              <a:gd name="T8" fmla="*/ 124 w 215"/>
              <a:gd name="T9" fmla="*/ 176 h 195"/>
              <a:gd name="T10" fmla="*/ 111 w 215"/>
              <a:gd name="T11" fmla="*/ 179 h 195"/>
              <a:gd name="T12" fmla="*/ 92 w 215"/>
              <a:gd name="T13" fmla="*/ 176 h 195"/>
              <a:gd name="T14" fmla="*/ 74 w 215"/>
              <a:gd name="T15" fmla="*/ 184 h 195"/>
              <a:gd name="T16" fmla="*/ 64 w 215"/>
              <a:gd name="T17" fmla="*/ 168 h 195"/>
              <a:gd name="T18" fmla="*/ 56 w 215"/>
              <a:gd name="T19" fmla="*/ 182 h 195"/>
              <a:gd name="T20" fmla="*/ 39 w 215"/>
              <a:gd name="T21" fmla="*/ 178 h 195"/>
              <a:gd name="T22" fmla="*/ 24 w 215"/>
              <a:gd name="T23" fmla="*/ 181 h 195"/>
              <a:gd name="T24" fmla="*/ 7 w 215"/>
              <a:gd name="T25" fmla="*/ 162 h 195"/>
              <a:gd name="T26" fmla="*/ 10 w 215"/>
              <a:gd name="T27" fmla="*/ 143 h 195"/>
              <a:gd name="T28" fmla="*/ 0 w 215"/>
              <a:gd name="T29" fmla="*/ 127 h 195"/>
              <a:gd name="T30" fmla="*/ 18 w 215"/>
              <a:gd name="T31" fmla="*/ 114 h 195"/>
              <a:gd name="T32" fmla="*/ 34 w 215"/>
              <a:gd name="T33" fmla="*/ 117 h 195"/>
              <a:gd name="T34" fmla="*/ 41 w 215"/>
              <a:gd name="T35" fmla="*/ 100 h 195"/>
              <a:gd name="T36" fmla="*/ 41 w 215"/>
              <a:gd name="T37" fmla="*/ 85 h 195"/>
              <a:gd name="T38" fmla="*/ 56 w 215"/>
              <a:gd name="T39" fmla="*/ 57 h 195"/>
              <a:gd name="T40" fmla="*/ 48 w 215"/>
              <a:gd name="T41" fmla="*/ 36 h 195"/>
              <a:gd name="T42" fmla="*/ 68 w 215"/>
              <a:gd name="T43" fmla="*/ 0 h 195"/>
              <a:gd name="T44" fmla="*/ 94 w 215"/>
              <a:gd name="T45" fmla="*/ 0 h 195"/>
              <a:gd name="T46" fmla="*/ 116 w 215"/>
              <a:gd name="T47" fmla="*/ 15 h 195"/>
              <a:gd name="T48" fmla="*/ 117 w 215"/>
              <a:gd name="T49" fmla="*/ 21 h 195"/>
              <a:gd name="T50" fmla="*/ 141 w 215"/>
              <a:gd name="T51" fmla="*/ 41 h 195"/>
              <a:gd name="T52" fmla="*/ 170 w 215"/>
              <a:gd name="T53" fmla="*/ 73 h 195"/>
              <a:gd name="T54" fmla="*/ 160 w 215"/>
              <a:gd name="T55" fmla="*/ 89 h 195"/>
              <a:gd name="T56" fmla="*/ 169 w 215"/>
              <a:gd name="T57" fmla="*/ 96 h 195"/>
              <a:gd name="T58" fmla="*/ 178 w 215"/>
              <a:gd name="T59" fmla="*/ 96 h 195"/>
              <a:gd name="T60" fmla="*/ 187 w 215"/>
              <a:gd name="T61" fmla="*/ 115 h 195"/>
              <a:gd name="T62" fmla="*/ 195 w 215"/>
              <a:gd name="T63" fmla="*/ 115 h 195"/>
              <a:gd name="T64" fmla="*/ 211 w 215"/>
              <a:gd name="T65" fmla="*/ 143 h 195"/>
              <a:gd name="T66" fmla="*/ 215 w 215"/>
              <a:gd name="T67" fmla="*/ 144 h 195"/>
              <a:gd name="T68" fmla="*/ 215 w 215"/>
              <a:gd name="T69" fmla="*/ 144 h 195"/>
              <a:gd name="T70" fmla="*/ 215 w 215"/>
              <a:gd name="T71" fmla="*/ 144 h 195"/>
              <a:gd name="T72" fmla="*/ 208 w 215"/>
              <a:gd name="T73" fmla="*/ 144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15" h="195">
                <a:moveTo>
                  <a:pt x="208" y="144"/>
                </a:moveTo>
                <a:cubicBezTo>
                  <a:pt x="202" y="144"/>
                  <a:pt x="202" y="150"/>
                  <a:pt x="197" y="152"/>
                </a:cubicBezTo>
                <a:cubicBezTo>
                  <a:pt x="186" y="155"/>
                  <a:pt x="165" y="157"/>
                  <a:pt x="163" y="170"/>
                </a:cubicBezTo>
                <a:cubicBezTo>
                  <a:pt x="160" y="189"/>
                  <a:pt x="147" y="190"/>
                  <a:pt x="137" y="195"/>
                </a:cubicBezTo>
                <a:cubicBezTo>
                  <a:pt x="133" y="190"/>
                  <a:pt x="136" y="176"/>
                  <a:pt x="124" y="176"/>
                </a:cubicBezTo>
                <a:cubicBezTo>
                  <a:pt x="119" y="176"/>
                  <a:pt x="117" y="179"/>
                  <a:pt x="111" y="179"/>
                </a:cubicBezTo>
                <a:cubicBezTo>
                  <a:pt x="103" y="179"/>
                  <a:pt x="100" y="176"/>
                  <a:pt x="92" y="176"/>
                </a:cubicBezTo>
                <a:cubicBezTo>
                  <a:pt x="83" y="176"/>
                  <a:pt x="80" y="184"/>
                  <a:pt x="74" y="184"/>
                </a:cubicBezTo>
                <a:cubicBezTo>
                  <a:pt x="68" y="184"/>
                  <a:pt x="67" y="171"/>
                  <a:pt x="64" y="168"/>
                </a:cubicBezTo>
                <a:cubicBezTo>
                  <a:pt x="62" y="169"/>
                  <a:pt x="61" y="182"/>
                  <a:pt x="56" y="182"/>
                </a:cubicBezTo>
                <a:cubicBezTo>
                  <a:pt x="50" y="182"/>
                  <a:pt x="47" y="178"/>
                  <a:pt x="39" y="178"/>
                </a:cubicBezTo>
                <a:cubicBezTo>
                  <a:pt x="32" y="178"/>
                  <a:pt x="30" y="181"/>
                  <a:pt x="24" y="181"/>
                </a:cubicBezTo>
                <a:cubicBezTo>
                  <a:pt x="18" y="181"/>
                  <a:pt x="7" y="169"/>
                  <a:pt x="7" y="162"/>
                </a:cubicBezTo>
                <a:cubicBezTo>
                  <a:pt x="7" y="154"/>
                  <a:pt x="10" y="150"/>
                  <a:pt x="10" y="143"/>
                </a:cubicBezTo>
                <a:cubicBezTo>
                  <a:pt x="10" y="135"/>
                  <a:pt x="0" y="133"/>
                  <a:pt x="0" y="127"/>
                </a:cubicBezTo>
                <a:cubicBezTo>
                  <a:pt x="0" y="121"/>
                  <a:pt x="12" y="114"/>
                  <a:pt x="18" y="114"/>
                </a:cubicBezTo>
                <a:cubicBezTo>
                  <a:pt x="24" y="114"/>
                  <a:pt x="28" y="117"/>
                  <a:pt x="34" y="117"/>
                </a:cubicBezTo>
                <a:cubicBezTo>
                  <a:pt x="44" y="117"/>
                  <a:pt x="41" y="109"/>
                  <a:pt x="41" y="100"/>
                </a:cubicBezTo>
                <a:cubicBezTo>
                  <a:pt x="41" y="98"/>
                  <a:pt x="41" y="90"/>
                  <a:pt x="41" y="85"/>
                </a:cubicBezTo>
                <a:cubicBezTo>
                  <a:pt x="41" y="72"/>
                  <a:pt x="56" y="73"/>
                  <a:pt x="56" y="57"/>
                </a:cubicBezTo>
                <a:cubicBezTo>
                  <a:pt x="56" y="48"/>
                  <a:pt x="48" y="43"/>
                  <a:pt x="48" y="36"/>
                </a:cubicBezTo>
                <a:cubicBezTo>
                  <a:pt x="48" y="25"/>
                  <a:pt x="66" y="14"/>
                  <a:pt x="68" y="0"/>
                </a:cubicBezTo>
                <a:cubicBezTo>
                  <a:pt x="80" y="0"/>
                  <a:pt x="85" y="0"/>
                  <a:pt x="94" y="0"/>
                </a:cubicBezTo>
                <a:cubicBezTo>
                  <a:pt x="100" y="0"/>
                  <a:pt x="108" y="14"/>
                  <a:pt x="116" y="15"/>
                </a:cubicBezTo>
                <a:cubicBezTo>
                  <a:pt x="116" y="18"/>
                  <a:pt x="117" y="19"/>
                  <a:pt x="117" y="21"/>
                </a:cubicBezTo>
                <a:cubicBezTo>
                  <a:pt x="117" y="39"/>
                  <a:pt x="136" y="31"/>
                  <a:pt x="141" y="41"/>
                </a:cubicBezTo>
                <a:cubicBezTo>
                  <a:pt x="148" y="53"/>
                  <a:pt x="170" y="53"/>
                  <a:pt x="170" y="73"/>
                </a:cubicBezTo>
                <a:cubicBezTo>
                  <a:pt x="170" y="80"/>
                  <a:pt x="160" y="82"/>
                  <a:pt x="160" y="89"/>
                </a:cubicBezTo>
                <a:cubicBezTo>
                  <a:pt x="160" y="94"/>
                  <a:pt x="165" y="96"/>
                  <a:pt x="169" y="96"/>
                </a:cubicBezTo>
                <a:cubicBezTo>
                  <a:pt x="174" y="96"/>
                  <a:pt x="176" y="96"/>
                  <a:pt x="178" y="96"/>
                </a:cubicBezTo>
                <a:cubicBezTo>
                  <a:pt x="183" y="96"/>
                  <a:pt x="178" y="115"/>
                  <a:pt x="187" y="115"/>
                </a:cubicBezTo>
                <a:cubicBezTo>
                  <a:pt x="191" y="115"/>
                  <a:pt x="195" y="115"/>
                  <a:pt x="195" y="115"/>
                </a:cubicBezTo>
                <a:cubicBezTo>
                  <a:pt x="195" y="115"/>
                  <a:pt x="210" y="139"/>
                  <a:pt x="211" y="143"/>
                </a:cubicBezTo>
                <a:cubicBezTo>
                  <a:pt x="212" y="143"/>
                  <a:pt x="211" y="144"/>
                  <a:pt x="215" y="144"/>
                </a:cubicBezTo>
                <a:cubicBezTo>
                  <a:pt x="215" y="144"/>
                  <a:pt x="215" y="144"/>
                  <a:pt x="215" y="144"/>
                </a:cubicBezTo>
                <a:cubicBezTo>
                  <a:pt x="215" y="144"/>
                  <a:pt x="215" y="144"/>
                  <a:pt x="215" y="144"/>
                </a:cubicBezTo>
                <a:cubicBezTo>
                  <a:pt x="208" y="144"/>
                  <a:pt x="208" y="144"/>
                  <a:pt x="208" y="144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2" name="Freeform 63"/>
          <p:cNvSpPr>
            <a:spLocks/>
          </p:cNvSpPr>
          <p:nvPr/>
        </p:nvSpPr>
        <p:spPr bwMode="auto">
          <a:xfrm>
            <a:off x="5468595" y="3318472"/>
            <a:ext cx="559897" cy="453517"/>
          </a:xfrm>
          <a:custGeom>
            <a:avLst/>
            <a:gdLst>
              <a:gd name="T0" fmla="*/ 19 w 123"/>
              <a:gd name="T1" fmla="*/ 10 h 100"/>
              <a:gd name="T2" fmla="*/ 19 w 123"/>
              <a:gd name="T3" fmla="*/ 10 h 100"/>
              <a:gd name="T4" fmla="*/ 19 w 123"/>
              <a:gd name="T5" fmla="*/ 10 h 100"/>
              <a:gd name="T6" fmla="*/ 23 w 123"/>
              <a:gd name="T7" fmla="*/ 15 h 100"/>
              <a:gd name="T8" fmla="*/ 31 w 123"/>
              <a:gd name="T9" fmla="*/ 9 h 100"/>
              <a:gd name="T10" fmla="*/ 42 w 123"/>
              <a:gd name="T11" fmla="*/ 9 h 100"/>
              <a:gd name="T12" fmla="*/ 59 w 123"/>
              <a:gd name="T13" fmla="*/ 5 h 100"/>
              <a:gd name="T14" fmla="*/ 75 w 123"/>
              <a:gd name="T15" fmla="*/ 9 h 100"/>
              <a:gd name="T16" fmla="*/ 91 w 123"/>
              <a:gd name="T17" fmla="*/ 0 h 100"/>
              <a:gd name="T18" fmla="*/ 91 w 123"/>
              <a:gd name="T19" fmla="*/ 12 h 100"/>
              <a:gd name="T20" fmla="*/ 101 w 123"/>
              <a:gd name="T21" fmla="*/ 24 h 100"/>
              <a:gd name="T22" fmla="*/ 115 w 123"/>
              <a:gd name="T23" fmla="*/ 41 h 100"/>
              <a:gd name="T24" fmla="*/ 115 w 123"/>
              <a:gd name="T25" fmla="*/ 41 h 100"/>
              <a:gd name="T26" fmla="*/ 114 w 123"/>
              <a:gd name="T27" fmla="*/ 46 h 100"/>
              <a:gd name="T28" fmla="*/ 114 w 123"/>
              <a:gd name="T29" fmla="*/ 46 h 100"/>
              <a:gd name="T30" fmla="*/ 123 w 123"/>
              <a:gd name="T31" fmla="*/ 57 h 100"/>
              <a:gd name="T32" fmla="*/ 123 w 123"/>
              <a:gd name="T33" fmla="*/ 57 h 100"/>
              <a:gd name="T34" fmla="*/ 123 w 123"/>
              <a:gd name="T35" fmla="*/ 62 h 100"/>
              <a:gd name="T36" fmla="*/ 123 w 123"/>
              <a:gd name="T37" fmla="*/ 62 h 100"/>
              <a:gd name="T38" fmla="*/ 120 w 123"/>
              <a:gd name="T39" fmla="*/ 68 h 100"/>
              <a:gd name="T40" fmla="*/ 82 w 123"/>
              <a:gd name="T41" fmla="*/ 100 h 100"/>
              <a:gd name="T42" fmla="*/ 66 w 123"/>
              <a:gd name="T43" fmla="*/ 89 h 100"/>
              <a:gd name="T44" fmla="*/ 52 w 123"/>
              <a:gd name="T45" fmla="*/ 96 h 100"/>
              <a:gd name="T46" fmla="*/ 36 w 123"/>
              <a:gd name="T47" fmla="*/ 81 h 100"/>
              <a:gd name="T48" fmla="*/ 27 w 123"/>
              <a:gd name="T49" fmla="*/ 85 h 100"/>
              <a:gd name="T50" fmla="*/ 16 w 123"/>
              <a:gd name="T51" fmla="*/ 63 h 100"/>
              <a:gd name="T52" fmla="*/ 8 w 123"/>
              <a:gd name="T53" fmla="*/ 63 h 100"/>
              <a:gd name="T54" fmla="*/ 0 w 123"/>
              <a:gd name="T55" fmla="*/ 55 h 100"/>
              <a:gd name="T56" fmla="*/ 19 w 123"/>
              <a:gd name="T57" fmla="*/ 10 h 100"/>
              <a:gd name="T58" fmla="*/ 19 w 123"/>
              <a:gd name="T59" fmla="*/ 1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3" h="100">
                <a:moveTo>
                  <a:pt x="19" y="10"/>
                </a:moveTo>
                <a:cubicBezTo>
                  <a:pt x="19" y="10"/>
                  <a:pt x="19" y="10"/>
                  <a:pt x="19" y="10"/>
                </a:cubicBezTo>
                <a:cubicBezTo>
                  <a:pt x="19" y="10"/>
                  <a:pt x="19" y="10"/>
                  <a:pt x="19" y="10"/>
                </a:cubicBezTo>
                <a:cubicBezTo>
                  <a:pt x="19" y="15"/>
                  <a:pt x="20" y="15"/>
                  <a:pt x="23" y="15"/>
                </a:cubicBezTo>
                <a:cubicBezTo>
                  <a:pt x="26" y="15"/>
                  <a:pt x="27" y="9"/>
                  <a:pt x="31" y="9"/>
                </a:cubicBezTo>
                <a:cubicBezTo>
                  <a:pt x="38" y="9"/>
                  <a:pt x="40" y="9"/>
                  <a:pt x="42" y="9"/>
                </a:cubicBezTo>
                <a:cubicBezTo>
                  <a:pt x="47" y="9"/>
                  <a:pt x="52" y="5"/>
                  <a:pt x="59" y="5"/>
                </a:cubicBezTo>
                <a:cubicBezTo>
                  <a:pt x="66" y="5"/>
                  <a:pt x="68" y="9"/>
                  <a:pt x="75" y="9"/>
                </a:cubicBezTo>
                <a:cubicBezTo>
                  <a:pt x="84" y="9"/>
                  <a:pt x="89" y="5"/>
                  <a:pt x="91" y="0"/>
                </a:cubicBezTo>
                <a:cubicBezTo>
                  <a:pt x="91" y="8"/>
                  <a:pt x="91" y="9"/>
                  <a:pt x="91" y="12"/>
                </a:cubicBezTo>
                <a:cubicBezTo>
                  <a:pt x="91" y="19"/>
                  <a:pt x="98" y="22"/>
                  <a:pt x="101" y="24"/>
                </a:cubicBezTo>
                <a:cubicBezTo>
                  <a:pt x="104" y="32"/>
                  <a:pt x="110" y="38"/>
                  <a:pt x="115" y="41"/>
                </a:cubicBezTo>
                <a:cubicBezTo>
                  <a:pt x="115" y="41"/>
                  <a:pt x="115" y="41"/>
                  <a:pt x="115" y="41"/>
                </a:cubicBezTo>
                <a:cubicBezTo>
                  <a:pt x="114" y="46"/>
                  <a:pt x="114" y="46"/>
                  <a:pt x="114" y="46"/>
                </a:cubicBezTo>
                <a:cubicBezTo>
                  <a:pt x="114" y="46"/>
                  <a:pt x="114" y="46"/>
                  <a:pt x="114" y="46"/>
                </a:cubicBezTo>
                <a:cubicBezTo>
                  <a:pt x="114" y="54"/>
                  <a:pt x="117" y="55"/>
                  <a:pt x="123" y="57"/>
                </a:cubicBezTo>
                <a:cubicBezTo>
                  <a:pt x="123" y="57"/>
                  <a:pt x="123" y="57"/>
                  <a:pt x="123" y="57"/>
                </a:cubicBezTo>
                <a:cubicBezTo>
                  <a:pt x="123" y="62"/>
                  <a:pt x="123" y="62"/>
                  <a:pt x="123" y="62"/>
                </a:cubicBezTo>
                <a:cubicBezTo>
                  <a:pt x="123" y="62"/>
                  <a:pt x="123" y="62"/>
                  <a:pt x="123" y="62"/>
                </a:cubicBezTo>
                <a:cubicBezTo>
                  <a:pt x="122" y="64"/>
                  <a:pt x="120" y="65"/>
                  <a:pt x="120" y="68"/>
                </a:cubicBezTo>
                <a:cubicBezTo>
                  <a:pt x="122" y="85"/>
                  <a:pt x="94" y="94"/>
                  <a:pt x="82" y="100"/>
                </a:cubicBezTo>
                <a:cubicBezTo>
                  <a:pt x="75" y="96"/>
                  <a:pt x="74" y="89"/>
                  <a:pt x="66" y="89"/>
                </a:cubicBezTo>
                <a:cubicBezTo>
                  <a:pt x="57" y="89"/>
                  <a:pt x="62" y="96"/>
                  <a:pt x="52" y="96"/>
                </a:cubicBezTo>
                <a:cubicBezTo>
                  <a:pt x="43" y="96"/>
                  <a:pt x="42" y="81"/>
                  <a:pt x="36" y="81"/>
                </a:cubicBezTo>
                <a:cubicBezTo>
                  <a:pt x="32" y="81"/>
                  <a:pt x="31" y="85"/>
                  <a:pt x="27" y="85"/>
                </a:cubicBezTo>
                <a:cubicBezTo>
                  <a:pt x="16" y="85"/>
                  <a:pt x="25" y="63"/>
                  <a:pt x="16" y="63"/>
                </a:cubicBezTo>
                <a:cubicBezTo>
                  <a:pt x="15" y="63"/>
                  <a:pt x="13" y="63"/>
                  <a:pt x="8" y="63"/>
                </a:cubicBezTo>
                <a:cubicBezTo>
                  <a:pt x="3" y="63"/>
                  <a:pt x="0" y="60"/>
                  <a:pt x="0" y="55"/>
                </a:cubicBezTo>
                <a:cubicBezTo>
                  <a:pt x="0" y="36"/>
                  <a:pt x="19" y="10"/>
                  <a:pt x="19" y="10"/>
                </a:cubicBezTo>
                <a:cubicBezTo>
                  <a:pt x="19" y="10"/>
                  <a:pt x="19" y="10"/>
                  <a:pt x="19" y="10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3" name="Freeform 64"/>
          <p:cNvSpPr>
            <a:spLocks/>
          </p:cNvSpPr>
          <p:nvPr/>
        </p:nvSpPr>
        <p:spPr bwMode="auto">
          <a:xfrm>
            <a:off x="5026277" y="2878952"/>
            <a:ext cx="506707" cy="361132"/>
          </a:xfrm>
          <a:custGeom>
            <a:avLst/>
            <a:gdLst>
              <a:gd name="T0" fmla="*/ 106 w 112"/>
              <a:gd name="T1" fmla="*/ 63 h 80"/>
              <a:gd name="T2" fmla="*/ 95 w 112"/>
              <a:gd name="T3" fmla="*/ 69 h 80"/>
              <a:gd name="T4" fmla="*/ 87 w 112"/>
              <a:gd name="T5" fmla="*/ 65 h 80"/>
              <a:gd name="T6" fmla="*/ 77 w 112"/>
              <a:gd name="T7" fmla="*/ 74 h 80"/>
              <a:gd name="T8" fmla="*/ 60 w 112"/>
              <a:gd name="T9" fmla="*/ 64 h 80"/>
              <a:gd name="T10" fmla="*/ 32 w 112"/>
              <a:gd name="T11" fmla="*/ 80 h 80"/>
              <a:gd name="T12" fmla="*/ 4 w 112"/>
              <a:gd name="T13" fmla="*/ 57 h 80"/>
              <a:gd name="T14" fmla="*/ 10 w 112"/>
              <a:gd name="T15" fmla="*/ 41 h 80"/>
              <a:gd name="T16" fmla="*/ 0 w 112"/>
              <a:gd name="T17" fmla="*/ 27 h 80"/>
              <a:gd name="T18" fmla="*/ 0 w 112"/>
              <a:gd name="T19" fmla="*/ 12 h 80"/>
              <a:gd name="T20" fmla="*/ 25 w 112"/>
              <a:gd name="T21" fmla="*/ 0 h 80"/>
              <a:gd name="T22" fmla="*/ 34 w 112"/>
              <a:gd name="T23" fmla="*/ 16 h 80"/>
              <a:gd name="T24" fmla="*/ 39 w 112"/>
              <a:gd name="T25" fmla="*/ 12 h 80"/>
              <a:gd name="T26" fmla="*/ 49 w 112"/>
              <a:gd name="T27" fmla="*/ 20 h 80"/>
              <a:gd name="T28" fmla="*/ 58 w 112"/>
              <a:gd name="T29" fmla="*/ 13 h 80"/>
              <a:gd name="T30" fmla="*/ 74 w 112"/>
              <a:gd name="T31" fmla="*/ 9 h 80"/>
              <a:gd name="T32" fmla="*/ 93 w 112"/>
              <a:gd name="T33" fmla="*/ 25 h 80"/>
              <a:gd name="T34" fmla="*/ 112 w 112"/>
              <a:gd name="T35" fmla="*/ 48 h 80"/>
              <a:gd name="T36" fmla="*/ 107 w 112"/>
              <a:gd name="T37" fmla="*/ 63 h 80"/>
              <a:gd name="T38" fmla="*/ 107 w 112"/>
              <a:gd name="T39" fmla="*/ 63 h 80"/>
              <a:gd name="T40" fmla="*/ 106 w 112"/>
              <a:gd name="T41" fmla="*/ 63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2" h="80">
                <a:moveTo>
                  <a:pt x="106" y="63"/>
                </a:moveTo>
                <a:cubicBezTo>
                  <a:pt x="105" y="64"/>
                  <a:pt x="98" y="69"/>
                  <a:pt x="95" y="69"/>
                </a:cubicBezTo>
                <a:cubicBezTo>
                  <a:pt x="91" y="69"/>
                  <a:pt x="91" y="65"/>
                  <a:pt x="87" y="65"/>
                </a:cubicBezTo>
                <a:cubicBezTo>
                  <a:pt x="82" y="65"/>
                  <a:pt x="84" y="74"/>
                  <a:pt x="77" y="74"/>
                </a:cubicBezTo>
                <a:cubicBezTo>
                  <a:pt x="70" y="74"/>
                  <a:pt x="69" y="64"/>
                  <a:pt x="60" y="64"/>
                </a:cubicBezTo>
                <a:cubicBezTo>
                  <a:pt x="47" y="64"/>
                  <a:pt x="47" y="80"/>
                  <a:pt x="32" y="80"/>
                </a:cubicBezTo>
                <a:cubicBezTo>
                  <a:pt x="15" y="80"/>
                  <a:pt x="4" y="74"/>
                  <a:pt x="4" y="57"/>
                </a:cubicBezTo>
                <a:cubicBezTo>
                  <a:pt x="4" y="50"/>
                  <a:pt x="10" y="47"/>
                  <a:pt x="10" y="41"/>
                </a:cubicBezTo>
                <a:cubicBezTo>
                  <a:pt x="10" y="34"/>
                  <a:pt x="0" y="33"/>
                  <a:pt x="0" y="27"/>
                </a:cubicBezTo>
                <a:cubicBezTo>
                  <a:pt x="0" y="23"/>
                  <a:pt x="6" y="20"/>
                  <a:pt x="0" y="12"/>
                </a:cubicBezTo>
                <a:cubicBezTo>
                  <a:pt x="10" y="7"/>
                  <a:pt x="17" y="2"/>
                  <a:pt x="25" y="0"/>
                </a:cubicBezTo>
                <a:cubicBezTo>
                  <a:pt x="28" y="6"/>
                  <a:pt x="29" y="12"/>
                  <a:pt x="34" y="16"/>
                </a:cubicBezTo>
                <a:cubicBezTo>
                  <a:pt x="37" y="15"/>
                  <a:pt x="38" y="13"/>
                  <a:pt x="39" y="12"/>
                </a:cubicBezTo>
                <a:cubicBezTo>
                  <a:pt x="44" y="15"/>
                  <a:pt x="45" y="20"/>
                  <a:pt x="49" y="20"/>
                </a:cubicBezTo>
                <a:cubicBezTo>
                  <a:pt x="55" y="20"/>
                  <a:pt x="53" y="15"/>
                  <a:pt x="58" y="13"/>
                </a:cubicBezTo>
                <a:cubicBezTo>
                  <a:pt x="65" y="12"/>
                  <a:pt x="69" y="11"/>
                  <a:pt x="74" y="9"/>
                </a:cubicBezTo>
                <a:cubicBezTo>
                  <a:pt x="87" y="11"/>
                  <a:pt x="89" y="16"/>
                  <a:pt x="93" y="25"/>
                </a:cubicBezTo>
                <a:cubicBezTo>
                  <a:pt x="97" y="32"/>
                  <a:pt x="112" y="29"/>
                  <a:pt x="112" y="48"/>
                </a:cubicBezTo>
                <a:cubicBezTo>
                  <a:pt x="112" y="53"/>
                  <a:pt x="107" y="57"/>
                  <a:pt x="107" y="63"/>
                </a:cubicBezTo>
                <a:cubicBezTo>
                  <a:pt x="107" y="63"/>
                  <a:pt x="107" y="63"/>
                  <a:pt x="107" y="63"/>
                </a:cubicBezTo>
                <a:cubicBezTo>
                  <a:pt x="106" y="63"/>
                  <a:pt x="106" y="63"/>
                  <a:pt x="106" y="63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4" name="Freeform 65"/>
          <p:cNvSpPr>
            <a:spLocks/>
          </p:cNvSpPr>
          <p:nvPr/>
        </p:nvSpPr>
        <p:spPr bwMode="auto">
          <a:xfrm>
            <a:off x="5407007" y="3682404"/>
            <a:ext cx="439518" cy="512305"/>
          </a:xfrm>
          <a:custGeom>
            <a:avLst/>
            <a:gdLst>
              <a:gd name="T0" fmla="*/ 97 w 97"/>
              <a:gd name="T1" fmla="*/ 20 h 113"/>
              <a:gd name="T2" fmla="*/ 87 w 97"/>
              <a:gd name="T3" fmla="*/ 33 h 113"/>
              <a:gd name="T4" fmla="*/ 87 w 97"/>
              <a:gd name="T5" fmla="*/ 73 h 113"/>
              <a:gd name="T6" fmla="*/ 70 w 97"/>
              <a:gd name="T7" fmla="*/ 94 h 113"/>
              <a:gd name="T8" fmla="*/ 57 w 97"/>
              <a:gd name="T9" fmla="*/ 97 h 113"/>
              <a:gd name="T10" fmla="*/ 57 w 97"/>
              <a:gd name="T11" fmla="*/ 97 h 113"/>
              <a:gd name="T12" fmla="*/ 34 w 97"/>
              <a:gd name="T13" fmla="*/ 113 h 113"/>
              <a:gd name="T14" fmla="*/ 34 w 97"/>
              <a:gd name="T15" fmla="*/ 113 h 113"/>
              <a:gd name="T16" fmla="*/ 21 w 97"/>
              <a:gd name="T17" fmla="*/ 101 h 113"/>
              <a:gd name="T18" fmla="*/ 0 w 97"/>
              <a:gd name="T19" fmla="*/ 58 h 113"/>
              <a:gd name="T20" fmla="*/ 11 w 97"/>
              <a:gd name="T21" fmla="*/ 42 h 113"/>
              <a:gd name="T22" fmla="*/ 11 w 97"/>
              <a:gd name="T23" fmla="*/ 25 h 113"/>
              <a:gd name="T24" fmla="*/ 35 w 97"/>
              <a:gd name="T25" fmla="*/ 0 h 113"/>
              <a:gd name="T26" fmla="*/ 41 w 97"/>
              <a:gd name="T27" fmla="*/ 5 h 113"/>
              <a:gd name="T28" fmla="*/ 50 w 97"/>
              <a:gd name="T29" fmla="*/ 1 h 113"/>
              <a:gd name="T30" fmla="*/ 66 w 97"/>
              <a:gd name="T31" fmla="*/ 16 h 113"/>
              <a:gd name="T32" fmla="*/ 80 w 97"/>
              <a:gd name="T33" fmla="*/ 9 h 113"/>
              <a:gd name="T34" fmla="*/ 96 w 97"/>
              <a:gd name="T35" fmla="*/ 20 h 113"/>
              <a:gd name="T36" fmla="*/ 96 w 97"/>
              <a:gd name="T37" fmla="*/ 20 h 113"/>
              <a:gd name="T38" fmla="*/ 97 w 97"/>
              <a:gd name="T39" fmla="*/ 2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7" h="113">
                <a:moveTo>
                  <a:pt x="97" y="20"/>
                </a:moveTo>
                <a:cubicBezTo>
                  <a:pt x="91" y="22"/>
                  <a:pt x="87" y="27"/>
                  <a:pt x="87" y="33"/>
                </a:cubicBezTo>
                <a:cubicBezTo>
                  <a:pt x="87" y="48"/>
                  <a:pt x="87" y="55"/>
                  <a:pt x="87" y="73"/>
                </a:cubicBezTo>
                <a:cubicBezTo>
                  <a:pt x="87" y="85"/>
                  <a:pt x="73" y="87"/>
                  <a:pt x="70" y="94"/>
                </a:cubicBezTo>
                <a:cubicBezTo>
                  <a:pt x="65" y="94"/>
                  <a:pt x="62" y="96"/>
                  <a:pt x="57" y="97"/>
                </a:cubicBezTo>
                <a:cubicBezTo>
                  <a:pt x="57" y="97"/>
                  <a:pt x="57" y="97"/>
                  <a:pt x="57" y="97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7" y="99"/>
                  <a:pt x="24" y="110"/>
                  <a:pt x="21" y="101"/>
                </a:cubicBezTo>
                <a:cubicBezTo>
                  <a:pt x="16" y="83"/>
                  <a:pt x="8" y="74"/>
                  <a:pt x="0" y="58"/>
                </a:cubicBezTo>
                <a:cubicBezTo>
                  <a:pt x="11" y="58"/>
                  <a:pt x="11" y="52"/>
                  <a:pt x="11" y="42"/>
                </a:cubicBezTo>
                <a:cubicBezTo>
                  <a:pt x="11" y="32"/>
                  <a:pt x="11" y="30"/>
                  <a:pt x="11" y="25"/>
                </a:cubicBezTo>
                <a:cubicBezTo>
                  <a:pt x="11" y="16"/>
                  <a:pt x="27" y="5"/>
                  <a:pt x="35" y="0"/>
                </a:cubicBezTo>
                <a:cubicBezTo>
                  <a:pt x="37" y="3"/>
                  <a:pt x="38" y="5"/>
                  <a:pt x="41" y="5"/>
                </a:cubicBezTo>
                <a:cubicBezTo>
                  <a:pt x="45" y="5"/>
                  <a:pt x="46" y="1"/>
                  <a:pt x="50" y="1"/>
                </a:cubicBezTo>
                <a:cubicBezTo>
                  <a:pt x="56" y="1"/>
                  <a:pt x="57" y="16"/>
                  <a:pt x="66" y="16"/>
                </a:cubicBezTo>
                <a:cubicBezTo>
                  <a:pt x="76" y="16"/>
                  <a:pt x="71" y="9"/>
                  <a:pt x="80" y="9"/>
                </a:cubicBezTo>
                <a:cubicBezTo>
                  <a:pt x="88" y="9"/>
                  <a:pt x="89" y="16"/>
                  <a:pt x="96" y="20"/>
                </a:cubicBezTo>
                <a:cubicBezTo>
                  <a:pt x="96" y="20"/>
                  <a:pt x="96" y="20"/>
                  <a:pt x="96" y="20"/>
                </a:cubicBezTo>
                <a:cubicBezTo>
                  <a:pt x="97" y="20"/>
                  <a:pt x="97" y="20"/>
                  <a:pt x="97" y="20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5" name="Freeform 66"/>
          <p:cNvSpPr>
            <a:spLocks/>
          </p:cNvSpPr>
          <p:nvPr/>
        </p:nvSpPr>
        <p:spPr bwMode="auto">
          <a:xfrm>
            <a:off x="4947894" y="3743993"/>
            <a:ext cx="627082" cy="643879"/>
          </a:xfrm>
          <a:custGeom>
            <a:avLst/>
            <a:gdLst>
              <a:gd name="T0" fmla="*/ 135 w 138"/>
              <a:gd name="T1" fmla="*/ 109 h 142"/>
              <a:gd name="T2" fmla="*/ 135 w 138"/>
              <a:gd name="T3" fmla="*/ 99 h 142"/>
              <a:gd name="T4" fmla="*/ 122 w 138"/>
              <a:gd name="T5" fmla="*/ 87 h 142"/>
              <a:gd name="T6" fmla="*/ 101 w 138"/>
              <a:gd name="T7" fmla="*/ 44 h 142"/>
              <a:gd name="T8" fmla="*/ 77 w 138"/>
              <a:gd name="T9" fmla="*/ 28 h 142"/>
              <a:gd name="T10" fmla="*/ 72 w 138"/>
              <a:gd name="T11" fmla="*/ 13 h 142"/>
              <a:gd name="T12" fmla="*/ 58 w 138"/>
              <a:gd name="T13" fmla="*/ 1 h 142"/>
              <a:gd name="T14" fmla="*/ 43 w 138"/>
              <a:gd name="T15" fmla="*/ 0 h 142"/>
              <a:gd name="T16" fmla="*/ 27 w 138"/>
              <a:gd name="T17" fmla="*/ 27 h 142"/>
              <a:gd name="T18" fmla="*/ 28 w 138"/>
              <a:gd name="T19" fmla="*/ 33 h 142"/>
              <a:gd name="T20" fmla="*/ 23 w 138"/>
              <a:gd name="T21" fmla="*/ 39 h 142"/>
              <a:gd name="T22" fmla="*/ 32 w 138"/>
              <a:gd name="T23" fmla="*/ 46 h 142"/>
              <a:gd name="T24" fmla="*/ 23 w 138"/>
              <a:gd name="T25" fmla="*/ 56 h 142"/>
              <a:gd name="T26" fmla="*/ 26 w 138"/>
              <a:gd name="T27" fmla="*/ 64 h 142"/>
              <a:gd name="T28" fmla="*/ 0 w 138"/>
              <a:gd name="T29" fmla="*/ 107 h 142"/>
              <a:gd name="T30" fmla="*/ 8 w 138"/>
              <a:gd name="T31" fmla="*/ 134 h 142"/>
              <a:gd name="T32" fmla="*/ 12 w 138"/>
              <a:gd name="T33" fmla="*/ 130 h 142"/>
              <a:gd name="T34" fmla="*/ 39 w 138"/>
              <a:gd name="T35" fmla="*/ 142 h 142"/>
              <a:gd name="T36" fmla="*/ 56 w 138"/>
              <a:gd name="T37" fmla="*/ 139 h 142"/>
              <a:gd name="T38" fmla="*/ 62 w 138"/>
              <a:gd name="T39" fmla="*/ 141 h 142"/>
              <a:gd name="T40" fmla="*/ 82 w 138"/>
              <a:gd name="T41" fmla="*/ 105 h 142"/>
              <a:gd name="T42" fmla="*/ 108 w 138"/>
              <a:gd name="T43" fmla="*/ 105 h 142"/>
              <a:gd name="T44" fmla="*/ 131 w 138"/>
              <a:gd name="T45" fmla="*/ 123 h 142"/>
              <a:gd name="T46" fmla="*/ 135 w 138"/>
              <a:gd name="T47" fmla="*/ 109 h 142"/>
              <a:gd name="T48" fmla="*/ 135 w 138"/>
              <a:gd name="T49" fmla="*/ 109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38" h="142">
                <a:moveTo>
                  <a:pt x="135" y="109"/>
                </a:moveTo>
                <a:cubicBezTo>
                  <a:pt x="135" y="109"/>
                  <a:pt x="135" y="104"/>
                  <a:pt x="135" y="99"/>
                </a:cubicBezTo>
                <a:cubicBezTo>
                  <a:pt x="138" y="85"/>
                  <a:pt x="125" y="96"/>
                  <a:pt x="122" y="87"/>
                </a:cubicBezTo>
                <a:cubicBezTo>
                  <a:pt x="117" y="69"/>
                  <a:pt x="109" y="60"/>
                  <a:pt x="101" y="44"/>
                </a:cubicBezTo>
                <a:cubicBezTo>
                  <a:pt x="92" y="44"/>
                  <a:pt x="80" y="35"/>
                  <a:pt x="77" y="28"/>
                </a:cubicBezTo>
                <a:cubicBezTo>
                  <a:pt x="75" y="21"/>
                  <a:pt x="81" y="17"/>
                  <a:pt x="72" y="13"/>
                </a:cubicBezTo>
                <a:cubicBezTo>
                  <a:pt x="66" y="11"/>
                  <a:pt x="64" y="2"/>
                  <a:pt x="58" y="1"/>
                </a:cubicBezTo>
                <a:cubicBezTo>
                  <a:pt x="50" y="0"/>
                  <a:pt x="49" y="2"/>
                  <a:pt x="43" y="0"/>
                </a:cubicBezTo>
                <a:cubicBezTo>
                  <a:pt x="42" y="8"/>
                  <a:pt x="27" y="24"/>
                  <a:pt x="27" y="27"/>
                </a:cubicBezTo>
                <a:cubicBezTo>
                  <a:pt x="27" y="29"/>
                  <a:pt x="28" y="30"/>
                  <a:pt x="28" y="33"/>
                </a:cubicBezTo>
                <a:cubicBezTo>
                  <a:pt x="26" y="35"/>
                  <a:pt x="23" y="35"/>
                  <a:pt x="23" y="39"/>
                </a:cubicBezTo>
                <a:cubicBezTo>
                  <a:pt x="23" y="39"/>
                  <a:pt x="30" y="46"/>
                  <a:pt x="32" y="46"/>
                </a:cubicBezTo>
                <a:cubicBezTo>
                  <a:pt x="30" y="51"/>
                  <a:pt x="23" y="54"/>
                  <a:pt x="23" y="56"/>
                </a:cubicBezTo>
                <a:cubicBezTo>
                  <a:pt x="23" y="59"/>
                  <a:pt x="26" y="60"/>
                  <a:pt x="26" y="64"/>
                </a:cubicBezTo>
                <a:cubicBezTo>
                  <a:pt x="26" y="82"/>
                  <a:pt x="0" y="86"/>
                  <a:pt x="0" y="107"/>
                </a:cubicBezTo>
                <a:cubicBezTo>
                  <a:pt x="0" y="110"/>
                  <a:pt x="6" y="130"/>
                  <a:pt x="8" y="134"/>
                </a:cubicBezTo>
                <a:cubicBezTo>
                  <a:pt x="8" y="131"/>
                  <a:pt x="8" y="130"/>
                  <a:pt x="12" y="130"/>
                </a:cubicBezTo>
                <a:cubicBezTo>
                  <a:pt x="24" y="130"/>
                  <a:pt x="26" y="142"/>
                  <a:pt x="39" y="142"/>
                </a:cubicBezTo>
                <a:cubicBezTo>
                  <a:pt x="46" y="142"/>
                  <a:pt x="50" y="139"/>
                  <a:pt x="56" y="139"/>
                </a:cubicBezTo>
                <a:cubicBezTo>
                  <a:pt x="59" y="139"/>
                  <a:pt x="62" y="141"/>
                  <a:pt x="62" y="141"/>
                </a:cubicBezTo>
                <a:cubicBezTo>
                  <a:pt x="62" y="130"/>
                  <a:pt x="80" y="119"/>
                  <a:pt x="82" y="105"/>
                </a:cubicBezTo>
                <a:cubicBezTo>
                  <a:pt x="94" y="105"/>
                  <a:pt x="99" y="105"/>
                  <a:pt x="108" y="105"/>
                </a:cubicBezTo>
                <a:cubicBezTo>
                  <a:pt x="114" y="105"/>
                  <a:pt x="122" y="120"/>
                  <a:pt x="131" y="123"/>
                </a:cubicBezTo>
                <a:cubicBezTo>
                  <a:pt x="131" y="123"/>
                  <a:pt x="135" y="114"/>
                  <a:pt x="135" y="109"/>
                </a:cubicBezTo>
                <a:cubicBezTo>
                  <a:pt x="135" y="109"/>
                  <a:pt x="135" y="109"/>
                  <a:pt x="135" y="109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" name="Freeform 67"/>
          <p:cNvSpPr>
            <a:spLocks/>
          </p:cNvSpPr>
          <p:nvPr/>
        </p:nvSpPr>
        <p:spPr bwMode="auto">
          <a:xfrm>
            <a:off x="4883505" y="3214890"/>
            <a:ext cx="408726" cy="478711"/>
          </a:xfrm>
          <a:custGeom>
            <a:avLst/>
            <a:gdLst>
              <a:gd name="T0" fmla="*/ 69 w 90"/>
              <a:gd name="T1" fmla="*/ 6 h 106"/>
              <a:gd name="T2" fmla="*/ 74 w 90"/>
              <a:gd name="T3" fmla="*/ 33 h 106"/>
              <a:gd name="T4" fmla="*/ 89 w 90"/>
              <a:gd name="T5" fmla="*/ 54 h 106"/>
              <a:gd name="T6" fmla="*/ 89 w 90"/>
              <a:gd name="T7" fmla="*/ 59 h 106"/>
              <a:gd name="T8" fmla="*/ 90 w 90"/>
              <a:gd name="T9" fmla="*/ 66 h 106"/>
              <a:gd name="T10" fmla="*/ 74 w 90"/>
              <a:gd name="T11" fmla="*/ 91 h 106"/>
              <a:gd name="T12" fmla="*/ 53 w 90"/>
              <a:gd name="T13" fmla="*/ 106 h 106"/>
              <a:gd name="T14" fmla="*/ 53 w 90"/>
              <a:gd name="T15" fmla="*/ 106 h 106"/>
              <a:gd name="T16" fmla="*/ 51 w 90"/>
              <a:gd name="T17" fmla="*/ 104 h 106"/>
              <a:gd name="T18" fmla="*/ 51 w 90"/>
              <a:gd name="T19" fmla="*/ 104 h 106"/>
              <a:gd name="T20" fmla="*/ 35 w 90"/>
              <a:gd name="T21" fmla="*/ 60 h 106"/>
              <a:gd name="T22" fmla="*/ 20 w 90"/>
              <a:gd name="T23" fmla="*/ 53 h 106"/>
              <a:gd name="T24" fmla="*/ 0 w 90"/>
              <a:gd name="T25" fmla="*/ 29 h 106"/>
              <a:gd name="T26" fmla="*/ 20 w 90"/>
              <a:gd name="T27" fmla="*/ 8 h 106"/>
              <a:gd name="T28" fmla="*/ 31 w 90"/>
              <a:gd name="T29" fmla="*/ 11 h 106"/>
              <a:gd name="T30" fmla="*/ 41 w 90"/>
              <a:gd name="T31" fmla="*/ 0 h 106"/>
              <a:gd name="T32" fmla="*/ 63 w 90"/>
              <a:gd name="T33" fmla="*/ 6 h 106"/>
              <a:gd name="T34" fmla="*/ 69 w 90"/>
              <a:gd name="T35" fmla="*/ 5 h 106"/>
              <a:gd name="T36" fmla="*/ 69 w 90"/>
              <a:gd name="T37" fmla="*/ 5 h 106"/>
              <a:gd name="T38" fmla="*/ 69 w 90"/>
              <a:gd name="T39" fmla="*/ 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106">
                <a:moveTo>
                  <a:pt x="69" y="6"/>
                </a:moveTo>
                <a:cubicBezTo>
                  <a:pt x="73" y="15"/>
                  <a:pt x="70" y="24"/>
                  <a:pt x="74" y="33"/>
                </a:cubicBezTo>
                <a:cubicBezTo>
                  <a:pt x="78" y="40"/>
                  <a:pt x="89" y="43"/>
                  <a:pt x="89" y="54"/>
                </a:cubicBezTo>
                <a:cubicBezTo>
                  <a:pt x="89" y="59"/>
                  <a:pt x="89" y="54"/>
                  <a:pt x="89" y="59"/>
                </a:cubicBezTo>
                <a:cubicBezTo>
                  <a:pt x="89" y="61"/>
                  <a:pt x="89" y="64"/>
                  <a:pt x="90" y="66"/>
                </a:cubicBezTo>
                <a:cubicBezTo>
                  <a:pt x="81" y="72"/>
                  <a:pt x="76" y="78"/>
                  <a:pt x="74" y="91"/>
                </a:cubicBezTo>
                <a:cubicBezTo>
                  <a:pt x="73" y="104"/>
                  <a:pt x="53" y="93"/>
                  <a:pt x="53" y="106"/>
                </a:cubicBezTo>
                <a:cubicBezTo>
                  <a:pt x="53" y="106"/>
                  <a:pt x="53" y="106"/>
                  <a:pt x="53" y="106"/>
                </a:cubicBezTo>
                <a:cubicBezTo>
                  <a:pt x="51" y="104"/>
                  <a:pt x="51" y="104"/>
                  <a:pt x="51" y="104"/>
                </a:cubicBezTo>
                <a:cubicBezTo>
                  <a:pt x="51" y="104"/>
                  <a:pt x="51" y="104"/>
                  <a:pt x="51" y="104"/>
                </a:cubicBezTo>
                <a:cubicBezTo>
                  <a:pt x="36" y="92"/>
                  <a:pt x="42" y="76"/>
                  <a:pt x="35" y="60"/>
                </a:cubicBezTo>
                <a:cubicBezTo>
                  <a:pt x="32" y="55"/>
                  <a:pt x="20" y="55"/>
                  <a:pt x="20" y="53"/>
                </a:cubicBezTo>
                <a:cubicBezTo>
                  <a:pt x="17" y="40"/>
                  <a:pt x="15" y="29"/>
                  <a:pt x="0" y="29"/>
                </a:cubicBezTo>
                <a:cubicBezTo>
                  <a:pt x="10" y="24"/>
                  <a:pt x="19" y="22"/>
                  <a:pt x="20" y="8"/>
                </a:cubicBezTo>
                <a:cubicBezTo>
                  <a:pt x="24" y="8"/>
                  <a:pt x="26" y="11"/>
                  <a:pt x="31" y="11"/>
                </a:cubicBezTo>
                <a:cubicBezTo>
                  <a:pt x="36" y="11"/>
                  <a:pt x="36" y="2"/>
                  <a:pt x="41" y="0"/>
                </a:cubicBezTo>
                <a:cubicBezTo>
                  <a:pt x="46" y="5"/>
                  <a:pt x="53" y="6"/>
                  <a:pt x="63" y="6"/>
                </a:cubicBezTo>
                <a:cubicBezTo>
                  <a:pt x="65" y="6"/>
                  <a:pt x="67" y="6"/>
                  <a:pt x="69" y="5"/>
                </a:cubicBezTo>
                <a:cubicBezTo>
                  <a:pt x="69" y="5"/>
                  <a:pt x="69" y="5"/>
                  <a:pt x="69" y="5"/>
                </a:cubicBezTo>
                <a:cubicBezTo>
                  <a:pt x="69" y="6"/>
                  <a:pt x="69" y="6"/>
                  <a:pt x="69" y="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7" name="Freeform 68"/>
          <p:cNvSpPr>
            <a:spLocks/>
          </p:cNvSpPr>
          <p:nvPr/>
        </p:nvSpPr>
        <p:spPr bwMode="auto">
          <a:xfrm>
            <a:off x="4539168" y="2878952"/>
            <a:ext cx="531901" cy="506707"/>
          </a:xfrm>
          <a:custGeom>
            <a:avLst/>
            <a:gdLst>
              <a:gd name="T0" fmla="*/ 66 w 117"/>
              <a:gd name="T1" fmla="*/ 16 h 112"/>
              <a:gd name="T2" fmla="*/ 60 w 117"/>
              <a:gd name="T3" fmla="*/ 22 h 112"/>
              <a:gd name="T4" fmla="*/ 28 w 117"/>
              <a:gd name="T5" fmla="*/ 0 h 112"/>
              <a:gd name="T6" fmla="*/ 25 w 117"/>
              <a:gd name="T7" fmla="*/ 12 h 112"/>
              <a:gd name="T8" fmla="*/ 0 w 117"/>
              <a:gd name="T9" fmla="*/ 43 h 112"/>
              <a:gd name="T10" fmla="*/ 10 w 117"/>
              <a:gd name="T11" fmla="*/ 54 h 112"/>
              <a:gd name="T12" fmla="*/ 18 w 117"/>
              <a:gd name="T13" fmla="*/ 49 h 112"/>
              <a:gd name="T14" fmla="*/ 31 w 117"/>
              <a:gd name="T15" fmla="*/ 69 h 112"/>
              <a:gd name="T16" fmla="*/ 54 w 117"/>
              <a:gd name="T17" fmla="*/ 85 h 112"/>
              <a:gd name="T18" fmla="*/ 48 w 117"/>
              <a:gd name="T19" fmla="*/ 101 h 112"/>
              <a:gd name="T20" fmla="*/ 48 w 117"/>
              <a:gd name="T21" fmla="*/ 101 h 112"/>
              <a:gd name="T22" fmla="*/ 49 w 117"/>
              <a:gd name="T23" fmla="*/ 112 h 112"/>
              <a:gd name="T24" fmla="*/ 49 w 117"/>
              <a:gd name="T25" fmla="*/ 112 h 112"/>
              <a:gd name="T26" fmla="*/ 57 w 117"/>
              <a:gd name="T27" fmla="*/ 105 h 112"/>
              <a:gd name="T28" fmla="*/ 61 w 117"/>
              <a:gd name="T29" fmla="*/ 107 h 112"/>
              <a:gd name="T30" fmla="*/ 77 w 117"/>
              <a:gd name="T31" fmla="*/ 105 h 112"/>
              <a:gd name="T32" fmla="*/ 96 w 117"/>
              <a:gd name="T33" fmla="*/ 82 h 112"/>
              <a:gd name="T34" fmla="*/ 107 w 117"/>
              <a:gd name="T35" fmla="*/ 85 h 112"/>
              <a:gd name="T36" fmla="*/ 117 w 117"/>
              <a:gd name="T37" fmla="*/ 74 h 112"/>
              <a:gd name="T38" fmla="*/ 111 w 117"/>
              <a:gd name="T39" fmla="*/ 57 h 112"/>
              <a:gd name="T40" fmla="*/ 117 w 117"/>
              <a:gd name="T41" fmla="*/ 41 h 112"/>
              <a:gd name="T42" fmla="*/ 107 w 117"/>
              <a:gd name="T43" fmla="*/ 27 h 112"/>
              <a:gd name="T44" fmla="*/ 108 w 117"/>
              <a:gd name="T45" fmla="*/ 11 h 112"/>
              <a:gd name="T46" fmla="*/ 80 w 117"/>
              <a:gd name="T47" fmla="*/ 18 h 112"/>
              <a:gd name="T48" fmla="*/ 68 w 117"/>
              <a:gd name="T49" fmla="*/ 12 h 112"/>
              <a:gd name="T50" fmla="*/ 68 w 117"/>
              <a:gd name="T51" fmla="*/ 12 h 112"/>
              <a:gd name="T52" fmla="*/ 68 w 117"/>
              <a:gd name="T53" fmla="*/ 12 h 112"/>
              <a:gd name="T54" fmla="*/ 66 w 117"/>
              <a:gd name="T55" fmla="*/ 16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7" h="112">
                <a:moveTo>
                  <a:pt x="66" y="16"/>
                </a:moveTo>
                <a:cubicBezTo>
                  <a:pt x="63" y="17"/>
                  <a:pt x="64" y="22"/>
                  <a:pt x="60" y="22"/>
                </a:cubicBezTo>
                <a:cubicBezTo>
                  <a:pt x="44" y="22"/>
                  <a:pt x="41" y="0"/>
                  <a:pt x="28" y="0"/>
                </a:cubicBezTo>
                <a:cubicBezTo>
                  <a:pt x="22" y="0"/>
                  <a:pt x="25" y="10"/>
                  <a:pt x="25" y="12"/>
                </a:cubicBezTo>
                <a:cubicBezTo>
                  <a:pt x="25" y="25"/>
                  <a:pt x="0" y="26"/>
                  <a:pt x="0" y="43"/>
                </a:cubicBezTo>
                <a:cubicBezTo>
                  <a:pt x="0" y="52"/>
                  <a:pt x="4" y="54"/>
                  <a:pt x="10" y="54"/>
                </a:cubicBezTo>
                <a:cubicBezTo>
                  <a:pt x="15" y="54"/>
                  <a:pt x="17" y="52"/>
                  <a:pt x="18" y="49"/>
                </a:cubicBezTo>
                <a:cubicBezTo>
                  <a:pt x="23" y="55"/>
                  <a:pt x="27" y="64"/>
                  <a:pt x="31" y="69"/>
                </a:cubicBezTo>
                <a:cubicBezTo>
                  <a:pt x="38" y="75"/>
                  <a:pt x="54" y="71"/>
                  <a:pt x="54" y="85"/>
                </a:cubicBezTo>
                <a:cubicBezTo>
                  <a:pt x="54" y="91"/>
                  <a:pt x="49" y="97"/>
                  <a:pt x="48" y="101"/>
                </a:cubicBezTo>
                <a:cubicBezTo>
                  <a:pt x="48" y="101"/>
                  <a:pt x="48" y="101"/>
                  <a:pt x="48" y="101"/>
                </a:cubicBezTo>
                <a:cubicBezTo>
                  <a:pt x="49" y="112"/>
                  <a:pt x="49" y="112"/>
                  <a:pt x="49" y="112"/>
                </a:cubicBezTo>
                <a:cubicBezTo>
                  <a:pt x="49" y="112"/>
                  <a:pt x="49" y="112"/>
                  <a:pt x="49" y="112"/>
                </a:cubicBezTo>
                <a:cubicBezTo>
                  <a:pt x="50" y="109"/>
                  <a:pt x="53" y="107"/>
                  <a:pt x="57" y="105"/>
                </a:cubicBezTo>
                <a:cubicBezTo>
                  <a:pt x="57" y="106"/>
                  <a:pt x="58" y="107"/>
                  <a:pt x="61" y="107"/>
                </a:cubicBezTo>
                <a:cubicBezTo>
                  <a:pt x="66" y="107"/>
                  <a:pt x="71" y="105"/>
                  <a:pt x="77" y="105"/>
                </a:cubicBezTo>
                <a:cubicBezTo>
                  <a:pt x="85" y="98"/>
                  <a:pt x="95" y="96"/>
                  <a:pt x="96" y="82"/>
                </a:cubicBezTo>
                <a:cubicBezTo>
                  <a:pt x="100" y="82"/>
                  <a:pt x="102" y="85"/>
                  <a:pt x="107" y="85"/>
                </a:cubicBezTo>
                <a:cubicBezTo>
                  <a:pt x="112" y="85"/>
                  <a:pt x="112" y="76"/>
                  <a:pt x="117" y="74"/>
                </a:cubicBezTo>
                <a:cubicBezTo>
                  <a:pt x="113" y="70"/>
                  <a:pt x="111" y="64"/>
                  <a:pt x="111" y="57"/>
                </a:cubicBezTo>
                <a:cubicBezTo>
                  <a:pt x="111" y="50"/>
                  <a:pt x="117" y="47"/>
                  <a:pt x="117" y="41"/>
                </a:cubicBezTo>
                <a:cubicBezTo>
                  <a:pt x="117" y="34"/>
                  <a:pt x="107" y="33"/>
                  <a:pt x="107" y="27"/>
                </a:cubicBezTo>
                <a:cubicBezTo>
                  <a:pt x="107" y="23"/>
                  <a:pt x="114" y="18"/>
                  <a:pt x="108" y="11"/>
                </a:cubicBezTo>
                <a:cubicBezTo>
                  <a:pt x="100" y="15"/>
                  <a:pt x="91" y="18"/>
                  <a:pt x="80" y="18"/>
                </a:cubicBezTo>
                <a:cubicBezTo>
                  <a:pt x="74" y="18"/>
                  <a:pt x="68" y="20"/>
                  <a:pt x="68" y="12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12"/>
                  <a:pt x="68" y="12"/>
                  <a:pt x="68" y="12"/>
                </a:cubicBezTo>
                <a:cubicBezTo>
                  <a:pt x="66" y="16"/>
                  <a:pt x="66" y="16"/>
                  <a:pt x="66" y="16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8" name="Freeform 69"/>
          <p:cNvSpPr>
            <a:spLocks/>
          </p:cNvSpPr>
          <p:nvPr/>
        </p:nvSpPr>
        <p:spPr bwMode="auto">
          <a:xfrm>
            <a:off x="5124258" y="3514436"/>
            <a:ext cx="450717" cy="431119"/>
          </a:xfrm>
          <a:custGeom>
            <a:avLst/>
            <a:gdLst>
              <a:gd name="T0" fmla="*/ 38 w 99"/>
              <a:gd name="T1" fmla="*/ 1 h 95"/>
              <a:gd name="T2" fmla="*/ 49 w 99"/>
              <a:gd name="T3" fmla="*/ 15 h 95"/>
              <a:gd name="T4" fmla="*/ 49 w 99"/>
              <a:gd name="T5" fmla="*/ 15 h 95"/>
              <a:gd name="T6" fmla="*/ 58 w 99"/>
              <a:gd name="T7" fmla="*/ 15 h 95"/>
              <a:gd name="T8" fmla="*/ 58 w 99"/>
              <a:gd name="T9" fmla="*/ 15 h 95"/>
              <a:gd name="T10" fmla="*/ 79 w 99"/>
              <a:gd name="T11" fmla="*/ 3 h 95"/>
              <a:gd name="T12" fmla="*/ 76 w 99"/>
              <a:gd name="T13" fmla="*/ 12 h 95"/>
              <a:gd name="T14" fmla="*/ 84 w 99"/>
              <a:gd name="T15" fmla="*/ 20 h 95"/>
              <a:gd name="T16" fmla="*/ 92 w 99"/>
              <a:gd name="T17" fmla="*/ 20 h 95"/>
              <a:gd name="T18" fmla="*/ 97 w 99"/>
              <a:gd name="T19" fmla="*/ 37 h 95"/>
              <a:gd name="T20" fmla="*/ 73 w 99"/>
              <a:gd name="T21" fmla="*/ 62 h 95"/>
              <a:gd name="T22" fmla="*/ 73 w 99"/>
              <a:gd name="T23" fmla="*/ 79 h 95"/>
              <a:gd name="T24" fmla="*/ 62 w 99"/>
              <a:gd name="T25" fmla="*/ 95 h 95"/>
              <a:gd name="T26" fmla="*/ 38 w 99"/>
              <a:gd name="T27" fmla="*/ 79 h 95"/>
              <a:gd name="T28" fmla="*/ 33 w 99"/>
              <a:gd name="T29" fmla="*/ 64 h 95"/>
              <a:gd name="T30" fmla="*/ 19 w 99"/>
              <a:gd name="T31" fmla="*/ 52 h 95"/>
              <a:gd name="T32" fmla="*/ 3 w 99"/>
              <a:gd name="T33" fmla="*/ 48 h 95"/>
              <a:gd name="T34" fmla="*/ 0 w 99"/>
              <a:gd name="T35" fmla="*/ 40 h 95"/>
              <a:gd name="T36" fmla="*/ 21 w 99"/>
              <a:gd name="T37" fmla="*/ 25 h 95"/>
              <a:gd name="T38" fmla="*/ 36 w 99"/>
              <a:gd name="T39" fmla="*/ 0 h 95"/>
              <a:gd name="T40" fmla="*/ 36 w 99"/>
              <a:gd name="T41" fmla="*/ 0 h 95"/>
              <a:gd name="T42" fmla="*/ 38 w 99"/>
              <a:gd name="T43" fmla="*/ 1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9" h="95">
                <a:moveTo>
                  <a:pt x="38" y="1"/>
                </a:moveTo>
                <a:cubicBezTo>
                  <a:pt x="39" y="6"/>
                  <a:pt x="44" y="14"/>
                  <a:pt x="49" y="15"/>
                </a:cubicBezTo>
                <a:cubicBezTo>
                  <a:pt x="49" y="15"/>
                  <a:pt x="49" y="15"/>
                  <a:pt x="49" y="15"/>
                </a:cubicBezTo>
                <a:cubicBezTo>
                  <a:pt x="58" y="15"/>
                  <a:pt x="58" y="15"/>
                  <a:pt x="58" y="15"/>
                </a:cubicBezTo>
                <a:cubicBezTo>
                  <a:pt x="58" y="15"/>
                  <a:pt x="58" y="15"/>
                  <a:pt x="58" y="15"/>
                </a:cubicBezTo>
                <a:cubicBezTo>
                  <a:pt x="58" y="1"/>
                  <a:pt x="69" y="3"/>
                  <a:pt x="79" y="3"/>
                </a:cubicBezTo>
                <a:cubicBezTo>
                  <a:pt x="78" y="6"/>
                  <a:pt x="76" y="9"/>
                  <a:pt x="76" y="12"/>
                </a:cubicBezTo>
                <a:cubicBezTo>
                  <a:pt x="76" y="17"/>
                  <a:pt x="79" y="20"/>
                  <a:pt x="84" y="20"/>
                </a:cubicBezTo>
                <a:cubicBezTo>
                  <a:pt x="89" y="20"/>
                  <a:pt x="91" y="20"/>
                  <a:pt x="92" y="20"/>
                </a:cubicBezTo>
                <a:cubicBezTo>
                  <a:pt x="99" y="20"/>
                  <a:pt x="96" y="30"/>
                  <a:pt x="97" y="37"/>
                </a:cubicBezTo>
                <a:cubicBezTo>
                  <a:pt x="89" y="42"/>
                  <a:pt x="73" y="53"/>
                  <a:pt x="73" y="62"/>
                </a:cubicBezTo>
                <a:cubicBezTo>
                  <a:pt x="73" y="67"/>
                  <a:pt x="73" y="69"/>
                  <a:pt x="73" y="79"/>
                </a:cubicBezTo>
                <a:cubicBezTo>
                  <a:pt x="73" y="89"/>
                  <a:pt x="73" y="95"/>
                  <a:pt x="62" y="95"/>
                </a:cubicBezTo>
                <a:cubicBezTo>
                  <a:pt x="53" y="95"/>
                  <a:pt x="41" y="86"/>
                  <a:pt x="38" y="79"/>
                </a:cubicBezTo>
                <a:cubicBezTo>
                  <a:pt x="36" y="72"/>
                  <a:pt x="42" y="68"/>
                  <a:pt x="33" y="64"/>
                </a:cubicBezTo>
                <a:cubicBezTo>
                  <a:pt x="27" y="62"/>
                  <a:pt x="25" y="53"/>
                  <a:pt x="19" y="52"/>
                </a:cubicBezTo>
                <a:cubicBezTo>
                  <a:pt x="11" y="51"/>
                  <a:pt x="6" y="53"/>
                  <a:pt x="3" y="48"/>
                </a:cubicBezTo>
                <a:cubicBezTo>
                  <a:pt x="0" y="44"/>
                  <a:pt x="0" y="44"/>
                  <a:pt x="0" y="40"/>
                </a:cubicBezTo>
                <a:cubicBezTo>
                  <a:pt x="0" y="27"/>
                  <a:pt x="20" y="38"/>
                  <a:pt x="21" y="25"/>
                </a:cubicBezTo>
                <a:cubicBezTo>
                  <a:pt x="23" y="12"/>
                  <a:pt x="28" y="6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8" y="1"/>
                  <a:pt x="38" y="1"/>
                  <a:pt x="38" y="1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9" name="Freeform 70"/>
          <p:cNvSpPr>
            <a:spLocks/>
          </p:cNvSpPr>
          <p:nvPr/>
        </p:nvSpPr>
        <p:spPr bwMode="auto">
          <a:xfrm>
            <a:off x="6364428" y="4289892"/>
            <a:ext cx="646679" cy="562695"/>
          </a:xfrm>
          <a:custGeom>
            <a:avLst/>
            <a:gdLst>
              <a:gd name="T0" fmla="*/ 38 w 143"/>
              <a:gd name="T1" fmla="*/ 124 h 124"/>
              <a:gd name="T2" fmla="*/ 67 w 143"/>
              <a:gd name="T3" fmla="*/ 116 h 124"/>
              <a:gd name="T4" fmla="*/ 94 w 143"/>
              <a:gd name="T5" fmla="*/ 94 h 124"/>
              <a:gd name="T6" fmla="*/ 118 w 143"/>
              <a:gd name="T7" fmla="*/ 70 h 124"/>
              <a:gd name="T8" fmla="*/ 134 w 143"/>
              <a:gd name="T9" fmla="*/ 58 h 124"/>
              <a:gd name="T10" fmla="*/ 143 w 143"/>
              <a:gd name="T11" fmla="*/ 40 h 124"/>
              <a:gd name="T12" fmla="*/ 124 w 143"/>
              <a:gd name="T13" fmla="*/ 5 h 124"/>
              <a:gd name="T14" fmla="*/ 118 w 143"/>
              <a:gd name="T15" fmla="*/ 14 h 124"/>
              <a:gd name="T16" fmla="*/ 110 w 143"/>
              <a:gd name="T17" fmla="*/ 14 h 124"/>
              <a:gd name="T18" fmla="*/ 91 w 143"/>
              <a:gd name="T19" fmla="*/ 0 h 124"/>
              <a:gd name="T20" fmla="*/ 72 w 143"/>
              <a:gd name="T21" fmla="*/ 21 h 124"/>
              <a:gd name="T22" fmla="*/ 28 w 143"/>
              <a:gd name="T23" fmla="*/ 3 h 124"/>
              <a:gd name="T24" fmla="*/ 22 w 143"/>
              <a:gd name="T25" fmla="*/ 11 h 124"/>
              <a:gd name="T26" fmla="*/ 11 w 143"/>
              <a:gd name="T27" fmla="*/ 9 h 124"/>
              <a:gd name="T28" fmla="*/ 6 w 143"/>
              <a:gd name="T29" fmla="*/ 21 h 124"/>
              <a:gd name="T30" fmla="*/ 9 w 143"/>
              <a:gd name="T31" fmla="*/ 35 h 124"/>
              <a:gd name="T32" fmla="*/ 0 w 143"/>
              <a:gd name="T33" fmla="*/ 49 h 124"/>
              <a:gd name="T34" fmla="*/ 20 w 143"/>
              <a:gd name="T35" fmla="*/ 75 h 124"/>
              <a:gd name="T36" fmla="*/ 40 w 143"/>
              <a:gd name="T37" fmla="*/ 122 h 124"/>
              <a:gd name="T38" fmla="*/ 40 w 143"/>
              <a:gd name="T39" fmla="*/ 122 h 124"/>
              <a:gd name="T40" fmla="*/ 38 w 143"/>
              <a:gd name="T41" fmla="*/ 124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3" h="124">
                <a:moveTo>
                  <a:pt x="38" y="124"/>
                </a:moveTo>
                <a:cubicBezTo>
                  <a:pt x="46" y="120"/>
                  <a:pt x="59" y="121"/>
                  <a:pt x="67" y="116"/>
                </a:cubicBezTo>
                <a:cubicBezTo>
                  <a:pt x="73" y="111"/>
                  <a:pt x="81" y="94"/>
                  <a:pt x="94" y="94"/>
                </a:cubicBezTo>
                <a:cubicBezTo>
                  <a:pt x="108" y="94"/>
                  <a:pt x="111" y="78"/>
                  <a:pt x="118" y="70"/>
                </a:cubicBezTo>
                <a:cubicBezTo>
                  <a:pt x="122" y="64"/>
                  <a:pt x="129" y="65"/>
                  <a:pt x="134" y="58"/>
                </a:cubicBezTo>
                <a:cubicBezTo>
                  <a:pt x="138" y="53"/>
                  <a:pt x="133" y="40"/>
                  <a:pt x="143" y="40"/>
                </a:cubicBezTo>
                <a:cubicBezTo>
                  <a:pt x="137" y="31"/>
                  <a:pt x="131" y="17"/>
                  <a:pt x="124" y="5"/>
                </a:cubicBezTo>
                <a:cubicBezTo>
                  <a:pt x="120" y="6"/>
                  <a:pt x="118" y="9"/>
                  <a:pt x="118" y="14"/>
                </a:cubicBezTo>
                <a:cubicBezTo>
                  <a:pt x="116" y="14"/>
                  <a:pt x="113" y="14"/>
                  <a:pt x="110" y="14"/>
                </a:cubicBezTo>
                <a:cubicBezTo>
                  <a:pt x="104" y="14"/>
                  <a:pt x="96" y="9"/>
                  <a:pt x="91" y="0"/>
                </a:cubicBezTo>
                <a:cubicBezTo>
                  <a:pt x="90" y="11"/>
                  <a:pt x="83" y="21"/>
                  <a:pt x="72" y="21"/>
                </a:cubicBezTo>
                <a:cubicBezTo>
                  <a:pt x="63" y="21"/>
                  <a:pt x="42" y="3"/>
                  <a:pt x="28" y="3"/>
                </a:cubicBezTo>
                <a:cubicBezTo>
                  <a:pt x="25" y="3"/>
                  <a:pt x="22" y="8"/>
                  <a:pt x="22" y="11"/>
                </a:cubicBezTo>
                <a:cubicBezTo>
                  <a:pt x="17" y="11"/>
                  <a:pt x="14" y="10"/>
                  <a:pt x="11" y="9"/>
                </a:cubicBezTo>
                <a:cubicBezTo>
                  <a:pt x="9" y="11"/>
                  <a:pt x="6" y="15"/>
                  <a:pt x="6" y="21"/>
                </a:cubicBezTo>
                <a:cubicBezTo>
                  <a:pt x="6" y="27"/>
                  <a:pt x="9" y="30"/>
                  <a:pt x="9" y="35"/>
                </a:cubicBezTo>
                <a:cubicBezTo>
                  <a:pt x="9" y="44"/>
                  <a:pt x="0" y="42"/>
                  <a:pt x="0" y="49"/>
                </a:cubicBezTo>
                <a:cubicBezTo>
                  <a:pt x="0" y="62"/>
                  <a:pt x="15" y="69"/>
                  <a:pt x="20" y="75"/>
                </a:cubicBezTo>
                <a:cubicBezTo>
                  <a:pt x="28" y="88"/>
                  <a:pt x="31" y="110"/>
                  <a:pt x="40" y="122"/>
                </a:cubicBezTo>
                <a:cubicBezTo>
                  <a:pt x="40" y="122"/>
                  <a:pt x="40" y="122"/>
                  <a:pt x="40" y="122"/>
                </a:cubicBezTo>
                <a:cubicBezTo>
                  <a:pt x="38" y="124"/>
                  <a:pt x="38" y="124"/>
                  <a:pt x="38" y="124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0" name="Freeform 71"/>
          <p:cNvSpPr>
            <a:spLocks/>
          </p:cNvSpPr>
          <p:nvPr/>
        </p:nvSpPr>
        <p:spPr bwMode="auto">
          <a:xfrm>
            <a:off x="6182461" y="3962353"/>
            <a:ext cx="593489" cy="509505"/>
          </a:xfrm>
          <a:custGeom>
            <a:avLst/>
            <a:gdLst>
              <a:gd name="T0" fmla="*/ 49 w 131"/>
              <a:gd name="T1" fmla="*/ 112 h 112"/>
              <a:gd name="T2" fmla="*/ 0 w 131"/>
              <a:gd name="T3" fmla="*/ 94 h 112"/>
              <a:gd name="T4" fmla="*/ 22 w 131"/>
              <a:gd name="T5" fmla="*/ 65 h 112"/>
              <a:gd name="T6" fmla="*/ 16 w 131"/>
              <a:gd name="T7" fmla="*/ 54 h 112"/>
              <a:gd name="T8" fmla="*/ 22 w 131"/>
              <a:gd name="T9" fmla="*/ 35 h 112"/>
              <a:gd name="T10" fmla="*/ 16 w 131"/>
              <a:gd name="T11" fmla="*/ 22 h 112"/>
              <a:gd name="T12" fmla="*/ 16 w 131"/>
              <a:gd name="T13" fmla="*/ 22 h 112"/>
              <a:gd name="T14" fmla="*/ 16 w 131"/>
              <a:gd name="T15" fmla="*/ 14 h 112"/>
              <a:gd name="T16" fmla="*/ 16 w 131"/>
              <a:gd name="T17" fmla="*/ 14 h 112"/>
              <a:gd name="T18" fmla="*/ 22 w 131"/>
              <a:gd name="T19" fmla="*/ 14 h 112"/>
              <a:gd name="T20" fmla="*/ 40 w 131"/>
              <a:gd name="T21" fmla="*/ 21 h 112"/>
              <a:gd name="T22" fmla="*/ 49 w 131"/>
              <a:gd name="T23" fmla="*/ 0 h 112"/>
              <a:gd name="T24" fmla="*/ 62 w 131"/>
              <a:gd name="T25" fmla="*/ 17 h 112"/>
              <a:gd name="T26" fmla="*/ 70 w 131"/>
              <a:gd name="T27" fmla="*/ 23 h 112"/>
              <a:gd name="T28" fmla="*/ 91 w 131"/>
              <a:gd name="T29" fmla="*/ 25 h 112"/>
              <a:gd name="T30" fmla="*/ 103 w 131"/>
              <a:gd name="T31" fmla="*/ 41 h 112"/>
              <a:gd name="T32" fmla="*/ 118 w 131"/>
              <a:gd name="T33" fmla="*/ 40 h 112"/>
              <a:gd name="T34" fmla="*/ 123 w 131"/>
              <a:gd name="T35" fmla="*/ 53 h 112"/>
              <a:gd name="T36" fmla="*/ 131 w 131"/>
              <a:gd name="T37" fmla="*/ 72 h 112"/>
              <a:gd name="T38" fmla="*/ 112 w 131"/>
              <a:gd name="T39" fmla="*/ 93 h 112"/>
              <a:gd name="T40" fmla="*/ 68 w 131"/>
              <a:gd name="T41" fmla="*/ 75 h 112"/>
              <a:gd name="T42" fmla="*/ 62 w 131"/>
              <a:gd name="T43" fmla="*/ 83 h 112"/>
              <a:gd name="T44" fmla="*/ 51 w 131"/>
              <a:gd name="T45" fmla="*/ 81 h 112"/>
              <a:gd name="T46" fmla="*/ 46 w 131"/>
              <a:gd name="T47" fmla="*/ 93 h 112"/>
              <a:gd name="T48" fmla="*/ 49 w 131"/>
              <a:gd name="T49" fmla="*/ 107 h 112"/>
              <a:gd name="T50" fmla="*/ 49 w 131"/>
              <a:gd name="T51" fmla="*/ 112 h 112"/>
              <a:gd name="T52" fmla="*/ 49 w 131"/>
              <a:gd name="T53" fmla="*/ 112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1" h="112">
                <a:moveTo>
                  <a:pt x="49" y="112"/>
                </a:moveTo>
                <a:cubicBezTo>
                  <a:pt x="39" y="112"/>
                  <a:pt x="0" y="103"/>
                  <a:pt x="0" y="94"/>
                </a:cubicBezTo>
                <a:cubicBezTo>
                  <a:pt x="0" y="83"/>
                  <a:pt x="22" y="78"/>
                  <a:pt x="22" y="65"/>
                </a:cubicBezTo>
                <a:cubicBezTo>
                  <a:pt x="22" y="59"/>
                  <a:pt x="16" y="60"/>
                  <a:pt x="16" y="54"/>
                </a:cubicBezTo>
                <a:cubicBezTo>
                  <a:pt x="16" y="46"/>
                  <a:pt x="22" y="45"/>
                  <a:pt x="22" y="35"/>
                </a:cubicBezTo>
                <a:cubicBezTo>
                  <a:pt x="22" y="28"/>
                  <a:pt x="20" y="23"/>
                  <a:pt x="16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14"/>
                  <a:pt x="16" y="14"/>
                  <a:pt x="16" y="14"/>
                </a:cubicBezTo>
                <a:cubicBezTo>
                  <a:pt x="16" y="14"/>
                  <a:pt x="16" y="14"/>
                  <a:pt x="16" y="14"/>
                </a:cubicBezTo>
                <a:cubicBezTo>
                  <a:pt x="18" y="14"/>
                  <a:pt x="18" y="14"/>
                  <a:pt x="22" y="14"/>
                </a:cubicBezTo>
                <a:cubicBezTo>
                  <a:pt x="29" y="14"/>
                  <a:pt x="32" y="21"/>
                  <a:pt x="40" y="21"/>
                </a:cubicBezTo>
                <a:cubicBezTo>
                  <a:pt x="49" y="21"/>
                  <a:pt x="49" y="8"/>
                  <a:pt x="49" y="0"/>
                </a:cubicBezTo>
                <a:cubicBezTo>
                  <a:pt x="49" y="2"/>
                  <a:pt x="56" y="11"/>
                  <a:pt x="62" y="17"/>
                </a:cubicBezTo>
                <a:cubicBezTo>
                  <a:pt x="66" y="21"/>
                  <a:pt x="68" y="23"/>
                  <a:pt x="70" y="23"/>
                </a:cubicBezTo>
                <a:cubicBezTo>
                  <a:pt x="78" y="27"/>
                  <a:pt x="84" y="23"/>
                  <a:pt x="91" y="25"/>
                </a:cubicBezTo>
                <a:cubicBezTo>
                  <a:pt x="96" y="29"/>
                  <a:pt x="93" y="40"/>
                  <a:pt x="103" y="41"/>
                </a:cubicBezTo>
                <a:cubicBezTo>
                  <a:pt x="108" y="41"/>
                  <a:pt x="115" y="40"/>
                  <a:pt x="118" y="40"/>
                </a:cubicBezTo>
                <a:cubicBezTo>
                  <a:pt x="125" y="40"/>
                  <a:pt x="121" y="46"/>
                  <a:pt x="123" y="53"/>
                </a:cubicBezTo>
                <a:cubicBezTo>
                  <a:pt x="123" y="57"/>
                  <a:pt x="126" y="66"/>
                  <a:pt x="131" y="72"/>
                </a:cubicBezTo>
                <a:cubicBezTo>
                  <a:pt x="130" y="83"/>
                  <a:pt x="123" y="93"/>
                  <a:pt x="112" y="93"/>
                </a:cubicBezTo>
                <a:cubicBezTo>
                  <a:pt x="103" y="93"/>
                  <a:pt x="82" y="75"/>
                  <a:pt x="68" y="75"/>
                </a:cubicBezTo>
                <a:cubicBezTo>
                  <a:pt x="65" y="75"/>
                  <a:pt x="62" y="80"/>
                  <a:pt x="62" y="83"/>
                </a:cubicBezTo>
                <a:cubicBezTo>
                  <a:pt x="57" y="83"/>
                  <a:pt x="54" y="82"/>
                  <a:pt x="51" y="81"/>
                </a:cubicBezTo>
                <a:cubicBezTo>
                  <a:pt x="49" y="83"/>
                  <a:pt x="46" y="87"/>
                  <a:pt x="46" y="93"/>
                </a:cubicBezTo>
                <a:cubicBezTo>
                  <a:pt x="46" y="99"/>
                  <a:pt x="49" y="102"/>
                  <a:pt x="49" y="107"/>
                </a:cubicBezTo>
                <a:cubicBezTo>
                  <a:pt x="49" y="110"/>
                  <a:pt x="51" y="110"/>
                  <a:pt x="49" y="112"/>
                </a:cubicBezTo>
                <a:cubicBezTo>
                  <a:pt x="49" y="112"/>
                  <a:pt x="49" y="112"/>
                  <a:pt x="49" y="112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1" name="Freeform 72"/>
          <p:cNvSpPr>
            <a:spLocks/>
          </p:cNvSpPr>
          <p:nvPr/>
        </p:nvSpPr>
        <p:spPr bwMode="auto">
          <a:xfrm>
            <a:off x="5197046" y="3164501"/>
            <a:ext cx="386328" cy="417122"/>
          </a:xfrm>
          <a:custGeom>
            <a:avLst/>
            <a:gdLst>
              <a:gd name="T0" fmla="*/ 0 w 85"/>
              <a:gd name="T1" fmla="*/ 17 h 92"/>
              <a:gd name="T2" fmla="*/ 5 w 85"/>
              <a:gd name="T3" fmla="*/ 44 h 92"/>
              <a:gd name="T4" fmla="*/ 20 w 85"/>
              <a:gd name="T5" fmla="*/ 65 h 92"/>
              <a:gd name="T6" fmla="*/ 20 w 85"/>
              <a:gd name="T7" fmla="*/ 70 h 92"/>
              <a:gd name="T8" fmla="*/ 33 w 85"/>
              <a:gd name="T9" fmla="*/ 92 h 92"/>
              <a:gd name="T10" fmla="*/ 33 w 85"/>
              <a:gd name="T11" fmla="*/ 92 h 92"/>
              <a:gd name="T12" fmla="*/ 42 w 85"/>
              <a:gd name="T13" fmla="*/ 92 h 92"/>
              <a:gd name="T14" fmla="*/ 42 w 85"/>
              <a:gd name="T15" fmla="*/ 92 h 92"/>
              <a:gd name="T16" fmla="*/ 63 w 85"/>
              <a:gd name="T17" fmla="*/ 80 h 92"/>
              <a:gd name="T18" fmla="*/ 71 w 85"/>
              <a:gd name="T19" fmla="*/ 56 h 92"/>
              <a:gd name="T20" fmla="*/ 71 w 85"/>
              <a:gd name="T21" fmla="*/ 56 h 92"/>
              <a:gd name="T22" fmla="*/ 79 w 85"/>
              <a:gd name="T23" fmla="*/ 44 h 92"/>
              <a:gd name="T24" fmla="*/ 79 w 85"/>
              <a:gd name="T25" fmla="*/ 44 h 92"/>
              <a:gd name="T26" fmla="*/ 79 w 85"/>
              <a:gd name="T27" fmla="*/ 44 h 92"/>
              <a:gd name="T28" fmla="*/ 85 w 85"/>
              <a:gd name="T29" fmla="*/ 32 h 92"/>
              <a:gd name="T30" fmla="*/ 69 w 85"/>
              <a:gd name="T31" fmla="*/ 0 h 92"/>
              <a:gd name="T32" fmla="*/ 69 w 85"/>
              <a:gd name="T33" fmla="*/ 0 h 92"/>
              <a:gd name="T34" fmla="*/ 68 w 85"/>
              <a:gd name="T35" fmla="*/ 0 h 92"/>
              <a:gd name="T36" fmla="*/ 68 w 85"/>
              <a:gd name="T37" fmla="*/ 0 h 92"/>
              <a:gd name="T38" fmla="*/ 57 w 85"/>
              <a:gd name="T39" fmla="*/ 6 h 92"/>
              <a:gd name="T40" fmla="*/ 49 w 85"/>
              <a:gd name="T41" fmla="*/ 2 h 92"/>
              <a:gd name="T42" fmla="*/ 39 w 85"/>
              <a:gd name="T43" fmla="*/ 11 h 92"/>
              <a:gd name="T44" fmla="*/ 22 w 85"/>
              <a:gd name="T45" fmla="*/ 1 h 92"/>
              <a:gd name="T46" fmla="*/ 0 w 85"/>
              <a:gd name="T47" fmla="*/ 16 h 92"/>
              <a:gd name="T48" fmla="*/ 0 w 85"/>
              <a:gd name="T49" fmla="*/ 16 h 92"/>
              <a:gd name="T50" fmla="*/ 0 w 85"/>
              <a:gd name="T51" fmla="*/ 17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5" h="92">
                <a:moveTo>
                  <a:pt x="0" y="17"/>
                </a:moveTo>
                <a:cubicBezTo>
                  <a:pt x="4" y="26"/>
                  <a:pt x="1" y="35"/>
                  <a:pt x="5" y="44"/>
                </a:cubicBezTo>
                <a:cubicBezTo>
                  <a:pt x="9" y="51"/>
                  <a:pt x="20" y="54"/>
                  <a:pt x="20" y="65"/>
                </a:cubicBezTo>
                <a:cubicBezTo>
                  <a:pt x="20" y="70"/>
                  <a:pt x="20" y="65"/>
                  <a:pt x="20" y="70"/>
                </a:cubicBezTo>
                <a:cubicBezTo>
                  <a:pt x="20" y="77"/>
                  <a:pt x="26" y="88"/>
                  <a:pt x="33" y="92"/>
                </a:cubicBezTo>
                <a:cubicBezTo>
                  <a:pt x="33" y="92"/>
                  <a:pt x="33" y="92"/>
                  <a:pt x="33" y="92"/>
                </a:cubicBezTo>
                <a:cubicBezTo>
                  <a:pt x="42" y="92"/>
                  <a:pt x="42" y="92"/>
                  <a:pt x="42" y="92"/>
                </a:cubicBezTo>
                <a:cubicBezTo>
                  <a:pt x="42" y="92"/>
                  <a:pt x="42" y="92"/>
                  <a:pt x="42" y="92"/>
                </a:cubicBezTo>
                <a:cubicBezTo>
                  <a:pt x="42" y="78"/>
                  <a:pt x="53" y="80"/>
                  <a:pt x="63" y="80"/>
                </a:cubicBezTo>
                <a:cubicBezTo>
                  <a:pt x="67" y="64"/>
                  <a:pt x="71" y="56"/>
                  <a:pt x="71" y="56"/>
                </a:cubicBezTo>
                <a:cubicBezTo>
                  <a:pt x="71" y="56"/>
                  <a:pt x="71" y="56"/>
                  <a:pt x="71" y="56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9"/>
                  <a:pt x="79" y="49"/>
                  <a:pt x="79" y="44"/>
                </a:cubicBezTo>
                <a:cubicBezTo>
                  <a:pt x="79" y="39"/>
                  <a:pt x="85" y="37"/>
                  <a:pt x="85" y="32"/>
                </a:cubicBezTo>
                <a:cubicBezTo>
                  <a:pt x="85" y="14"/>
                  <a:pt x="69" y="17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7" y="1"/>
                  <a:pt x="60" y="6"/>
                  <a:pt x="57" y="6"/>
                </a:cubicBezTo>
                <a:cubicBezTo>
                  <a:pt x="53" y="6"/>
                  <a:pt x="53" y="2"/>
                  <a:pt x="49" y="2"/>
                </a:cubicBezTo>
                <a:cubicBezTo>
                  <a:pt x="44" y="2"/>
                  <a:pt x="46" y="11"/>
                  <a:pt x="39" y="11"/>
                </a:cubicBezTo>
                <a:cubicBezTo>
                  <a:pt x="32" y="11"/>
                  <a:pt x="31" y="1"/>
                  <a:pt x="22" y="1"/>
                </a:cubicBezTo>
                <a:cubicBezTo>
                  <a:pt x="11" y="1"/>
                  <a:pt x="9" y="12"/>
                  <a:pt x="0" y="16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17"/>
                  <a:pt x="0" y="17"/>
                  <a:pt x="0" y="17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2" name="Freeform 73"/>
          <p:cNvSpPr>
            <a:spLocks/>
          </p:cNvSpPr>
          <p:nvPr/>
        </p:nvSpPr>
        <p:spPr bwMode="auto">
          <a:xfrm>
            <a:off x="5289428" y="5020553"/>
            <a:ext cx="433919" cy="769856"/>
          </a:xfrm>
          <a:custGeom>
            <a:avLst/>
            <a:gdLst>
              <a:gd name="T0" fmla="*/ 75 w 96"/>
              <a:gd name="T1" fmla="*/ 46 h 170"/>
              <a:gd name="T2" fmla="*/ 66 w 96"/>
              <a:gd name="T3" fmla="*/ 34 h 170"/>
              <a:gd name="T4" fmla="*/ 76 w 96"/>
              <a:gd name="T5" fmla="*/ 19 h 170"/>
              <a:gd name="T6" fmla="*/ 63 w 96"/>
              <a:gd name="T7" fmla="*/ 0 h 170"/>
              <a:gd name="T8" fmla="*/ 50 w 96"/>
              <a:gd name="T9" fmla="*/ 3 h 170"/>
              <a:gd name="T10" fmla="*/ 31 w 96"/>
              <a:gd name="T11" fmla="*/ 0 h 170"/>
              <a:gd name="T12" fmla="*/ 22 w 96"/>
              <a:gd name="T13" fmla="*/ 4 h 170"/>
              <a:gd name="T14" fmla="*/ 32 w 96"/>
              <a:gd name="T15" fmla="*/ 48 h 170"/>
              <a:gd name="T16" fmla="*/ 44 w 96"/>
              <a:gd name="T17" fmla="*/ 67 h 170"/>
              <a:gd name="T18" fmla="*/ 44 w 96"/>
              <a:gd name="T19" fmla="*/ 67 h 170"/>
              <a:gd name="T20" fmla="*/ 44 w 96"/>
              <a:gd name="T21" fmla="*/ 74 h 170"/>
              <a:gd name="T22" fmla="*/ 44 w 96"/>
              <a:gd name="T23" fmla="*/ 74 h 170"/>
              <a:gd name="T24" fmla="*/ 37 w 96"/>
              <a:gd name="T25" fmla="*/ 85 h 170"/>
              <a:gd name="T26" fmla="*/ 40 w 96"/>
              <a:gd name="T27" fmla="*/ 107 h 170"/>
              <a:gd name="T28" fmla="*/ 24 w 96"/>
              <a:gd name="T29" fmla="*/ 117 h 170"/>
              <a:gd name="T30" fmla="*/ 17 w 96"/>
              <a:gd name="T31" fmla="*/ 114 h 170"/>
              <a:gd name="T32" fmla="*/ 12 w 96"/>
              <a:gd name="T33" fmla="*/ 121 h 170"/>
              <a:gd name="T34" fmla="*/ 17 w 96"/>
              <a:gd name="T35" fmla="*/ 134 h 170"/>
              <a:gd name="T36" fmla="*/ 0 w 96"/>
              <a:gd name="T37" fmla="*/ 154 h 170"/>
              <a:gd name="T38" fmla="*/ 12 w 96"/>
              <a:gd name="T39" fmla="*/ 164 h 170"/>
              <a:gd name="T40" fmla="*/ 12 w 96"/>
              <a:gd name="T41" fmla="*/ 164 h 170"/>
              <a:gd name="T42" fmla="*/ 17 w 96"/>
              <a:gd name="T43" fmla="*/ 165 h 170"/>
              <a:gd name="T44" fmla="*/ 17 w 96"/>
              <a:gd name="T45" fmla="*/ 165 h 170"/>
              <a:gd name="T46" fmla="*/ 42 w 96"/>
              <a:gd name="T47" fmla="*/ 170 h 170"/>
              <a:gd name="T48" fmla="*/ 81 w 96"/>
              <a:gd name="T49" fmla="*/ 169 h 170"/>
              <a:gd name="T50" fmla="*/ 75 w 96"/>
              <a:gd name="T51" fmla="*/ 161 h 170"/>
              <a:gd name="T52" fmla="*/ 75 w 96"/>
              <a:gd name="T53" fmla="*/ 161 h 170"/>
              <a:gd name="T54" fmla="*/ 75 w 96"/>
              <a:gd name="T55" fmla="*/ 138 h 170"/>
              <a:gd name="T56" fmla="*/ 75 w 96"/>
              <a:gd name="T57" fmla="*/ 138 h 170"/>
              <a:gd name="T58" fmla="*/ 91 w 96"/>
              <a:gd name="T59" fmla="*/ 148 h 170"/>
              <a:gd name="T60" fmla="*/ 93 w 96"/>
              <a:gd name="T61" fmla="*/ 118 h 170"/>
              <a:gd name="T62" fmla="*/ 86 w 96"/>
              <a:gd name="T63" fmla="*/ 83 h 170"/>
              <a:gd name="T64" fmla="*/ 66 w 96"/>
              <a:gd name="T65" fmla="*/ 69 h 170"/>
              <a:gd name="T66" fmla="*/ 78 w 96"/>
              <a:gd name="T67" fmla="*/ 50 h 170"/>
              <a:gd name="T68" fmla="*/ 78 w 96"/>
              <a:gd name="T69" fmla="*/ 50 h 170"/>
              <a:gd name="T70" fmla="*/ 75 w 96"/>
              <a:gd name="T71" fmla="*/ 4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6" h="170">
                <a:moveTo>
                  <a:pt x="75" y="46"/>
                </a:moveTo>
                <a:cubicBezTo>
                  <a:pt x="72" y="43"/>
                  <a:pt x="66" y="41"/>
                  <a:pt x="66" y="34"/>
                </a:cubicBezTo>
                <a:cubicBezTo>
                  <a:pt x="66" y="26"/>
                  <a:pt x="71" y="22"/>
                  <a:pt x="76" y="19"/>
                </a:cubicBezTo>
                <a:cubicBezTo>
                  <a:pt x="72" y="14"/>
                  <a:pt x="75" y="0"/>
                  <a:pt x="63" y="0"/>
                </a:cubicBezTo>
                <a:cubicBezTo>
                  <a:pt x="58" y="0"/>
                  <a:pt x="56" y="3"/>
                  <a:pt x="50" y="3"/>
                </a:cubicBezTo>
                <a:cubicBezTo>
                  <a:pt x="42" y="3"/>
                  <a:pt x="39" y="0"/>
                  <a:pt x="31" y="0"/>
                </a:cubicBezTo>
                <a:cubicBezTo>
                  <a:pt x="26" y="0"/>
                  <a:pt x="24" y="2"/>
                  <a:pt x="22" y="4"/>
                </a:cubicBezTo>
                <a:cubicBezTo>
                  <a:pt x="24" y="21"/>
                  <a:pt x="32" y="26"/>
                  <a:pt x="32" y="48"/>
                </a:cubicBezTo>
                <a:cubicBezTo>
                  <a:pt x="32" y="61"/>
                  <a:pt x="33" y="66"/>
                  <a:pt x="44" y="67"/>
                </a:cubicBezTo>
                <a:cubicBezTo>
                  <a:pt x="44" y="67"/>
                  <a:pt x="44" y="67"/>
                  <a:pt x="44" y="67"/>
                </a:cubicBezTo>
                <a:cubicBezTo>
                  <a:pt x="44" y="74"/>
                  <a:pt x="44" y="74"/>
                  <a:pt x="44" y="74"/>
                </a:cubicBezTo>
                <a:cubicBezTo>
                  <a:pt x="44" y="74"/>
                  <a:pt x="44" y="74"/>
                  <a:pt x="44" y="74"/>
                </a:cubicBezTo>
                <a:cubicBezTo>
                  <a:pt x="40" y="79"/>
                  <a:pt x="37" y="82"/>
                  <a:pt x="37" y="85"/>
                </a:cubicBezTo>
                <a:cubicBezTo>
                  <a:pt x="37" y="94"/>
                  <a:pt x="40" y="99"/>
                  <a:pt x="40" y="107"/>
                </a:cubicBezTo>
                <a:cubicBezTo>
                  <a:pt x="40" y="111"/>
                  <a:pt x="27" y="117"/>
                  <a:pt x="24" y="117"/>
                </a:cubicBezTo>
                <a:cubicBezTo>
                  <a:pt x="21" y="117"/>
                  <a:pt x="21" y="114"/>
                  <a:pt x="17" y="114"/>
                </a:cubicBezTo>
                <a:cubicBezTo>
                  <a:pt x="13" y="114"/>
                  <a:pt x="12" y="117"/>
                  <a:pt x="12" y="121"/>
                </a:cubicBezTo>
                <a:cubicBezTo>
                  <a:pt x="12" y="126"/>
                  <a:pt x="17" y="129"/>
                  <a:pt x="17" y="134"/>
                </a:cubicBezTo>
                <a:cubicBezTo>
                  <a:pt x="17" y="145"/>
                  <a:pt x="0" y="143"/>
                  <a:pt x="0" y="154"/>
                </a:cubicBezTo>
                <a:cubicBezTo>
                  <a:pt x="0" y="160"/>
                  <a:pt x="11" y="161"/>
                  <a:pt x="12" y="164"/>
                </a:cubicBezTo>
                <a:cubicBezTo>
                  <a:pt x="12" y="164"/>
                  <a:pt x="12" y="164"/>
                  <a:pt x="12" y="164"/>
                </a:cubicBezTo>
                <a:cubicBezTo>
                  <a:pt x="17" y="165"/>
                  <a:pt x="17" y="165"/>
                  <a:pt x="17" y="165"/>
                </a:cubicBezTo>
                <a:cubicBezTo>
                  <a:pt x="17" y="165"/>
                  <a:pt x="17" y="165"/>
                  <a:pt x="17" y="165"/>
                </a:cubicBezTo>
                <a:cubicBezTo>
                  <a:pt x="26" y="165"/>
                  <a:pt x="33" y="170"/>
                  <a:pt x="42" y="170"/>
                </a:cubicBezTo>
                <a:cubicBezTo>
                  <a:pt x="55" y="168"/>
                  <a:pt x="69" y="168"/>
                  <a:pt x="81" y="169"/>
                </a:cubicBezTo>
                <a:cubicBezTo>
                  <a:pt x="77" y="165"/>
                  <a:pt x="78" y="165"/>
                  <a:pt x="75" y="161"/>
                </a:cubicBezTo>
                <a:cubicBezTo>
                  <a:pt x="75" y="161"/>
                  <a:pt x="75" y="161"/>
                  <a:pt x="75" y="161"/>
                </a:cubicBezTo>
                <a:cubicBezTo>
                  <a:pt x="75" y="138"/>
                  <a:pt x="75" y="138"/>
                  <a:pt x="75" y="138"/>
                </a:cubicBezTo>
                <a:cubicBezTo>
                  <a:pt x="75" y="138"/>
                  <a:pt x="75" y="138"/>
                  <a:pt x="75" y="138"/>
                </a:cubicBezTo>
                <a:cubicBezTo>
                  <a:pt x="83" y="141"/>
                  <a:pt x="83" y="145"/>
                  <a:pt x="91" y="148"/>
                </a:cubicBezTo>
                <a:cubicBezTo>
                  <a:pt x="94" y="137"/>
                  <a:pt x="93" y="132"/>
                  <a:pt x="93" y="118"/>
                </a:cubicBezTo>
                <a:cubicBezTo>
                  <a:pt x="93" y="105"/>
                  <a:pt x="96" y="91"/>
                  <a:pt x="86" y="83"/>
                </a:cubicBezTo>
                <a:cubicBezTo>
                  <a:pt x="80" y="78"/>
                  <a:pt x="66" y="82"/>
                  <a:pt x="66" y="69"/>
                </a:cubicBezTo>
                <a:cubicBezTo>
                  <a:pt x="66" y="59"/>
                  <a:pt x="75" y="58"/>
                  <a:pt x="78" y="50"/>
                </a:cubicBezTo>
                <a:cubicBezTo>
                  <a:pt x="78" y="50"/>
                  <a:pt x="78" y="50"/>
                  <a:pt x="78" y="50"/>
                </a:cubicBezTo>
                <a:cubicBezTo>
                  <a:pt x="75" y="46"/>
                  <a:pt x="75" y="46"/>
                  <a:pt x="75" y="46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3" name="Freeform 74"/>
          <p:cNvSpPr>
            <a:spLocks/>
          </p:cNvSpPr>
          <p:nvPr/>
        </p:nvSpPr>
        <p:spPr bwMode="auto">
          <a:xfrm>
            <a:off x="4418789" y="4334684"/>
            <a:ext cx="848244" cy="963020"/>
          </a:xfrm>
          <a:custGeom>
            <a:avLst/>
            <a:gdLst>
              <a:gd name="T0" fmla="*/ 173 w 187"/>
              <a:gd name="T1" fmla="*/ 9 h 212"/>
              <a:gd name="T2" fmla="*/ 156 w 187"/>
              <a:gd name="T3" fmla="*/ 12 h 212"/>
              <a:gd name="T4" fmla="*/ 129 w 187"/>
              <a:gd name="T5" fmla="*/ 0 h 212"/>
              <a:gd name="T6" fmla="*/ 125 w 187"/>
              <a:gd name="T7" fmla="*/ 11 h 212"/>
              <a:gd name="T8" fmla="*/ 101 w 187"/>
              <a:gd name="T9" fmla="*/ 17 h 212"/>
              <a:gd name="T10" fmla="*/ 104 w 187"/>
              <a:gd name="T11" fmla="*/ 30 h 212"/>
              <a:gd name="T12" fmla="*/ 87 w 187"/>
              <a:gd name="T13" fmla="*/ 30 h 212"/>
              <a:gd name="T14" fmla="*/ 87 w 187"/>
              <a:gd name="T15" fmla="*/ 37 h 212"/>
              <a:gd name="T16" fmla="*/ 66 w 187"/>
              <a:gd name="T17" fmla="*/ 60 h 212"/>
              <a:gd name="T18" fmla="*/ 39 w 187"/>
              <a:gd name="T19" fmla="*/ 41 h 212"/>
              <a:gd name="T20" fmla="*/ 34 w 187"/>
              <a:gd name="T21" fmla="*/ 44 h 212"/>
              <a:gd name="T22" fmla="*/ 20 w 187"/>
              <a:gd name="T23" fmla="*/ 37 h 212"/>
              <a:gd name="T24" fmla="*/ 0 w 187"/>
              <a:gd name="T25" fmla="*/ 52 h 212"/>
              <a:gd name="T26" fmla="*/ 24 w 187"/>
              <a:gd name="T27" fmla="*/ 63 h 212"/>
              <a:gd name="T28" fmla="*/ 8 w 187"/>
              <a:gd name="T29" fmla="*/ 74 h 212"/>
              <a:gd name="T30" fmla="*/ 8 w 187"/>
              <a:gd name="T31" fmla="*/ 91 h 212"/>
              <a:gd name="T32" fmla="*/ 40 w 187"/>
              <a:gd name="T33" fmla="*/ 107 h 212"/>
              <a:gd name="T34" fmla="*/ 32 w 187"/>
              <a:gd name="T35" fmla="*/ 128 h 212"/>
              <a:gd name="T36" fmla="*/ 45 w 187"/>
              <a:gd name="T37" fmla="*/ 150 h 212"/>
              <a:gd name="T38" fmla="*/ 43 w 187"/>
              <a:gd name="T39" fmla="*/ 167 h 212"/>
              <a:gd name="T40" fmla="*/ 47 w 187"/>
              <a:gd name="T41" fmla="*/ 167 h 212"/>
              <a:gd name="T42" fmla="*/ 58 w 187"/>
              <a:gd name="T43" fmla="*/ 175 h 212"/>
              <a:gd name="T44" fmla="*/ 66 w 187"/>
              <a:gd name="T45" fmla="*/ 167 h 212"/>
              <a:gd name="T46" fmla="*/ 79 w 187"/>
              <a:gd name="T47" fmla="*/ 172 h 212"/>
              <a:gd name="T48" fmla="*/ 86 w 187"/>
              <a:gd name="T49" fmla="*/ 162 h 212"/>
              <a:gd name="T50" fmla="*/ 86 w 187"/>
              <a:gd name="T51" fmla="*/ 162 h 212"/>
              <a:gd name="T52" fmla="*/ 91 w 187"/>
              <a:gd name="T53" fmla="*/ 162 h 212"/>
              <a:gd name="T54" fmla="*/ 91 w 187"/>
              <a:gd name="T55" fmla="*/ 162 h 212"/>
              <a:gd name="T56" fmla="*/ 109 w 187"/>
              <a:gd name="T57" fmla="*/ 193 h 212"/>
              <a:gd name="T58" fmla="*/ 118 w 187"/>
              <a:gd name="T59" fmla="*/ 208 h 212"/>
              <a:gd name="T60" fmla="*/ 129 w 187"/>
              <a:gd name="T61" fmla="*/ 212 h 212"/>
              <a:gd name="T62" fmla="*/ 135 w 187"/>
              <a:gd name="T63" fmla="*/ 204 h 212"/>
              <a:gd name="T64" fmla="*/ 140 w 187"/>
              <a:gd name="T65" fmla="*/ 196 h 212"/>
              <a:gd name="T66" fmla="*/ 173 w 187"/>
              <a:gd name="T67" fmla="*/ 170 h 212"/>
              <a:gd name="T68" fmla="*/ 173 w 187"/>
              <a:gd name="T69" fmla="*/ 165 h 212"/>
              <a:gd name="T70" fmla="*/ 173 w 187"/>
              <a:gd name="T71" fmla="*/ 165 h 212"/>
              <a:gd name="T72" fmla="*/ 167 w 187"/>
              <a:gd name="T73" fmla="*/ 165 h 212"/>
              <a:gd name="T74" fmla="*/ 167 w 187"/>
              <a:gd name="T75" fmla="*/ 165 h 212"/>
              <a:gd name="T76" fmla="*/ 161 w 187"/>
              <a:gd name="T77" fmla="*/ 169 h 212"/>
              <a:gd name="T78" fmla="*/ 157 w 187"/>
              <a:gd name="T79" fmla="*/ 164 h 212"/>
              <a:gd name="T80" fmla="*/ 156 w 187"/>
              <a:gd name="T81" fmla="*/ 161 h 212"/>
              <a:gd name="T82" fmla="*/ 156 w 187"/>
              <a:gd name="T83" fmla="*/ 161 h 212"/>
              <a:gd name="T84" fmla="*/ 155 w 187"/>
              <a:gd name="T85" fmla="*/ 156 h 212"/>
              <a:gd name="T86" fmla="*/ 155 w 187"/>
              <a:gd name="T87" fmla="*/ 156 h 212"/>
              <a:gd name="T88" fmla="*/ 138 w 187"/>
              <a:gd name="T89" fmla="*/ 137 h 212"/>
              <a:gd name="T90" fmla="*/ 141 w 187"/>
              <a:gd name="T91" fmla="*/ 118 h 212"/>
              <a:gd name="T92" fmla="*/ 131 w 187"/>
              <a:gd name="T93" fmla="*/ 102 h 212"/>
              <a:gd name="T94" fmla="*/ 149 w 187"/>
              <a:gd name="T95" fmla="*/ 89 h 212"/>
              <a:gd name="T96" fmla="*/ 165 w 187"/>
              <a:gd name="T97" fmla="*/ 92 h 212"/>
              <a:gd name="T98" fmla="*/ 172 w 187"/>
              <a:gd name="T99" fmla="*/ 75 h 212"/>
              <a:gd name="T100" fmla="*/ 172 w 187"/>
              <a:gd name="T101" fmla="*/ 60 h 212"/>
              <a:gd name="T102" fmla="*/ 187 w 187"/>
              <a:gd name="T103" fmla="*/ 32 h 212"/>
              <a:gd name="T104" fmla="*/ 179 w 187"/>
              <a:gd name="T105" fmla="*/ 11 h 212"/>
              <a:gd name="T106" fmla="*/ 173 w 187"/>
              <a:gd name="T107" fmla="*/ 9 h 212"/>
              <a:gd name="T108" fmla="*/ 173 w 187"/>
              <a:gd name="T109" fmla="*/ 9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7" h="212">
                <a:moveTo>
                  <a:pt x="173" y="9"/>
                </a:moveTo>
                <a:cubicBezTo>
                  <a:pt x="167" y="9"/>
                  <a:pt x="163" y="12"/>
                  <a:pt x="156" y="12"/>
                </a:cubicBezTo>
                <a:cubicBezTo>
                  <a:pt x="143" y="12"/>
                  <a:pt x="141" y="0"/>
                  <a:pt x="129" y="0"/>
                </a:cubicBezTo>
                <a:cubicBezTo>
                  <a:pt x="122" y="0"/>
                  <a:pt x="127" y="5"/>
                  <a:pt x="125" y="11"/>
                </a:cubicBezTo>
                <a:cubicBezTo>
                  <a:pt x="120" y="18"/>
                  <a:pt x="111" y="17"/>
                  <a:pt x="101" y="17"/>
                </a:cubicBezTo>
                <a:cubicBezTo>
                  <a:pt x="101" y="23"/>
                  <a:pt x="104" y="25"/>
                  <a:pt x="104" y="30"/>
                </a:cubicBezTo>
                <a:cubicBezTo>
                  <a:pt x="95" y="31"/>
                  <a:pt x="93" y="26"/>
                  <a:pt x="87" y="30"/>
                </a:cubicBezTo>
                <a:cubicBezTo>
                  <a:pt x="87" y="34"/>
                  <a:pt x="87" y="34"/>
                  <a:pt x="87" y="37"/>
                </a:cubicBezTo>
                <a:cubicBezTo>
                  <a:pt x="87" y="46"/>
                  <a:pt x="79" y="60"/>
                  <a:pt x="66" y="60"/>
                </a:cubicBezTo>
                <a:cubicBezTo>
                  <a:pt x="56" y="60"/>
                  <a:pt x="52" y="41"/>
                  <a:pt x="39" y="41"/>
                </a:cubicBezTo>
                <a:cubicBezTo>
                  <a:pt x="38" y="41"/>
                  <a:pt x="37" y="44"/>
                  <a:pt x="34" y="44"/>
                </a:cubicBezTo>
                <a:cubicBezTo>
                  <a:pt x="28" y="44"/>
                  <a:pt x="26" y="37"/>
                  <a:pt x="20" y="37"/>
                </a:cubicBezTo>
                <a:cubicBezTo>
                  <a:pt x="12" y="37"/>
                  <a:pt x="4" y="47"/>
                  <a:pt x="0" y="52"/>
                </a:cubicBezTo>
                <a:cubicBezTo>
                  <a:pt x="10" y="60"/>
                  <a:pt x="21" y="60"/>
                  <a:pt x="24" y="63"/>
                </a:cubicBezTo>
                <a:cubicBezTo>
                  <a:pt x="37" y="73"/>
                  <a:pt x="31" y="78"/>
                  <a:pt x="8" y="74"/>
                </a:cubicBezTo>
                <a:cubicBezTo>
                  <a:pt x="8" y="78"/>
                  <a:pt x="7" y="85"/>
                  <a:pt x="8" y="91"/>
                </a:cubicBezTo>
                <a:cubicBezTo>
                  <a:pt x="20" y="90"/>
                  <a:pt x="40" y="97"/>
                  <a:pt x="40" y="107"/>
                </a:cubicBezTo>
                <a:cubicBezTo>
                  <a:pt x="40" y="114"/>
                  <a:pt x="32" y="117"/>
                  <a:pt x="32" y="128"/>
                </a:cubicBezTo>
                <a:cubicBezTo>
                  <a:pt x="32" y="139"/>
                  <a:pt x="45" y="141"/>
                  <a:pt x="45" y="150"/>
                </a:cubicBezTo>
                <a:cubicBezTo>
                  <a:pt x="45" y="156"/>
                  <a:pt x="43" y="161"/>
                  <a:pt x="43" y="167"/>
                </a:cubicBezTo>
                <a:cubicBezTo>
                  <a:pt x="43" y="166"/>
                  <a:pt x="44" y="167"/>
                  <a:pt x="47" y="167"/>
                </a:cubicBezTo>
                <a:cubicBezTo>
                  <a:pt x="52" y="167"/>
                  <a:pt x="54" y="170"/>
                  <a:pt x="58" y="175"/>
                </a:cubicBezTo>
                <a:cubicBezTo>
                  <a:pt x="58" y="170"/>
                  <a:pt x="63" y="167"/>
                  <a:pt x="66" y="167"/>
                </a:cubicBezTo>
                <a:cubicBezTo>
                  <a:pt x="71" y="167"/>
                  <a:pt x="74" y="172"/>
                  <a:pt x="79" y="172"/>
                </a:cubicBezTo>
                <a:cubicBezTo>
                  <a:pt x="84" y="172"/>
                  <a:pt x="84" y="166"/>
                  <a:pt x="86" y="162"/>
                </a:cubicBezTo>
                <a:cubicBezTo>
                  <a:pt x="86" y="162"/>
                  <a:pt x="86" y="162"/>
                  <a:pt x="86" y="162"/>
                </a:cubicBezTo>
                <a:cubicBezTo>
                  <a:pt x="91" y="162"/>
                  <a:pt x="91" y="162"/>
                  <a:pt x="91" y="162"/>
                </a:cubicBezTo>
                <a:cubicBezTo>
                  <a:pt x="91" y="162"/>
                  <a:pt x="91" y="162"/>
                  <a:pt x="91" y="162"/>
                </a:cubicBezTo>
                <a:cubicBezTo>
                  <a:pt x="91" y="177"/>
                  <a:pt x="106" y="183"/>
                  <a:pt x="109" y="193"/>
                </a:cubicBezTo>
                <a:cubicBezTo>
                  <a:pt x="112" y="201"/>
                  <a:pt x="109" y="208"/>
                  <a:pt x="118" y="208"/>
                </a:cubicBezTo>
                <a:cubicBezTo>
                  <a:pt x="123" y="208"/>
                  <a:pt x="125" y="212"/>
                  <a:pt x="129" y="212"/>
                </a:cubicBezTo>
                <a:cubicBezTo>
                  <a:pt x="134" y="212"/>
                  <a:pt x="135" y="209"/>
                  <a:pt x="135" y="204"/>
                </a:cubicBezTo>
                <a:cubicBezTo>
                  <a:pt x="138" y="202"/>
                  <a:pt x="135" y="197"/>
                  <a:pt x="140" y="196"/>
                </a:cubicBezTo>
                <a:cubicBezTo>
                  <a:pt x="156" y="189"/>
                  <a:pt x="173" y="189"/>
                  <a:pt x="173" y="170"/>
                </a:cubicBezTo>
                <a:cubicBezTo>
                  <a:pt x="173" y="169"/>
                  <a:pt x="173" y="167"/>
                  <a:pt x="173" y="165"/>
                </a:cubicBezTo>
                <a:cubicBezTo>
                  <a:pt x="173" y="165"/>
                  <a:pt x="173" y="165"/>
                  <a:pt x="173" y="165"/>
                </a:cubicBezTo>
                <a:cubicBezTo>
                  <a:pt x="167" y="165"/>
                  <a:pt x="167" y="165"/>
                  <a:pt x="167" y="165"/>
                </a:cubicBezTo>
                <a:cubicBezTo>
                  <a:pt x="167" y="165"/>
                  <a:pt x="167" y="165"/>
                  <a:pt x="167" y="165"/>
                </a:cubicBezTo>
                <a:cubicBezTo>
                  <a:pt x="165" y="167"/>
                  <a:pt x="166" y="169"/>
                  <a:pt x="161" y="169"/>
                </a:cubicBezTo>
                <a:cubicBezTo>
                  <a:pt x="157" y="169"/>
                  <a:pt x="157" y="165"/>
                  <a:pt x="157" y="164"/>
                </a:cubicBezTo>
                <a:cubicBezTo>
                  <a:pt x="157" y="164"/>
                  <a:pt x="156" y="165"/>
                  <a:pt x="156" y="161"/>
                </a:cubicBezTo>
                <a:cubicBezTo>
                  <a:pt x="156" y="161"/>
                  <a:pt x="156" y="161"/>
                  <a:pt x="156" y="161"/>
                </a:cubicBezTo>
                <a:cubicBezTo>
                  <a:pt x="155" y="156"/>
                  <a:pt x="155" y="156"/>
                  <a:pt x="155" y="156"/>
                </a:cubicBezTo>
                <a:cubicBezTo>
                  <a:pt x="155" y="156"/>
                  <a:pt x="155" y="156"/>
                  <a:pt x="155" y="156"/>
                </a:cubicBezTo>
                <a:cubicBezTo>
                  <a:pt x="149" y="156"/>
                  <a:pt x="138" y="144"/>
                  <a:pt x="138" y="137"/>
                </a:cubicBezTo>
                <a:cubicBezTo>
                  <a:pt x="138" y="129"/>
                  <a:pt x="141" y="125"/>
                  <a:pt x="141" y="118"/>
                </a:cubicBezTo>
                <a:cubicBezTo>
                  <a:pt x="141" y="110"/>
                  <a:pt x="131" y="108"/>
                  <a:pt x="131" y="102"/>
                </a:cubicBezTo>
                <a:cubicBezTo>
                  <a:pt x="131" y="96"/>
                  <a:pt x="143" y="89"/>
                  <a:pt x="149" y="89"/>
                </a:cubicBezTo>
                <a:cubicBezTo>
                  <a:pt x="155" y="89"/>
                  <a:pt x="159" y="92"/>
                  <a:pt x="165" y="92"/>
                </a:cubicBezTo>
                <a:cubicBezTo>
                  <a:pt x="175" y="92"/>
                  <a:pt x="172" y="84"/>
                  <a:pt x="172" y="75"/>
                </a:cubicBezTo>
                <a:cubicBezTo>
                  <a:pt x="172" y="73"/>
                  <a:pt x="172" y="65"/>
                  <a:pt x="172" y="60"/>
                </a:cubicBezTo>
                <a:cubicBezTo>
                  <a:pt x="172" y="47"/>
                  <a:pt x="187" y="48"/>
                  <a:pt x="187" y="32"/>
                </a:cubicBezTo>
                <a:cubicBezTo>
                  <a:pt x="187" y="23"/>
                  <a:pt x="179" y="18"/>
                  <a:pt x="179" y="11"/>
                </a:cubicBezTo>
                <a:cubicBezTo>
                  <a:pt x="179" y="11"/>
                  <a:pt x="176" y="9"/>
                  <a:pt x="173" y="9"/>
                </a:cubicBezTo>
                <a:cubicBezTo>
                  <a:pt x="173" y="9"/>
                  <a:pt x="173" y="9"/>
                  <a:pt x="173" y="9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5" name="Freeform 75"/>
          <p:cNvSpPr>
            <a:spLocks/>
          </p:cNvSpPr>
          <p:nvPr/>
        </p:nvSpPr>
        <p:spPr bwMode="auto">
          <a:xfrm>
            <a:off x="4639949" y="3612417"/>
            <a:ext cx="461916" cy="618685"/>
          </a:xfrm>
          <a:custGeom>
            <a:avLst/>
            <a:gdLst>
              <a:gd name="T0" fmla="*/ 68 w 102"/>
              <a:gd name="T1" fmla="*/ 136 h 136"/>
              <a:gd name="T2" fmla="*/ 94 w 102"/>
              <a:gd name="T3" fmla="*/ 93 h 136"/>
              <a:gd name="T4" fmla="*/ 91 w 102"/>
              <a:gd name="T5" fmla="*/ 85 h 136"/>
              <a:gd name="T6" fmla="*/ 100 w 102"/>
              <a:gd name="T7" fmla="*/ 75 h 136"/>
              <a:gd name="T8" fmla="*/ 91 w 102"/>
              <a:gd name="T9" fmla="*/ 68 h 136"/>
              <a:gd name="T10" fmla="*/ 96 w 102"/>
              <a:gd name="T11" fmla="*/ 62 h 136"/>
              <a:gd name="T12" fmla="*/ 95 w 102"/>
              <a:gd name="T13" fmla="*/ 56 h 136"/>
              <a:gd name="T14" fmla="*/ 102 w 102"/>
              <a:gd name="T15" fmla="*/ 42 h 136"/>
              <a:gd name="T16" fmla="*/ 55 w 102"/>
              <a:gd name="T17" fmla="*/ 27 h 136"/>
              <a:gd name="T18" fmla="*/ 37 w 102"/>
              <a:gd name="T19" fmla="*/ 9 h 136"/>
              <a:gd name="T20" fmla="*/ 28 w 102"/>
              <a:gd name="T21" fmla="*/ 9 h 136"/>
              <a:gd name="T22" fmla="*/ 19 w 102"/>
              <a:gd name="T23" fmla="*/ 0 h 136"/>
              <a:gd name="T24" fmla="*/ 11 w 102"/>
              <a:gd name="T25" fmla="*/ 14 h 136"/>
              <a:gd name="T26" fmla="*/ 0 w 102"/>
              <a:gd name="T27" fmla="*/ 26 h 136"/>
              <a:gd name="T28" fmla="*/ 14 w 102"/>
              <a:gd name="T29" fmla="*/ 40 h 136"/>
              <a:gd name="T30" fmla="*/ 20 w 102"/>
              <a:gd name="T31" fmla="*/ 61 h 136"/>
              <a:gd name="T32" fmla="*/ 41 w 102"/>
              <a:gd name="T33" fmla="*/ 70 h 136"/>
              <a:gd name="T34" fmla="*/ 41 w 102"/>
              <a:gd name="T35" fmla="*/ 84 h 136"/>
              <a:gd name="T36" fmla="*/ 42 w 102"/>
              <a:gd name="T37" fmla="*/ 100 h 136"/>
              <a:gd name="T38" fmla="*/ 54 w 102"/>
              <a:gd name="T39" fmla="*/ 109 h 136"/>
              <a:gd name="T40" fmla="*/ 68 w 102"/>
              <a:gd name="T41" fmla="*/ 136 h 136"/>
              <a:gd name="T42" fmla="*/ 68 w 102"/>
              <a:gd name="T43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2" h="136">
                <a:moveTo>
                  <a:pt x="68" y="136"/>
                </a:moveTo>
                <a:cubicBezTo>
                  <a:pt x="68" y="115"/>
                  <a:pt x="94" y="111"/>
                  <a:pt x="94" y="93"/>
                </a:cubicBezTo>
                <a:cubicBezTo>
                  <a:pt x="94" y="89"/>
                  <a:pt x="91" y="88"/>
                  <a:pt x="91" y="85"/>
                </a:cubicBezTo>
                <a:cubicBezTo>
                  <a:pt x="91" y="83"/>
                  <a:pt x="98" y="80"/>
                  <a:pt x="100" y="75"/>
                </a:cubicBezTo>
                <a:cubicBezTo>
                  <a:pt x="98" y="75"/>
                  <a:pt x="91" y="68"/>
                  <a:pt x="91" y="68"/>
                </a:cubicBezTo>
                <a:cubicBezTo>
                  <a:pt x="91" y="64"/>
                  <a:pt x="94" y="64"/>
                  <a:pt x="96" y="62"/>
                </a:cubicBezTo>
                <a:cubicBezTo>
                  <a:pt x="96" y="59"/>
                  <a:pt x="95" y="58"/>
                  <a:pt x="95" y="56"/>
                </a:cubicBezTo>
                <a:cubicBezTo>
                  <a:pt x="95" y="54"/>
                  <a:pt x="98" y="50"/>
                  <a:pt x="102" y="42"/>
                </a:cubicBezTo>
                <a:cubicBezTo>
                  <a:pt x="87" y="35"/>
                  <a:pt x="73" y="35"/>
                  <a:pt x="55" y="27"/>
                </a:cubicBezTo>
                <a:cubicBezTo>
                  <a:pt x="47" y="25"/>
                  <a:pt x="47" y="9"/>
                  <a:pt x="37" y="9"/>
                </a:cubicBezTo>
                <a:cubicBezTo>
                  <a:pt x="32" y="9"/>
                  <a:pt x="30" y="9"/>
                  <a:pt x="28" y="9"/>
                </a:cubicBezTo>
                <a:cubicBezTo>
                  <a:pt x="22" y="9"/>
                  <a:pt x="22" y="4"/>
                  <a:pt x="19" y="0"/>
                </a:cubicBezTo>
                <a:cubicBezTo>
                  <a:pt x="14" y="4"/>
                  <a:pt x="14" y="10"/>
                  <a:pt x="11" y="14"/>
                </a:cubicBezTo>
                <a:cubicBezTo>
                  <a:pt x="9" y="19"/>
                  <a:pt x="0" y="20"/>
                  <a:pt x="0" y="26"/>
                </a:cubicBezTo>
                <a:cubicBezTo>
                  <a:pt x="0" y="38"/>
                  <a:pt x="10" y="35"/>
                  <a:pt x="14" y="40"/>
                </a:cubicBezTo>
                <a:cubicBezTo>
                  <a:pt x="19" y="48"/>
                  <a:pt x="14" y="56"/>
                  <a:pt x="20" y="61"/>
                </a:cubicBezTo>
                <a:cubicBezTo>
                  <a:pt x="25" y="64"/>
                  <a:pt x="41" y="64"/>
                  <a:pt x="41" y="70"/>
                </a:cubicBezTo>
                <a:cubicBezTo>
                  <a:pt x="41" y="74"/>
                  <a:pt x="41" y="82"/>
                  <a:pt x="41" y="84"/>
                </a:cubicBezTo>
                <a:cubicBezTo>
                  <a:pt x="41" y="90"/>
                  <a:pt x="38" y="94"/>
                  <a:pt x="42" y="100"/>
                </a:cubicBezTo>
                <a:cubicBezTo>
                  <a:pt x="44" y="106"/>
                  <a:pt x="52" y="102"/>
                  <a:pt x="54" y="109"/>
                </a:cubicBezTo>
                <a:cubicBezTo>
                  <a:pt x="59" y="118"/>
                  <a:pt x="68" y="136"/>
                  <a:pt x="68" y="136"/>
                </a:cubicBezTo>
                <a:cubicBezTo>
                  <a:pt x="68" y="136"/>
                  <a:pt x="68" y="136"/>
                  <a:pt x="68" y="136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7" name="Freeform 77"/>
          <p:cNvSpPr>
            <a:spLocks/>
          </p:cNvSpPr>
          <p:nvPr/>
        </p:nvSpPr>
        <p:spPr bwMode="auto">
          <a:xfrm>
            <a:off x="6725561" y="2808967"/>
            <a:ext cx="1061003" cy="1256965"/>
          </a:xfrm>
          <a:custGeom>
            <a:avLst/>
            <a:gdLst>
              <a:gd name="T0" fmla="*/ 209 w 234"/>
              <a:gd name="T1" fmla="*/ 102 h 277"/>
              <a:gd name="T2" fmla="*/ 234 w 234"/>
              <a:gd name="T3" fmla="*/ 132 h 277"/>
              <a:gd name="T4" fmla="*/ 208 w 234"/>
              <a:gd name="T5" fmla="*/ 165 h 277"/>
              <a:gd name="T6" fmla="*/ 208 w 234"/>
              <a:gd name="T7" fmla="*/ 190 h 277"/>
              <a:gd name="T8" fmla="*/ 208 w 234"/>
              <a:gd name="T9" fmla="*/ 190 h 277"/>
              <a:gd name="T10" fmla="*/ 207 w 234"/>
              <a:gd name="T11" fmla="*/ 192 h 277"/>
              <a:gd name="T12" fmla="*/ 207 w 234"/>
              <a:gd name="T13" fmla="*/ 192 h 277"/>
              <a:gd name="T14" fmla="*/ 195 w 234"/>
              <a:gd name="T15" fmla="*/ 206 h 277"/>
              <a:gd name="T16" fmla="*/ 154 w 234"/>
              <a:gd name="T17" fmla="*/ 181 h 277"/>
              <a:gd name="T18" fmla="*/ 124 w 234"/>
              <a:gd name="T19" fmla="*/ 217 h 277"/>
              <a:gd name="T20" fmla="*/ 116 w 234"/>
              <a:gd name="T21" fmla="*/ 212 h 277"/>
              <a:gd name="T22" fmla="*/ 106 w 234"/>
              <a:gd name="T23" fmla="*/ 217 h 277"/>
              <a:gd name="T24" fmla="*/ 102 w 234"/>
              <a:gd name="T25" fmla="*/ 239 h 277"/>
              <a:gd name="T26" fmla="*/ 86 w 234"/>
              <a:gd name="T27" fmla="*/ 262 h 277"/>
              <a:gd name="T28" fmla="*/ 86 w 234"/>
              <a:gd name="T29" fmla="*/ 277 h 277"/>
              <a:gd name="T30" fmla="*/ 65 w 234"/>
              <a:gd name="T31" fmla="*/ 238 h 277"/>
              <a:gd name="T32" fmla="*/ 71 w 234"/>
              <a:gd name="T33" fmla="*/ 225 h 277"/>
              <a:gd name="T34" fmla="*/ 67 w 234"/>
              <a:gd name="T35" fmla="*/ 214 h 277"/>
              <a:gd name="T36" fmla="*/ 67 w 234"/>
              <a:gd name="T37" fmla="*/ 206 h 277"/>
              <a:gd name="T38" fmla="*/ 59 w 234"/>
              <a:gd name="T39" fmla="*/ 193 h 277"/>
              <a:gd name="T40" fmla="*/ 54 w 234"/>
              <a:gd name="T41" fmla="*/ 193 h 277"/>
              <a:gd name="T42" fmla="*/ 47 w 234"/>
              <a:gd name="T43" fmla="*/ 186 h 277"/>
              <a:gd name="T44" fmla="*/ 25 w 234"/>
              <a:gd name="T45" fmla="*/ 181 h 277"/>
              <a:gd name="T46" fmla="*/ 9 w 234"/>
              <a:gd name="T47" fmla="*/ 172 h 277"/>
              <a:gd name="T48" fmla="*/ 0 w 234"/>
              <a:gd name="T49" fmla="*/ 164 h 277"/>
              <a:gd name="T50" fmla="*/ 20 w 234"/>
              <a:gd name="T51" fmla="*/ 145 h 277"/>
              <a:gd name="T52" fmla="*/ 31 w 234"/>
              <a:gd name="T53" fmla="*/ 150 h 277"/>
              <a:gd name="T54" fmla="*/ 46 w 234"/>
              <a:gd name="T55" fmla="*/ 144 h 277"/>
              <a:gd name="T56" fmla="*/ 46 w 234"/>
              <a:gd name="T57" fmla="*/ 144 h 277"/>
              <a:gd name="T58" fmla="*/ 46 w 234"/>
              <a:gd name="T59" fmla="*/ 138 h 277"/>
              <a:gd name="T60" fmla="*/ 46 w 234"/>
              <a:gd name="T61" fmla="*/ 138 h 277"/>
              <a:gd name="T62" fmla="*/ 25 w 234"/>
              <a:gd name="T63" fmla="*/ 111 h 277"/>
              <a:gd name="T64" fmla="*/ 31 w 234"/>
              <a:gd name="T65" fmla="*/ 106 h 277"/>
              <a:gd name="T66" fmla="*/ 40 w 234"/>
              <a:gd name="T67" fmla="*/ 96 h 277"/>
              <a:gd name="T68" fmla="*/ 78 w 234"/>
              <a:gd name="T69" fmla="*/ 89 h 277"/>
              <a:gd name="T70" fmla="*/ 89 w 234"/>
              <a:gd name="T71" fmla="*/ 35 h 277"/>
              <a:gd name="T72" fmla="*/ 117 w 234"/>
              <a:gd name="T73" fmla="*/ 3 h 277"/>
              <a:gd name="T74" fmla="*/ 135 w 234"/>
              <a:gd name="T75" fmla="*/ 6 h 277"/>
              <a:gd name="T76" fmla="*/ 140 w 234"/>
              <a:gd name="T77" fmla="*/ 27 h 277"/>
              <a:gd name="T78" fmla="*/ 126 w 234"/>
              <a:gd name="T79" fmla="*/ 63 h 277"/>
              <a:gd name="T80" fmla="*/ 117 w 234"/>
              <a:gd name="T81" fmla="*/ 75 h 277"/>
              <a:gd name="T82" fmla="*/ 126 w 234"/>
              <a:gd name="T83" fmla="*/ 83 h 277"/>
              <a:gd name="T84" fmla="*/ 126 w 234"/>
              <a:gd name="T85" fmla="*/ 83 h 277"/>
              <a:gd name="T86" fmla="*/ 119 w 234"/>
              <a:gd name="T87" fmla="*/ 97 h 277"/>
              <a:gd name="T88" fmla="*/ 119 w 234"/>
              <a:gd name="T89" fmla="*/ 97 h 277"/>
              <a:gd name="T90" fmla="*/ 132 w 234"/>
              <a:gd name="T91" fmla="*/ 115 h 277"/>
              <a:gd name="T92" fmla="*/ 154 w 234"/>
              <a:gd name="T93" fmla="*/ 100 h 277"/>
              <a:gd name="T94" fmla="*/ 169 w 234"/>
              <a:gd name="T95" fmla="*/ 102 h 277"/>
              <a:gd name="T96" fmla="*/ 181 w 234"/>
              <a:gd name="T97" fmla="*/ 99 h 277"/>
              <a:gd name="T98" fmla="*/ 187 w 234"/>
              <a:gd name="T99" fmla="*/ 110 h 277"/>
              <a:gd name="T100" fmla="*/ 203 w 234"/>
              <a:gd name="T101" fmla="*/ 102 h 277"/>
              <a:gd name="T102" fmla="*/ 203 w 234"/>
              <a:gd name="T103" fmla="*/ 102 h 277"/>
              <a:gd name="T104" fmla="*/ 209 w 234"/>
              <a:gd name="T105" fmla="*/ 102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4" h="277">
                <a:moveTo>
                  <a:pt x="209" y="102"/>
                </a:moveTo>
                <a:cubicBezTo>
                  <a:pt x="211" y="120"/>
                  <a:pt x="234" y="116"/>
                  <a:pt x="234" y="132"/>
                </a:cubicBezTo>
                <a:cubicBezTo>
                  <a:pt x="234" y="149"/>
                  <a:pt x="208" y="148"/>
                  <a:pt x="208" y="165"/>
                </a:cubicBezTo>
                <a:cubicBezTo>
                  <a:pt x="208" y="174"/>
                  <a:pt x="208" y="180"/>
                  <a:pt x="208" y="190"/>
                </a:cubicBezTo>
                <a:cubicBezTo>
                  <a:pt x="208" y="190"/>
                  <a:pt x="208" y="190"/>
                  <a:pt x="208" y="190"/>
                </a:cubicBezTo>
                <a:cubicBezTo>
                  <a:pt x="207" y="192"/>
                  <a:pt x="207" y="192"/>
                  <a:pt x="207" y="192"/>
                </a:cubicBezTo>
                <a:cubicBezTo>
                  <a:pt x="207" y="192"/>
                  <a:pt x="207" y="192"/>
                  <a:pt x="207" y="192"/>
                </a:cubicBezTo>
                <a:cubicBezTo>
                  <a:pt x="202" y="193"/>
                  <a:pt x="197" y="198"/>
                  <a:pt x="195" y="206"/>
                </a:cubicBezTo>
                <a:cubicBezTo>
                  <a:pt x="185" y="201"/>
                  <a:pt x="164" y="181"/>
                  <a:pt x="154" y="181"/>
                </a:cubicBezTo>
                <a:cubicBezTo>
                  <a:pt x="138" y="181"/>
                  <a:pt x="142" y="217"/>
                  <a:pt x="124" y="217"/>
                </a:cubicBezTo>
                <a:cubicBezTo>
                  <a:pt x="119" y="217"/>
                  <a:pt x="121" y="212"/>
                  <a:pt x="116" y="212"/>
                </a:cubicBezTo>
                <a:cubicBezTo>
                  <a:pt x="115" y="212"/>
                  <a:pt x="106" y="215"/>
                  <a:pt x="106" y="217"/>
                </a:cubicBezTo>
                <a:cubicBezTo>
                  <a:pt x="103" y="222"/>
                  <a:pt x="105" y="231"/>
                  <a:pt x="102" y="239"/>
                </a:cubicBezTo>
                <a:cubicBezTo>
                  <a:pt x="100" y="249"/>
                  <a:pt x="86" y="247"/>
                  <a:pt x="86" y="262"/>
                </a:cubicBezTo>
                <a:cubicBezTo>
                  <a:pt x="86" y="267"/>
                  <a:pt x="87" y="271"/>
                  <a:pt x="86" y="277"/>
                </a:cubicBezTo>
                <a:cubicBezTo>
                  <a:pt x="78" y="275"/>
                  <a:pt x="65" y="245"/>
                  <a:pt x="65" y="238"/>
                </a:cubicBezTo>
                <a:cubicBezTo>
                  <a:pt x="65" y="231"/>
                  <a:pt x="71" y="229"/>
                  <a:pt x="71" y="225"/>
                </a:cubicBezTo>
                <a:cubicBezTo>
                  <a:pt x="71" y="222"/>
                  <a:pt x="67" y="217"/>
                  <a:pt x="67" y="214"/>
                </a:cubicBezTo>
                <a:cubicBezTo>
                  <a:pt x="67" y="212"/>
                  <a:pt x="67" y="211"/>
                  <a:pt x="67" y="206"/>
                </a:cubicBezTo>
                <a:cubicBezTo>
                  <a:pt x="58" y="206"/>
                  <a:pt x="63" y="196"/>
                  <a:pt x="59" y="193"/>
                </a:cubicBezTo>
                <a:cubicBezTo>
                  <a:pt x="58" y="193"/>
                  <a:pt x="56" y="193"/>
                  <a:pt x="54" y="193"/>
                </a:cubicBezTo>
                <a:cubicBezTo>
                  <a:pt x="51" y="193"/>
                  <a:pt x="51" y="188"/>
                  <a:pt x="47" y="186"/>
                </a:cubicBezTo>
                <a:cubicBezTo>
                  <a:pt x="42" y="181"/>
                  <a:pt x="33" y="185"/>
                  <a:pt x="25" y="181"/>
                </a:cubicBezTo>
                <a:cubicBezTo>
                  <a:pt x="17" y="180"/>
                  <a:pt x="17" y="176"/>
                  <a:pt x="9" y="172"/>
                </a:cubicBezTo>
                <a:cubicBezTo>
                  <a:pt x="6" y="172"/>
                  <a:pt x="0" y="166"/>
                  <a:pt x="0" y="164"/>
                </a:cubicBezTo>
                <a:cubicBezTo>
                  <a:pt x="0" y="158"/>
                  <a:pt x="11" y="145"/>
                  <a:pt x="20" y="145"/>
                </a:cubicBezTo>
                <a:cubicBezTo>
                  <a:pt x="25" y="145"/>
                  <a:pt x="26" y="150"/>
                  <a:pt x="31" y="150"/>
                </a:cubicBezTo>
                <a:cubicBezTo>
                  <a:pt x="36" y="150"/>
                  <a:pt x="38" y="144"/>
                  <a:pt x="46" y="144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46" y="138"/>
                  <a:pt x="46" y="138"/>
                  <a:pt x="46" y="138"/>
                </a:cubicBezTo>
                <a:cubicBezTo>
                  <a:pt x="46" y="138"/>
                  <a:pt x="46" y="138"/>
                  <a:pt x="46" y="138"/>
                </a:cubicBezTo>
                <a:cubicBezTo>
                  <a:pt x="42" y="134"/>
                  <a:pt x="25" y="113"/>
                  <a:pt x="25" y="111"/>
                </a:cubicBezTo>
                <a:cubicBezTo>
                  <a:pt x="25" y="110"/>
                  <a:pt x="28" y="107"/>
                  <a:pt x="31" y="106"/>
                </a:cubicBezTo>
                <a:cubicBezTo>
                  <a:pt x="35" y="104"/>
                  <a:pt x="35" y="97"/>
                  <a:pt x="40" y="96"/>
                </a:cubicBezTo>
                <a:cubicBezTo>
                  <a:pt x="47" y="95"/>
                  <a:pt x="78" y="104"/>
                  <a:pt x="78" y="89"/>
                </a:cubicBezTo>
                <a:cubicBezTo>
                  <a:pt x="78" y="67"/>
                  <a:pt x="86" y="57"/>
                  <a:pt x="89" y="35"/>
                </a:cubicBezTo>
                <a:cubicBezTo>
                  <a:pt x="99" y="22"/>
                  <a:pt x="107" y="10"/>
                  <a:pt x="117" y="3"/>
                </a:cubicBezTo>
                <a:cubicBezTo>
                  <a:pt x="119" y="10"/>
                  <a:pt x="132" y="0"/>
                  <a:pt x="135" y="6"/>
                </a:cubicBezTo>
                <a:cubicBezTo>
                  <a:pt x="142" y="14"/>
                  <a:pt x="137" y="22"/>
                  <a:pt x="140" y="27"/>
                </a:cubicBezTo>
                <a:cubicBezTo>
                  <a:pt x="132" y="37"/>
                  <a:pt x="131" y="54"/>
                  <a:pt x="126" y="63"/>
                </a:cubicBezTo>
                <a:cubicBezTo>
                  <a:pt x="123" y="68"/>
                  <a:pt x="117" y="68"/>
                  <a:pt x="117" y="75"/>
                </a:cubicBezTo>
                <a:cubicBezTo>
                  <a:pt x="117" y="80"/>
                  <a:pt x="123" y="81"/>
                  <a:pt x="126" y="83"/>
                </a:cubicBezTo>
                <a:cubicBezTo>
                  <a:pt x="126" y="83"/>
                  <a:pt x="126" y="83"/>
                  <a:pt x="126" y="83"/>
                </a:cubicBezTo>
                <a:cubicBezTo>
                  <a:pt x="119" y="97"/>
                  <a:pt x="119" y="97"/>
                  <a:pt x="119" y="97"/>
                </a:cubicBezTo>
                <a:cubicBezTo>
                  <a:pt x="119" y="97"/>
                  <a:pt x="119" y="97"/>
                  <a:pt x="119" y="97"/>
                </a:cubicBezTo>
                <a:cubicBezTo>
                  <a:pt x="126" y="101"/>
                  <a:pt x="123" y="115"/>
                  <a:pt x="132" y="115"/>
                </a:cubicBezTo>
                <a:cubicBezTo>
                  <a:pt x="139" y="115"/>
                  <a:pt x="142" y="100"/>
                  <a:pt x="154" y="100"/>
                </a:cubicBezTo>
                <a:cubicBezTo>
                  <a:pt x="159" y="100"/>
                  <a:pt x="163" y="102"/>
                  <a:pt x="169" y="102"/>
                </a:cubicBezTo>
                <a:cubicBezTo>
                  <a:pt x="175" y="102"/>
                  <a:pt x="176" y="100"/>
                  <a:pt x="181" y="99"/>
                </a:cubicBezTo>
                <a:cubicBezTo>
                  <a:pt x="181" y="104"/>
                  <a:pt x="182" y="110"/>
                  <a:pt x="187" y="110"/>
                </a:cubicBezTo>
                <a:cubicBezTo>
                  <a:pt x="193" y="110"/>
                  <a:pt x="196" y="102"/>
                  <a:pt x="203" y="102"/>
                </a:cubicBezTo>
                <a:cubicBezTo>
                  <a:pt x="203" y="102"/>
                  <a:pt x="203" y="102"/>
                  <a:pt x="203" y="102"/>
                </a:cubicBezTo>
                <a:cubicBezTo>
                  <a:pt x="209" y="102"/>
                  <a:pt x="209" y="102"/>
                  <a:pt x="209" y="102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8" name="Freeform 78"/>
          <p:cNvSpPr>
            <a:spLocks/>
          </p:cNvSpPr>
          <p:nvPr/>
        </p:nvSpPr>
        <p:spPr bwMode="auto">
          <a:xfrm>
            <a:off x="4653946" y="3354867"/>
            <a:ext cx="489910" cy="453517"/>
          </a:xfrm>
          <a:custGeom>
            <a:avLst/>
            <a:gdLst>
              <a:gd name="T0" fmla="*/ 104 w 108"/>
              <a:gd name="T1" fmla="*/ 75 h 100"/>
              <a:gd name="T2" fmla="*/ 107 w 108"/>
              <a:gd name="T3" fmla="*/ 83 h 100"/>
              <a:gd name="T4" fmla="*/ 108 w 108"/>
              <a:gd name="T5" fmla="*/ 86 h 100"/>
              <a:gd name="T6" fmla="*/ 100 w 108"/>
              <a:gd name="T7" fmla="*/ 100 h 100"/>
              <a:gd name="T8" fmla="*/ 52 w 108"/>
              <a:gd name="T9" fmla="*/ 84 h 100"/>
              <a:gd name="T10" fmla="*/ 34 w 108"/>
              <a:gd name="T11" fmla="*/ 66 h 100"/>
              <a:gd name="T12" fmla="*/ 25 w 108"/>
              <a:gd name="T13" fmla="*/ 66 h 100"/>
              <a:gd name="T14" fmla="*/ 14 w 108"/>
              <a:gd name="T15" fmla="*/ 59 h 100"/>
              <a:gd name="T16" fmla="*/ 12 w 108"/>
              <a:gd name="T17" fmla="*/ 43 h 100"/>
              <a:gd name="T18" fmla="*/ 0 w 108"/>
              <a:gd name="T19" fmla="*/ 25 h 100"/>
              <a:gd name="T20" fmla="*/ 16 w 108"/>
              <a:gd name="T21" fmla="*/ 8 h 100"/>
              <a:gd name="T22" fmla="*/ 19 w 108"/>
              <a:gd name="T23" fmla="*/ 12 h 100"/>
              <a:gd name="T24" fmla="*/ 32 w 108"/>
              <a:gd name="T25" fmla="*/ 0 h 100"/>
              <a:gd name="T26" fmla="*/ 36 w 108"/>
              <a:gd name="T27" fmla="*/ 2 h 100"/>
              <a:gd name="T28" fmla="*/ 51 w 108"/>
              <a:gd name="T29" fmla="*/ 0 h 100"/>
              <a:gd name="T30" fmla="*/ 71 w 108"/>
              <a:gd name="T31" fmla="*/ 22 h 100"/>
              <a:gd name="T32" fmla="*/ 86 w 108"/>
              <a:gd name="T33" fmla="*/ 29 h 100"/>
              <a:gd name="T34" fmla="*/ 102 w 108"/>
              <a:gd name="T35" fmla="*/ 73 h 100"/>
              <a:gd name="T36" fmla="*/ 102 w 108"/>
              <a:gd name="T37" fmla="*/ 73 h 100"/>
              <a:gd name="T38" fmla="*/ 104 w 108"/>
              <a:gd name="T39" fmla="*/ 75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8" h="100">
                <a:moveTo>
                  <a:pt x="104" y="75"/>
                </a:moveTo>
                <a:cubicBezTo>
                  <a:pt x="104" y="79"/>
                  <a:pt x="104" y="79"/>
                  <a:pt x="107" y="83"/>
                </a:cubicBezTo>
                <a:cubicBezTo>
                  <a:pt x="107" y="84"/>
                  <a:pt x="108" y="84"/>
                  <a:pt x="108" y="86"/>
                </a:cubicBezTo>
                <a:cubicBezTo>
                  <a:pt x="108" y="89"/>
                  <a:pt x="104" y="95"/>
                  <a:pt x="100" y="100"/>
                </a:cubicBezTo>
                <a:cubicBezTo>
                  <a:pt x="84" y="93"/>
                  <a:pt x="70" y="92"/>
                  <a:pt x="52" y="84"/>
                </a:cubicBezTo>
                <a:cubicBezTo>
                  <a:pt x="44" y="82"/>
                  <a:pt x="44" y="66"/>
                  <a:pt x="34" y="66"/>
                </a:cubicBezTo>
                <a:cubicBezTo>
                  <a:pt x="29" y="66"/>
                  <a:pt x="27" y="66"/>
                  <a:pt x="25" y="66"/>
                </a:cubicBezTo>
                <a:cubicBezTo>
                  <a:pt x="19" y="66"/>
                  <a:pt x="18" y="62"/>
                  <a:pt x="14" y="59"/>
                </a:cubicBezTo>
                <a:cubicBezTo>
                  <a:pt x="13" y="55"/>
                  <a:pt x="17" y="47"/>
                  <a:pt x="12" y="43"/>
                </a:cubicBezTo>
                <a:cubicBezTo>
                  <a:pt x="8" y="38"/>
                  <a:pt x="0" y="35"/>
                  <a:pt x="0" y="25"/>
                </a:cubicBezTo>
                <a:cubicBezTo>
                  <a:pt x="0" y="19"/>
                  <a:pt x="9" y="11"/>
                  <a:pt x="16" y="8"/>
                </a:cubicBezTo>
                <a:cubicBezTo>
                  <a:pt x="16" y="8"/>
                  <a:pt x="18" y="12"/>
                  <a:pt x="19" y="12"/>
                </a:cubicBezTo>
                <a:cubicBezTo>
                  <a:pt x="23" y="12"/>
                  <a:pt x="27" y="3"/>
                  <a:pt x="32" y="0"/>
                </a:cubicBezTo>
                <a:cubicBezTo>
                  <a:pt x="32" y="1"/>
                  <a:pt x="33" y="2"/>
                  <a:pt x="36" y="2"/>
                </a:cubicBezTo>
                <a:cubicBezTo>
                  <a:pt x="41" y="2"/>
                  <a:pt x="46" y="0"/>
                  <a:pt x="51" y="0"/>
                </a:cubicBezTo>
                <a:cubicBezTo>
                  <a:pt x="67" y="0"/>
                  <a:pt x="68" y="8"/>
                  <a:pt x="71" y="22"/>
                </a:cubicBezTo>
                <a:cubicBezTo>
                  <a:pt x="71" y="24"/>
                  <a:pt x="83" y="24"/>
                  <a:pt x="86" y="29"/>
                </a:cubicBezTo>
                <a:cubicBezTo>
                  <a:pt x="93" y="45"/>
                  <a:pt x="87" y="61"/>
                  <a:pt x="102" y="73"/>
                </a:cubicBezTo>
                <a:cubicBezTo>
                  <a:pt x="102" y="73"/>
                  <a:pt x="102" y="73"/>
                  <a:pt x="102" y="73"/>
                </a:cubicBezTo>
                <a:cubicBezTo>
                  <a:pt x="104" y="75"/>
                  <a:pt x="104" y="75"/>
                  <a:pt x="104" y="75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9" name="Freeform 87"/>
          <p:cNvSpPr>
            <a:spLocks/>
          </p:cNvSpPr>
          <p:nvPr/>
        </p:nvSpPr>
        <p:spPr bwMode="auto">
          <a:xfrm>
            <a:off x="7089491" y="4172314"/>
            <a:ext cx="893035" cy="1206575"/>
          </a:xfrm>
          <a:custGeom>
            <a:avLst/>
            <a:gdLst>
              <a:gd name="T0" fmla="*/ 107 w 197"/>
              <a:gd name="T1" fmla="*/ 240 h 266"/>
              <a:gd name="T2" fmla="*/ 122 w 197"/>
              <a:gd name="T3" fmla="*/ 217 h 266"/>
              <a:gd name="T4" fmla="*/ 133 w 197"/>
              <a:gd name="T5" fmla="*/ 187 h 266"/>
              <a:gd name="T6" fmla="*/ 156 w 197"/>
              <a:gd name="T7" fmla="*/ 173 h 266"/>
              <a:gd name="T8" fmla="*/ 166 w 197"/>
              <a:gd name="T9" fmla="*/ 176 h 266"/>
              <a:gd name="T10" fmla="*/ 183 w 197"/>
              <a:gd name="T11" fmla="*/ 142 h 266"/>
              <a:gd name="T12" fmla="*/ 183 w 197"/>
              <a:gd name="T13" fmla="*/ 142 h 266"/>
              <a:gd name="T14" fmla="*/ 177 w 197"/>
              <a:gd name="T15" fmla="*/ 142 h 266"/>
              <a:gd name="T16" fmla="*/ 177 w 197"/>
              <a:gd name="T17" fmla="*/ 142 h 266"/>
              <a:gd name="T18" fmla="*/ 155 w 197"/>
              <a:gd name="T19" fmla="*/ 147 h 266"/>
              <a:gd name="T20" fmla="*/ 137 w 197"/>
              <a:gd name="T21" fmla="*/ 142 h 266"/>
              <a:gd name="T22" fmla="*/ 117 w 197"/>
              <a:gd name="T23" fmla="*/ 112 h 266"/>
              <a:gd name="T24" fmla="*/ 133 w 197"/>
              <a:gd name="T25" fmla="*/ 96 h 266"/>
              <a:gd name="T26" fmla="*/ 145 w 197"/>
              <a:gd name="T27" fmla="*/ 102 h 266"/>
              <a:gd name="T28" fmla="*/ 138 w 197"/>
              <a:gd name="T29" fmla="*/ 115 h 266"/>
              <a:gd name="T30" fmla="*/ 149 w 197"/>
              <a:gd name="T31" fmla="*/ 115 h 266"/>
              <a:gd name="T32" fmla="*/ 158 w 197"/>
              <a:gd name="T33" fmla="*/ 125 h 266"/>
              <a:gd name="T34" fmla="*/ 165 w 197"/>
              <a:gd name="T35" fmla="*/ 115 h 266"/>
              <a:gd name="T36" fmla="*/ 192 w 197"/>
              <a:gd name="T37" fmla="*/ 111 h 266"/>
              <a:gd name="T38" fmla="*/ 188 w 197"/>
              <a:gd name="T39" fmla="*/ 98 h 266"/>
              <a:gd name="T40" fmla="*/ 194 w 197"/>
              <a:gd name="T41" fmla="*/ 73 h 266"/>
              <a:gd name="T42" fmla="*/ 197 w 197"/>
              <a:gd name="T43" fmla="*/ 72 h 266"/>
              <a:gd name="T44" fmla="*/ 187 w 197"/>
              <a:gd name="T45" fmla="*/ 75 h 266"/>
              <a:gd name="T46" fmla="*/ 151 w 197"/>
              <a:gd name="T47" fmla="*/ 48 h 266"/>
              <a:gd name="T48" fmla="*/ 142 w 197"/>
              <a:gd name="T49" fmla="*/ 48 h 266"/>
              <a:gd name="T50" fmla="*/ 133 w 197"/>
              <a:gd name="T51" fmla="*/ 32 h 266"/>
              <a:gd name="T52" fmla="*/ 121 w 197"/>
              <a:gd name="T53" fmla="*/ 24 h 266"/>
              <a:gd name="T54" fmla="*/ 106 w 197"/>
              <a:gd name="T55" fmla="*/ 20 h 266"/>
              <a:gd name="T56" fmla="*/ 92 w 197"/>
              <a:gd name="T57" fmla="*/ 0 h 266"/>
              <a:gd name="T58" fmla="*/ 89 w 197"/>
              <a:gd name="T59" fmla="*/ 0 h 266"/>
              <a:gd name="T60" fmla="*/ 55 w 197"/>
              <a:gd name="T61" fmla="*/ 13 h 266"/>
              <a:gd name="T62" fmla="*/ 62 w 197"/>
              <a:gd name="T63" fmla="*/ 31 h 266"/>
              <a:gd name="T64" fmla="*/ 22 w 197"/>
              <a:gd name="T65" fmla="*/ 43 h 266"/>
              <a:gd name="T66" fmla="*/ 27 w 197"/>
              <a:gd name="T67" fmla="*/ 57 h 266"/>
              <a:gd name="T68" fmla="*/ 5 w 197"/>
              <a:gd name="T69" fmla="*/ 84 h 266"/>
              <a:gd name="T70" fmla="*/ 3 w 197"/>
              <a:gd name="T71" fmla="*/ 109 h 266"/>
              <a:gd name="T72" fmla="*/ 22 w 197"/>
              <a:gd name="T73" fmla="*/ 179 h 266"/>
              <a:gd name="T74" fmla="*/ 22 w 197"/>
              <a:gd name="T75" fmla="*/ 190 h 266"/>
              <a:gd name="T76" fmla="*/ 26 w 197"/>
              <a:gd name="T77" fmla="*/ 200 h 266"/>
              <a:gd name="T78" fmla="*/ 36 w 197"/>
              <a:gd name="T79" fmla="*/ 195 h 266"/>
              <a:gd name="T80" fmla="*/ 46 w 197"/>
              <a:gd name="T81" fmla="*/ 207 h 266"/>
              <a:gd name="T82" fmla="*/ 32 w 197"/>
              <a:gd name="T83" fmla="*/ 219 h 266"/>
              <a:gd name="T84" fmla="*/ 39 w 197"/>
              <a:gd name="T85" fmla="*/ 233 h 266"/>
              <a:gd name="T86" fmla="*/ 33 w 197"/>
              <a:gd name="T87" fmla="*/ 248 h 266"/>
              <a:gd name="T88" fmla="*/ 51 w 197"/>
              <a:gd name="T89" fmla="*/ 257 h 266"/>
              <a:gd name="T90" fmla="*/ 62 w 197"/>
              <a:gd name="T91" fmla="*/ 254 h 266"/>
              <a:gd name="T92" fmla="*/ 83 w 197"/>
              <a:gd name="T93" fmla="*/ 266 h 266"/>
              <a:gd name="T94" fmla="*/ 108 w 197"/>
              <a:gd name="T95" fmla="*/ 245 h 266"/>
              <a:gd name="T96" fmla="*/ 108 w 197"/>
              <a:gd name="T97" fmla="*/ 245 h 266"/>
              <a:gd name="T98" fmla="*/ 107 w 197"/>
              <a:gd name="T99" fmla="*/ 240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7" h="266">
                <a:moveTo>
                  <a:pt x="107" y="240"/>
                </a:moveTo>
                <a:cubicBezTo>
                  <a:pt x="107" y="229"/>
                  <a:pt x="116" y="225"/>
                  <a:pt x="122" y="217"/>
                </a:cubicBezTo>
                <a:cubicBezTo>
                  <a:pt x="132" y="203"/>
                  <a:pt x="124" y="200"/>
                  <a:pt x="133" y="187"/>
                </a:cubicBezTo>
                <a:cubicBezTo>
                  <a:pt x="135" y="185"/>
                  <a:pt x="151" y="173"/>
                  <a:pt x="156" y="173"/>
                </a:cubicBezTo>
                <a:cubicBezTo>
                  <a:pt x="160" y="173"/>
                  <a:pt x="162" y="176"/>
                  <a:pt x="166" y="176"/>
                </a:cubicBezTo>
                <a:cubicBezTo>
                  <a:pt x="170" y="176"/>
                  <a:pt x="183" y="146"/>
                  <a:pt x="183" y="142"/>
                </a:cubicBezTo>
                <a:cubicBezTo>
                  <a:pt x="183" y="142"/>
                  <a:pt x="183" y="142"/>
                  <a:pt x="183" y="142"/>
                </a:cubicBezTo>
                <a:cubicBezTo>
                  <a:pt x="177" y="142"/>
                  <a:pt x="177" y="142"/>
                  <a:pt x="177" y="142"/>
                </a:cubicBezTo>
                <a:cubicBezTo>
                  <a:pt x="177" y="142"/>
                  <a:pt x="177" y="142"/>
                  <a:pt x="177" y="142"/>
                </a:cubicBezTo>
                <a:cubicBezTo>
                  <a:pt x="174" y="144"/>
                  <a:pt x="165" y="147"/>
                  <a:pt x="155" y="147"/>
                </a:cubicBezTo>
                <a:cubicBezTo>
                  <a:pt x="146" y="147"/>
                  <a:pt x="144" y="142"/>
                  <a:pt x="137" y="142"/>
                </a:cubicBezTo>
                <a:cubicBezTo>
                  <a:pt x="122" y="142"/>
                  <a:pt x="117" y="132"/>
                  <a:pt x="117" y="112"/>
                </a:cubicBezTo>
                <a:cubicBezTo>
                  <a:pt x="117" y="101"/>
                  <a:pt x="122" y="96"/>
                  <a:pt x="133" y="96"/>
                </a:cubicBezTo>
                <a:cubicBezTo>
                  <a:pt x="138" y="96"/>
                  <a:pt x="145" y="96"/>
                  <a:pt x="145" y="102"/>
                </a:cubicBezTo>
                <a:cubicBezTo>
                  <a:pt x="145" y="109"/>
                  <a:pt x="140" y="109"/>
                  <a:pt x="138" y="115"/>
                </a:cubicBezTo>
                <a:cubicBezTo>
                  <a:pt x="143" y="117"/>
                  <a:pt x="144" y="115"/>
                  <a:pt x="149" y="115"/>
                </a:cubicBezTo>
                <a:cubicBezTo>
                  <a:pt x="150" y="117"/>
                  <a:pt x="151" y="125"/>
                  <a:pt x="158" y="125"/>
                </a:cubicBezTo>
                <a:cubicBezTo>
                  <a:pt x="162" y="125"/>
                  <a:pt x="164" y="121"/>
                  <a:pt x="165" y="115"/>
                </a:cubicBezTo>
                <a:cubicBezTo>
                  <a:pt x="171" y="115"/>
                  <a:pt x="187" y="117"/>
                  <a:pt x="192" y="111"/>
                </a:cubicBezTo>
                <a:cubicBezTo>
                  <a:pt x="190" y="107"/>
                  <a:pt x="188" y="105"/>
                  <a:pt x="188" y="98"/>
                </a:cubicBezTo>
                <a:cubicBezTo>
                  <a:pt x="188" y="86"/>
                  <a:pt x="194" y="84"/>
                  <a:pt x="194" y="73"/>
                </a:cubicBezTo>
                <a:cubicBezTo>
                  <a:pt x="196" y="72"/>
                  <a:pt x="196" y="72"/>
                  <a:pt x="197" y="72"/>
                </a:cubicBezTo>
                <a:cubicBezTo>
                  <a:pt x="192" y="72"/>
                  <a:pt x="190" y="75"/>
                  <a:pt x="187" y="75"/>
                </a:cubicBezTo>
                <a:cubicBezTo>
                  <a:pt x="176" y="75"/>
                  <a:pt x="151" y="58"/>
                  <a:pt x="151" y="48"/>
                </a:cubicBezTo>
                <a:cubicBezTo>
                  <a:pt x="149" y="52"/>
                  <a:pt x="146" y="48"/>
                  <a:pt x="142" y="48"/>
                </a:cubicBezTo>
                <a:cubicBezTo>
                  <a:pt x="128" y="48"/>
                  <a:pt x="139" y="36"/>
                  <a:pt x="133" y="32"/>
                </a:cubicBezTo>
                <a:cubicBezTo>
                  <a:pt x="123" y="26"/>
                  <a:pt x="124" y="34"/>
                  <a:pt x="121" y="24"/>
                </a:cubicBezTo>
                <a:cubicBezTo>
                  <a:pt x="119" y="20"/>
                  <a:pt x="111" y="21"/>
                  <a:pt x="106" y="20"/>
                </a:cubicBezTo>
                <a:cubicBezTo>
                  <a:pt x="97" y="19"/>
                  <a:pt x="94" y="10"/>
                  <a:pt x="92" y="0"/>
                </a:cubicBezTo>
                <a:cubicBezTo>
                  <a:pt x="91" y="0"/>
                  <a:pt x="91" y="0"/>
                  <a:pt x="89" y="0"/>
                </a:cubicBezTo>
                <a:cubicBezTo>
                  <a:pt x="80" y="7"/>
                  <a:pt x="69" y="16"/>
                  <a:pt x="55" y="13"/>
                </a:cubicBezTo>
                <a:cubicBezTo>
                  <a:pt x="54" y="23"/>
                  <a:pt x="62" y="24"/>
                  <a:pt x="62" y="31"/>
                </a:cubicBezTo>
                <a:cubicBezTo>
                  <a:pt x="62" y="41"/>
                  <a:pt x="33" y="43"/>
                  <a:pt x="22" y="43"/>
                </a:cubicBezTo>
                <a:cubicBezTo>
                  <a:pt x="22" y="48"/>
                  <a:pt x="27" y="51"/>
                  <a:pt x="27" y="57"/>
                </a:cubicBezTo>
                <a:cubicBezTo>
                  <a:pt x="27" y="70"/>
                  <a:pt x="9" y="75"/>
                  <a:pt x="5" y="84"/>
                </a:cubicBezTo>
                <a:cubicBezTo>
                  <a:pt x="0" y="91"/>
                  <a:pt x="3" y="99"/>
                  <a:pt x="3" y="109"/>
                </a:cubicBezTo>
                <a:cubicBezTo>
                  <a:pt x="3" y="142"/>
                  <a:pt x="22" y="148"/>
                  <a:pt x="22" y="179"/>
                </a:cubicBezTo>
                <a:cubicBezTo>
                  <a:pt x="22" y="182"/>
                  <a:pt x="22" y="189"/>
                  <a:pt x="22" y="190"/>
                </a:cubicBezTo>
                <a:cubicBezTo>
                  <a:pt x="22" y="195"/>
                  <a:pt x="22" y="200"/>
                  <a:pt x="26" y="200"/>
                </a:cubicBezTo>
                <a:cubicBezTo>
                  <a:pt x="31" y="200"/>
                  <a:pt x="32" y="195"/>
                  <a:pt x="36" y="195"/>
                </a:cubicBezTo>
                <a:cubicBezTo>
                  <a:pt x="38" y="195"/>
                  <a:pt x="46" y="202"/>
                  <a:pt x="46" y="207"/>
                </a:cubicBezTo>
                <a:cubicBezTo>
                  <a:pt x="46" y="214"/>
                  <a:pt x="32" y="213"/>
                  <a:pt x="32" y="219"/>
                </a:cubicBezTo>
                <a:cubicBezTo>
                  <a:pt x="32" y="224"/>
                  <a:pt x="39" y="225"/>
                  <a:pt x="39" y="233"/>
                </a:cubicBezTo>
                <a:cubicBezTo>
                  <a:pt x="39" y="241"/>
                  <a:pt x="33" y="239"/>
                  <a:pt x="33" y="248"/>
                </a:cubicBezTo>
                <a:cubicBezTo>
                  <a:pt x="33" y="249"/>
                  <a:pt x="47" y="257"/>
                  <a:pt x="51" y="257"/>
                </a:cubicBezTo>
                <a:cubicBezTo>
                  <a:pt x="55" y="257"/>
                  <a:pt x="57" y="254"/>
                  <a:pt x="62" y="254"/>
                </a:cubicBezTo>
                <a:cubicBezTo>
                  <a:pt x="71" y="254"/>
                  <a:pt x="71" y="266"/>
                  <a:pt x="83" y="266"/>
                </a:cubicBezTo>
                <a:cubicBezTo>
                  <a:pt x="91" y="266"/>
                  <a:pt x="101" y="250"/>
                  <a:pt x="108" y="245"/>
                </a:cubicBezTo>
                <a:cubicBezTo>
                  <a:pt x="108" y="245"/>
                  <a:pt x="108" y="245"/>
                  <a:pt x="108" y="245"/>
                </a:cubicBezTo>
                <a:cubicBezTo>
                  <a:pt x="107" y="240"/>
                  <a:pt x="107" y="240"/>
                  <a:pt x="107" y="240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0" name="Freeform 88"/>
          <p:cNvSpPr>
            <a:spLocks/>
          </p:cNvSpPr>
          <p:nvPr/>
        </p:nvSpPr>
        <p:spPr bwMode="auto">
          <a:xfrm>
            <a:off x="5846525" y="3626414"/>
            <a:ext cx="590689" cy="431119"/>
          </a:xfrm>
          <a:custGeom>
            <a:avLst/>
            <a:gdLst>
              <a:gd name="T0" fmla="*/ 37 w 130"/>
              <a:gd name="T1" fmla="*/ 1 h 95"/>
              <a:gd name="T2" fmla="*/ 0 w 130"/>
              <a:gd name="T3" fmla="*/ 32 h 95"/>
              <a:gd name="T4" fmla="*/ 18 w 130"/>
              <a:gd name="T5" fmla="*/ 49 h 95"/>
              <a:gd name="T6" fmla="*/ 29 w 130"/>
              <a:gd name="T7" fmla="*/ 45 h 95"/>
              <a:gd name="T8" fmla="*/ 50 w 130"/>
              <a:gd name="T9" fmla="*/ 82 h 95"/>
              <a:gd name="T10" fmla="*/ 63 w 130"/>
              <a:gd name="T11" fmla="*/ 74 h 95"/>
              <a:gd name="T12" fmla="*/ 88 w 130"/>
              <a:gd name="T13" fmla="*/ 90 h 95"/>
              <a:gd name="T14" fmla="*/ 88 w 130"/>
              <a:gd name="T15" fmla="*/ 90 h 95"/>
              <a:gd name="T16" fmla="*/ 93 w 130"/>
              <a:gd name="T17" fmla="*/ 90 h 95"/>
              <a:gd name="T18" fmla="*/ 93 w 130"/>
              <a:gd name="T19" fmla="*/ 90 h 95"/>
              <a:gd name="T20" fmla="*/ 96 w 130"/>
              <a:gd name="T21" fmla="*/ 88 h 95"/>
              <a:gd name="T22" fmla="*/ 114 w 130"/>
              <a:gd name="T23" fmla="*/ 95 h 95"/>
              <a:gd name="T24" fmla="*/ 123 w 130"/>
              <a:gd name="T25" fmla="*/ 74 h 95"/>
              <a:gd name="T26" fmla="*/ 130 w 130"/>
              <a:gd name="T27" fmla="*/ 65 h 95"/>
              <a:gd name="T28" fmla="*/ 125 w 130"/>
              <a:gd name="T29" fmla="*/ 58 h 95"/>
              <a:gd name="T30" fmla="*/ 113 w 130"/>
              <a:gd name="T31" fmla="*/ 44 h 95"/>
              <a:gd name="T32" fmla="*/ 81 w 130"/>
              <a:gd name="T33" fmla="*/ 58 h 95"/>
              <a:gd name="T34" fmla="*/ 67 w 130"/>
              <a:gd name="T35" fmla="*/ 40 h 95"/>
              <a:gd name="T36" fmla="*/ 56 w 130"/>
              <a:gd name="T37" fmla="*/ 11 h 95"/>
              <a:gd name="T38" fmla="*/ 37 w 130"/>
              <a:gd name="T39" fmla="*/ 0 h 95"/>
              <a:gd name="T40" fmla="*/ 37 w 130"/>
              <a:gd name="T41" fmla="*/ 0 h 95"/>
              <a:gd name="T42" fmla="*/ 37 w 130"/>
              <a:gd name="T43" fmla="*/ 0 h 95"/>
              <a:gd name="T44" fmla="*/ 37 w 130"/>
              <a:gd name="T45" fmla="*/ 1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30" h="95">
                <a:moveTo>
                  <a:pt x="37" y="1"/>
                </a:moveTo>
                <a:cubicBezTo>
                  <a:pt x="33" y="17"/>
                  <a:pt x="12" y="27"/>
                  <a:pt x="0" y="32"/>
                </a:cubicBezTo>
                <a:cubicBezTo>
                  <a:pt x="1" y="39"/>
                  <a:pt x="12" y="49"/>
                  <a:pt x="18" y="49"/>
                </a:cubicBezTo>
                <a:cubicBezTo>
                  <a:pt x="23" y="49"/>
                  <a:pt x="26" y="45"/>
                  <a:pt x="29" y="45"/>
                </a:cubicBezTo>
                <a:cubicBezTo>
                  <a:pt x="48" y="45"/>
                  <a:pt x="34" y="82"/>
                  <a:pt x="50" y="82"/>
                </a:cubicBezTo>
                <a:cubicBezTo>
                  <a:pt x="55" y="82"/>
                  <a:pt x="56" y="74"/>
                  <a:pt x="63" y="74"/>
                </a:cubicBezTo>
                <a:cubicBezTo>
                  <a:pt x="74" y="74"/>
                  <a:pt x="77" y="88"/>
                  <a:pt x="88" y="90"/>
                </a:cubicBezTo>
                <a:cubicBezTo>
                  <a:pt x="88" y="90"/>
                  <a:pt x="88" y="90"/>
                  <a:pt x="88" y="90"/>
                </a:cubicBezTo>
                <a:cubicBezTo>
                  <a:pt x="93" y="90"/>
                  <a:pt x="93" y="90"/>
                  <a:pt x="93" y="90"/>
                </a:cubicBezTo>
                <a:cubicBezTo>
                  <a:pt x="93" y="90"/>
                  <a:pt x="93" y="90"/>
                  <a:pt x="93" y="90"/>
                </a:cubicBezTo>
                <a:cubicBezTo>
                  <a:pt x="96" y="90"/>
                  <a:pt x="92" y="88"/>
                  <a:pt x="96" y="88"/>
                </a:cubicBezTo>
                <a:cubicBezTo>
                  <a:pt x="103" y="88"/>
                  <a:pt x="106" y="95"/>
                  <a:pt x="114" y="95"/>
                </a:cubicBezTo>
                <a:cubicBezTo>
                  <a:pt x="123" y="95"/>
                  <a:pt x="123" y="82"/>
                  <a:pt x="123" y="74"/>
                </a:cubicBezTo>
                <a:cubicBezTo>
                  <a:pt x="123" y="70"/>
                  <a:pt x="130" y="69"/>
                  <a:pt x="130" y="65"/>
                </a:cubicBezTo>
                <a:cubicBezTo>
                  <a:pt x="130" y="60"/>
                  <a:pt x="125" y="61"/>
                  <a:pt x="125" y="58"/>
                </a:cubicBezTo>
                <a:cubicBezTo>
                  <a:pt x="125" y="58"/>
                  <a:pt x="113" y="47"/>
                  <a:pt x="113" y="44"/>
                </a:cubicBezTo>
                <a:cubicBezTo>
                  <a:pt x="102" y="44"/>
                  <a:pt x="90" y="58"/>
                  <a:pt x="81" y="58"/>
                </a:cubicBezTo>
                <a:cubicBezTo>
                  <a:pt x="74" y="58"/>
                  <a:pt x="67" y="49"/>
                  <a:pt x="67" y="40"/>
                </a:cubicBezTo>
                <a:cubicBezTo>
                  <a:pt x="67" y="33"/>
                  <a:pt x="67" y="11"/>
                  <a:pt x="56" y="11"/>
                </a:cubicBezTo>
                <a:cubicBezTo>
                  <a:pt x="51" y="11"/>
                  <a:pt x="37" y="8"/>
                  <a:pt x="3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1"/>
                  <a:pt x="37" y="1"/>
                  <a:pt x="37" y="1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1" name="Freeform 93"/>
          <p:cNvSpPr>
            <a:spLocks/>
          </p:cNvSpPr>
          <p:nvPr/>
        </p:nvSpPr>
        <p:spPr bwMode="auto">
          <a:xfrm>
            <a:off x="6549192" y="3525635"/>
            <a:ext cx="498308" cy="363932"/>
          </a:xfrm>
          <a:custGeom>
            <a:avLst/>
            <a:gdLst>
              <a:gd name="T0" fmla="*/ 39 w 110"/>
              <a:gd name="T1" fmla="*/ 7 h 80"/>
              <a:gd name="T2" fmla="*/ 24 w 110"/>
              <a:gd name="T3" fmla="*/ 0 h 80"/>
              <a:gd name="T4" fmla="*/ 0 w 110"/>
              <a:gd name="T5" fmla="*/ 21 h 80"/>
              <a:gd name="T6" fmla="*/ 5 w 110"/>
              <a:gd name="T7" fmla="*/ 37 h 80"/>
              <a:gd name="T8" fmla="*/ 33 w 110"/>
              <a:gd name="T9" fmla="*/ 43 h 80"/>
              <a:gd name="T10" fmla="*/ 42 w 110"/>
              <a:gd name="T11" fmla="*/ 59 h 80"/>
              <a:gd name="T12" fmla="*/ 45 w 110"/>
              <a:gd name="T13" fmla="*/ 75 h 80"/>
              <a:gd name="T14" fmla="*/ 56 w 110"/>
              <a:gd name="T15" fmla="*/ 77 h 80"/>
              <a:gd name="T16" fmla="*/ 72 w 110"/>
              <a:gd name="T17" fmla="*/ 70 h 80"/>
              <a:gd name="T18" fmla="*/ 85 w 110"/>
              <a:gd name="T19" fmla="*/ 75 h 80"/>
              <a:gd name="T20" fmla="*/ 92 w 110"/>
              <a:gd name="T21" fmla="*/ 71 h 80"/>
              <a:gd name="T22" fmla="*/ 99 w 110"/>
              <a:gd name="T23" fmla="*/ 77 h 80"/>
              <a:gd name="T24" fmla="*/ 99 w 110"/>
              <a:gd name="T25" fmla="*/ 77 h 80"/>
              <a:gd name="T26" fmla="*/ 104 w 110"/>
              <a:gd name="T27" fmla="*/ 77 h 80"/>
              <a:gd name="T28" fmla="*/ 104 w 110"/>
              <a:gd name="T29" fmla="*/ 80 h 80"/>
              <a:gd name="T30" fmla="*/ 104 w 110"/>
              <a:gd name="T31" fmla="*/ 80 h 80"/>
              <a:gd name="T32" fmla="*/ 104 w 110"/>
              <a:gd name="T33" fmla="*/ 80 h 80"/>
              <a:gd name="T34" fmla="*/ 110 w 110"/>
              <a:gd name="T35" fmla="*/ 67 h 80"/>
              <a:gd name="T36" fmla="*/ 106 w 110"/>
              <a:gd name="T37" fmla="*/ 56 h 80"/>
              <a:gd name="T38" fmla="*/ 106 w 110"/>
              <a:gd name="T39" fmla="*/ 48 h 80"/>
              <a:gd name="T40" fmla="*/ 98 w 110"/>
              <a:gd name="T41" fmla="*/ 35 h 80"/>
              <a:gd name="T42" fmla="*/ 93 w 110"/>
              <a:gd name="T43" fmla="*/ 35 h 80"/>
              <a:gd name="T44" fmla="*/ 86 w 110"/>
              <a:gd name="T45" fmla="*/ 28 h 80"/>
              <a:gd name="T46" fmla="*/ 64 w 110"/>
              <a:gd name="T47" fmla="*/ 23 h 80"/>
              <a:gd name="T48" fmla="*/ 48 w 110"/>
              <a:gd name="T49" fmla="*/ 14 h 80"/>
              <a:gd name="T50" fmla="*/ 39 w 110"/>
              <a:gd name="T51" fmla="*/ 6 h 80"/>
              <a:gd name="T52" fmla="*/ 39 w 110"/>
              <a:gd name="T53" fmla="*/ 6 h 80"/>
              <a:gd name="T54" fmla="*/ 39 w 110"/>
              <a:gd name="T55" fmla="*/ 7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0" h="80">
                <a:moveTo>
                  <a:pt x="39" y="7"/>
                </a:moveTo>
                <a:cubicBezTo>
                  <a:pt x="34" y="5"/>
                  <a:pt x="31" y="0"/>
                  <a:pt x="24" y="0"/>
                </a:cubicBezTo>
                <a:cubicBezTo>
                  <a:pt x="12" y="0"/>
                  <a:pt x="0" y="7"/>
                  <a:pt x="0" y="21"/>
                </a:cubicBezTo>
                <a:cubicBezTo>
                  <a:pt x="0" y="22"/>
                  <a:pt x="5" y="35"/>
                  <a:pt x="5" y="37"/>
                </a:cubicBezTo>
                <a:cubicBezTo>
                  <a:pt x="12" y="37"/>
                  <a:pt x="31" y="37"/>
                  <a:pt x="33" y="43"/>
                </a:cubicBezTo>
                <a:cubicBezTo>
                  <a:pt x="38" y="50"/>
                  <a:pt x="32" y="57"/>
                  <a:pt x="42" y="59"/>
                </a:cubicBezTo>
                <a:cubicBezTo>
                  <a:pt x="42" y="66"/>
                  <a:pt x="42" y="71"/>
                  <a:pt x="45" y="75"/>
                </a:cubicBezTo>
                <a:cubicBezTo>
                  <a:pt x="48" y="76"/>
                  <a:pt x="50" y="77"/>
                  <a:pt x="56" y="77"/>
                </a:cubicBezTo>
                <a:cubicBezTo>
                  <a:pt x="63" y="77"/>
                  <a:pt x="66" y="70"/>
                  <a:pt x="72" y="70"/>
                </a:cubicBezTo>
                <a:cubicBezTo>
                  <a:pt x="77" y="70"/>
                  <a:pt x="81" y="75"/>
                  <a:pt x="85" y="75"/>
                </a:cubicBezTo>
                <a:cubicBezTo>
                  <a:pt x="88" y="75"/>
                  <a:pt x="88" y="71"/>
                  <a:pt x="92" y="71"/>
                </a:cubicBezTo>
                <a:cubicBezTo>
                  <a:pt x="95" y="71"/>
                  <a:pt x="97" y="76"/>
                  <a:pt x="99" y="77"/>
                </a:cubicBezTo>
                <a:cubicBezTo>
                  <a:pt x="99" y="77"/>
                  <a:pt x="99" y="77"/>
                  <a:pt x="99" y="77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80"/>
                  <a:pt x="104" y="80"/>
                  <a:pt x="104" y="80"/>
                </a:cubicBezTo>
                <a:cubicBezTo>
                  <a:pt x="104" y="73"/>
                  <a:pt x="110" y="71"/>
                  <a:pt x="110" y="67"/>
                </a:cubicBezTo>
                <a:cubicBezTo>
                  <a:pt x="110" y="64"/>
                  <a:pt x="106" y="59"/>
                  <a:pt x="106" y="56"/>
                </a:cubicBezTo>
                <a:cubicBezTo>
                  <a:pt x="106" y="54"/>
                  <a:pt x="106" y="53"/>
                  <a:pt x="106" y="48"/>
                </a:cubicBezTo>
                <a:cubicBezTo>
                  <a:pt x="97" y="48"/>
                  <a:pt x="102" y="38"/>
                  <a:pt x="98" y="35"/>
                </a:cubicBezTo>
                <a:cubicBezTo>
                  <a:pt x="97" y="35"/>
                  <a:pt x="95" y="35"/>
                  <a:pt x="93" y="35"/>
                </a:cubicBezTo>
                <a:cubicBezTo>
                  <a:pt x="90" y="35"/>
                  <a:pt x="90" y="30"/>
                  <a:pt x="86" y="28"/>
                </a:cubicBezTo>
                <a:cubicBezTo>
                  <a:pt x="81" y="23"/>
                  <a:pt x="72" y="27"/>
                  <a:pt x="64" y="23"/>
                </a:cubicBezTo>
                <a:cubicBezTo>
                  <a:pt x="56" y="22"/>
                  <a:pt x="56" y="18"/>
                  <a:pt x="48" y="14"/>
                </a:cubicBezTo>
                <a:cubicBezTo>
                  <a:pt x="45" y="14"/>
                  <a:pt x="39" y="8"/>
                  <a:pt x="39" y="6"/>
                </a:cubicBezTo>
                <a:cubicBezTo>
                  <a:pt x="39" y="6"/>
                  <a:pt x="39" y="6"/>
                  <a:pt x="39" y="6"/>
                </a:cubicBezTo>
                <a:cubicBezTo>
                  <a:pt x="39" y="7"/>
                  <a:pt x="39" y="7"/>
                  <a:pt x="39" y="7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2" name="Freeform 94"/>
          <p:cNvSpPr>
            <a:spLocks/>
          </p:cNvSpPr>
          <p:nvPr/>
        </p:nvSpPr>
        <p:spPr bwMode="auto">
          <a:xfrm>
            <a:off x="6462410" y="3844774"/>
            <a:ext cx="907030" cy="769856"/>
          </a:xfrm>
          <a:custGeom>
            <a:avLst/>
            <a:gdLst>
              <a:gd name="T0" fmla="*/ 123 w 200"/>
              <a:gd name="T1" fmla="*/ 7 h 170"/>
              <a:gd name="T2" fmla="*/ 118 w 200"/>
              <a:gd name="T3" fmla="*/ 7 h 170"/>
              <a:gd name="T4" fmla="*/ 118 w 200"/>
              <a:gd name="T5" fmla="*/ 7 h 170"/>
              <a:gd name="T6" fmla="*/ 111 w 200"/>
              <a:gd name="T7" fmla="*/ 1 h 170"/>
              <a:gd name="T8" fmla="*/ 104 w 200"/>
              <a:gd name="T9" fmla="*/ 5 h 170"/>
              <a:gd name="T10" fmla="*/ 91 w 200"/>
              <a:gd name="T11" fmla="*/ 0 h 170"/>
              <a:gd name="T12" fmla="*/ 75 w 200"/>
              <a:gd name="T13" fmla="*/ 7 h 170"/>
              <a:gd name="T14" fmla="*/ 64 w 200"/>
              <a:gd name="T15" fmla="*/ 5 h 170"/>
              <a:gd name="T16" fmla="*/ 36 w 200"/>
              <a:gd name="T17" fmla="*/ 26 h 170"/>
              <a:gd name="T18" fmla="*/ 36 w 200"/>
              <a:gd name="T19" fmla="*/ 34 h 170"/>
              <a:gd name="T20" fmla="*/ 25 w 200"/>
              <a:gd name="T21" fmla="*/ 42 h 170"/>
              <a:gd name="T22" fmla="*/ 14 w 200"/>
              <a:gd name="T23" fmla="*/ 34 h 170"/>
              <a:gd name="T24" fmla="*/ 0 w 200"/>
              <a:gd name="T25" fmla="*/ 43 h 170"/>
              <a:gd name="T26" fmla="*/ 8 w 200"/>
              <a:gd name="T27" fmla="*/ 49 h 170"/>
              <a:gd name="T28" fmla="*/ 29 w 200"/>
              <a:gd name="T29" fmla="*/ 51 h 170"/>
              <a:gd name="T30" fmla="*/ 41 w 200"/>
              <a:gd name="T31" fmla="*/ 67 h 170"/>
              <a:gd name="T32" fmla="*/ 56 w 200"/>
              <a:gd name="T33" fmla="*/ 66 h 170"/>
              <a:gd name="T34" fmla="*/ 61 w 200"/>
              <a:gd name="T35" fmla="*/ 79 h 170"/>
              <a:gd name="T36" fmla="*/ 86 w 200"/>
              <a:gd name="T37" fmla="*/ 110 h 170"/>
              <a:gd name="T38" fmla="*/ 96 w 200"/>
              <a:gd name="T39" fmla="*/ 112 h 170"/>
              <a:gd name="T40" fmla="*/ 102 w 200"/>
              <a:gd name="T41" fmla="*/ 103 h 170"/>
              <a:gd name="T42" fmla="*/ 121 w 200"/>
              <a:gd name="T43" fmla="*/ 138 h 170"/>
              <a:gd name="T44" fmla="*/ 136 w 200"/>
              <a:gd name="T45" fmla="*/ 145 h 170"/>
              <a:gd name="T46" fmla="*/ 129 w 200"/>
              <a:gd name="T47" fmla="*/ 156 h 170"/>
              <a:gd name="T48" fmla="*/ 141 w 200"/>
              <a:gd name="T49" fmla="*/ 170 h 170"/>
              <a:gd name="T50" fmla="*/ 143 w 200"/>
              <a:gd name="T51" fmla="*/ 156 h 170"/>
              <a:gd name="T52" fmla="*/ 165 w 200"/>
              <a:gd name="T53" fmla="*/ 129 h 170"/>
              <a:gd name="T54" fmla="*/ 160 w 200"/>
              <a:gd name="T55" fmla="*/ 115 h 170"/>
              <a:gd name="T56" fmla="*/ 200 w 200"/>
              <a:gd name="T57" fmla="*/ 103 h 170"/>
              <a:gd name="T58" fmla="*/ 192 w 200"/>
              <a:gd name="T59" fmla="*/ 85 h 170"/>
              <a:gd name="T60" fmla="*/ 184 w 200"/>
              <a:gd name="T61" fmla="*/ 85 h 170"/>
              <a:gd name="T62" fmla="*/ 184 w 200"/>
              <a:gd name="T63" fmla="*/ 85 h 170"/>
              <a:gd name="T64" fmla="*/ 184 w 200"/>
              <a:gd name="T65" fmla="*/ 80 h 170"/>
              <a:gd name="T66" fmla="*/ 184 w 200"/>
              <a:gd name="T67" fmla="*/ 80 h 170"/>
              <a:gd name="T68" fmla="*/ 195 w 200"/>
              <a:gd name="T69" fmla="*/ 70 h 170"/>
              <a:gd name="T70" fmla="*/ 195 w 200"/>
              <a:gd name="T71" fmla="*/ 70 h 170"/>
              <a:gd name="T72" fmla="*/ 184 w 200"/>
              <a:gd name="T73" fmla="*/ 70 h 170"/>
              <a:gd name="T74" fmla="*/ 184 w 200"/>
              <a:gd name="T75" fmla="*/ 70 h 170"/>
              <a:gd name="T76" fmla="*/ 190 w 200"/>
              <a:gd name="T77" fmla="*/ 59 h 170"/>
              <a:gd name="T78" fmla="*/ 190 w 200"/>
              <a:gd name="T79" fmla="*/ 59 h 170"/>
              <a:gd name="T80" fmla="*/ 190 w 200"/>
              <a:gd name="T81" fmla="*/ 51 h 170"/>
              <a:gd name="T82" fmla="*/ 182 w 200"/>
              <a:gd name="T83" fmla="*/ 51 h 170"/>
              <a:gd name="T84" fmla="*/ 182 w 200"/>
              <a:gd name="T85" fmla="*/ 51 h 170"/>
              <a:gd name="T86" fmla="*/ 175 w 200"/>
              <a:gd name="T87" fmla="*/ 56 h 170"/>
              <a:gd name="T88" fmla="*/ 177 w 200"/>
              <a:gd name="T89" fmla="*/ 64 h 170"/>
              <a:gd name="T90" fmla="*/ 158 w 200"/>
              <a:gd name="T91" fmla="*/ 64 h 170"/>
              <a:gd name="T92" fmla="*/ 142 w 200"/>
              <a:gd name="T93" fmla="*/ 53 h 170"/>
              <a:gd name="T94" fmla="*/ 144 w 200"/>
              <a:gd name="T95" fmla="*/ 49 h 170"/>
              <a:gd name="T96" fmla="*/ 123 w 200"/>
              <a:gd name="T97" fmla="*/ 10 h 170"/>
              <a:gd name="T98" fmla="*/ 123 w 200"/>
              <a:gd name="T99" fmla="*/ 10 h 170"/>
              <a:gd name="T100" fmla="*/ 123 w 200"/>
              <a:gd name="T101" fmla="*/ 7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0" h="170">
                <a:moveTo>
                  <a:pt x="123" y="7"/>
                </a:moveTo>
                <a:cubicBezTo>
                  <a:pt x="118" y="7"/>
                  <a:pt x="118" y="7"/>
                  <a:pt x="118" y="7"/>
                </a:cubicBezTo>
                <a:cubicBezTo>
                  <a:pt x="118" y="7"/>
                  <a:pt x="118" y="7"/>
                  <a:pt x="118" y="7"/>
                </a:cubicBezTo>
                <a:cubicBezTo>
                  <a:pt x="116" y="6"/>
                  <a:pt x="114" y="1"/>
                  <a:pt x="111" y="1"/>
                </a:cubicBezTo>
                <a:cubicBezTo>
                  <a:pt x="107" y="1"/>
                  <a:pt x="107" y="5"/>
                  <a:pt x="104" y="5"/>
                </a:cubicBezTo>
                <a:cubicBezTo>
                  <a:pt x="100" y="5"/>
                  <a:pt x="96" y="0"/>
                  <a:pt x="91" y="0"/>
                </a:cubicBezTo>
                <a:cubicBezTo>
                  <a:pt x="85" y="0"/>
                  <a:pt x="82" y="7"/>
                  <a:pt x="75" y="7"/>
                </a:cubicBezTo>
                <a:cubicBezTo>
                  <a:pt x="69" y="7"/>
                  <a:pt x="67" y="6"/>
                  <a:pt x="64" y="5"/>
                </a:cubicBezTo>
                <a:cubicBezTo>
                  <a:pt x="57" y="10"/>
                  <a:pt x="36" y="16"/>
                  <a:pt x="36" y="26"/>
                </a:cubicBezTo>
                <a:cubicBezTo>
                  <a:pt x="36" y="32"/>
                  <a:pt x="36" y="32"/>
                  <a:pt x="36" y="34"/>
                </a:cubicBezTo>
                <a:cubicBezTo>
                  <a:pt x="36" y="37"/>
                  <a:pt x="32" y="42"/>
                  <a:pt x="25" y="42"/>
                </a:cubicBezTo>
                <a:cubicBezTo>
                  <a:pt x="20" y="42"/>
                  <a:pt x="16" y="35"/>
                  <a:pt x="14" y="34"/>
                </a:cubicBezTo>
                <a:cubicBezTo>
                  <a:pt x="9" y="38"/>
                  <a:pt x="4" y="38"/>
                  <a:pt x="0" y="43"/>
                </a:cubicBezTo>
                <a:cubicBezTo>
                  <a:pt x="4" y="47"/>
                  <a:pt x="6" y="49"/>
                  <a:pt x="8" y="49"/>
                </a:cubicBezTo>
                <a:cubicBezTo>
                  <a:pt x="16" y="53"/>
                  <a:pt x="22" y="49"/>
                  <a:pt x="29" y="51"/>
                </a:cubicBezTo>
                <a:cubicBezTo>
                  <a:pt x="34" y="55"/>
                  <a:pt x="31" y="66"/>
                  <a:pt x="41" y="67"/>
                </a:cubicBezTo>
                <a:cubicBezTo>
                  <a:pt x="46" y="67"/>
                  <a:pt x="53" y="66"/>
                  <a:pt x="56" y="66"/>
                </a:cubicBezTo>
                <a:cubicBezTo>
                  <a:pt x="63" y="66"/>
                  <a:pt x="59" y="72"/>
                  <a:pt x="61" y="79"/>
                </a:cubicBezTo>
                <a:cubicBezTo>
                  <a:pt x="63" y="91"/>
                  <a:pt x="74" y="110"/>
                  <a:pt x="86" y="110"/>
                </a:cubicBezTo>
                <a:cubicBezTo>
                  <a:pt x="89" y="110"/>
                  <a:pt x="94" y="112"/>
                  <a:pt x="96" y="112"/>
                </a:cubicBezTo>
                <a:cubicBezTo>
                  <a:pt x="96" y="107"/>
                  <a:pt x="98" y="104"/>
                  <a:pt x="102" y="103"/>
                </a:cubicBezTo>
                <a:cubicBezTo>
                  <a:pt x="109" y="115"/>
                  <a:pt x="115" y="129"/>
                  <a:pt x="121" y="138"/>
                </a:cubicBezTo>
                <a:cubicBezTo>
                  <a:pt x="127" y="138"/>
                  <a:pt x="129" y="144"/>
                  <a:pt x="136" y="145"/>
                </a:cubicBezTo>
                <a:cubicBezTo>
                  <a:pt x="134" y="150"/>
                  <a:pt x="129" y="151"/>
                  <a:pt x="129" y="156"/>
                </a:cubicBezTo>
                <a:cubicBezTo>
                  <a:pt x="129" y="162"/>
                  <a:pt x="136" y="167"/>
                  <a:pt x="141" y="170"/>
                </a:cubicBezTo>
                <a:cubicBezTo>
                  <a:pt x="141" y="165"/>
                  <a:pt x="141" y="160"/>
                  <a:pt x="143" y="156"/>
                </a:cubicBezTo>
                <a:cubicBezTo>
                  <a:pt x="147" y="147"/>
                  <a:pt x="165" y="142"/>
                  <a:pt x="165" y="129"/>
                </a:cubicBezTo>
                <a:cubicBezTo>
                  <a:pt x="165" y="123"/>
                  <a:pt x="160" y="120"/>
                  <a:pt x="160" y="115"/>
                </a:cubicBezTo>
                <a:cubicBezTo>
                  <a:pt x="171" y="115"/>
                  <a:pt x="200" y="113"/>
                  <a:pt x="200" y="103"/>
                </a:cubicBezTo>
                <a:cubicBezTo>
                  <a:pt x="200" y="96"/>
                  <a:pt x="191" y="95"/>
                  <a:pt x="192" y="85"/>
                </a:cubicBezTo>
                <a:cubicBezTo>
                  <a:pt x="189" y="86"/>
                  <a:pt x="189" y="87"/>
                  <a:pt x="184" y="85"/>
                </a:cubicBezTo>
                <a:cubicBezTo>
                  <a:pt x="184" y="85"/>
                  <a:pt x="184" y="85"/>
                  <a:pt x="184" y="85"/>
                </a:cubicBezTo>
                <a:cubicBezTo>
                  <a:pt x="184" y="80"/>
                  <a:pt x="184" y="80"/>
                  <a:pt x="184" y="80"/>
                </a:cubicBezTo>
                <a:cubicBezTo>
                  <a:pt x="184" y="80"/>
                  <a:pt x="184" y="80"/>
                  <a:pt x="184" y="80"/>
                </a:cubicBezTo>
                <a:cubicBezTo>
                  <a:pt x="189" y="79"/>
                  <a:pt x="195" y="76"/>
                  <a:pt x="195" y="70"/>
                </a:cubicBezTo>
                <a:cubicBezTo>
                  <a:pt x="195" y="70"/>
                  <a:pt x="195" y="70"/>
                  <a:pt x="195" y="70"/>
                </a:cubicBezTo>
                <a:cubicBezTo>
                  <a:pt x="184" y="70"/>
                  <a:pt x="184" y="70"/>
                  <a:pt x="184" y="70"/>
                </a:cubicBezTo>
                <a:cubicBezTo>
                  <a:pt x="184" y="70"/>
                  <a:pt x="184" y="70"/>
                  <a:pt x="184" y="70"/>
                </a:cubicBezTo>
                <a:cubicBezTo>
                  <a:pt x="184" y="65"/>
                  <a:pt x="186" y="63"/>
                  <a:pt x="190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51"/>
                  <a:pt x="190" y="51"/>
                  <a:pt x="190" y="51"/>
                </a:cubicBezTo>
                <a:cubicBezTo>
                  <a:pt x="182" y="51"/>
                  <a:pt x="182" y="51"/>
                  <a:pt x="182" y="51"/>
                </a:cubicBezTo>
                <a:cubicBezTo>
                  <a:pt x="182" y="51"/>
                  <a:pt x="182" y="51"/>
                  <a:pt x="182" y="51"/>
                </a:cubicBezTo>
                <a:cubicBezTo>
                  <a:pt x="180" y="53"/>
                  <a:pt x="175" y="54"/>
                  <a:pt x="175" y="56"/>
                </a:cubicBezTo>
                <a:cubicBezTo>
                  <a:pt x="175" y="60"/>
                  <a:pt x="176" y="60"/>
                  <a:pt x="177" y="64"/>
                </a:cubicBezTo>
                <a:cubicBezTo>
                  <a:pt x="171" y="67"/>
                  <a:pt x="164" y="64"/>
                  <a:pt x="158" y="64"/>
                </a:cubicBezTo>
                <a:cubicBezTo>
                  <a:pt x="152" y="64"/>
                  <a:pt x="142" y="61"/>
                  <a:pt x="142" y="53"/>
                </a:cubicBezTo>
                <a:cubicBezTo>
                  <a:pt x="142" y="51"/>
                  <a:pt x="144" y="50"/>
                  <a:pt x="144" y="49"/>
                </a:cubicBezTo>
                <a:cubicBezTo>
                  <a:pt x="136" y="47"/>
                  <a:pt x="123" y="17"/>
                  <a:pt x="123" y="10"/>
                </a:cubicBezTo>
                <a:cubicBezTo>
                  <a:pt x="123" y="10"/>
                  <a:pt x="123" y="10"/>
                  <a:pt x="123" y="10"/>
                </a:cubicBezTo>
                <a:cubicBezTo>
                  <a:pt x="123" y="7"/>
                  <a:pt x="123" y="7"/>
                  <a:pt x="123" y="7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3" name="Freeform 95"/>
          <p:cNvSpPr>
            <a:spLocks/>
          </p:cNvSpPr>
          <p:nvPr/>
        </p:nvSpPr>
        <p:spPr bwMode="auto">
          <a:xfrm>
            <a:off x="6403621" y="3693603"/>
            <a:ext cx="358332" cy="347135"/>
          </a:xfrm>
          <a:custGeom>
            <a:avLst/>
            <a:gdLst>
              <a:gd name="T0" fmla="*/ 79 w 79"/>
              <a:gd name="T1" fmla="*/ 38 h 76"/>
              <a:gd name="T2" fmla="*/ 49 w 79"/>
              <a:gd name="T3" fmla="*/ 59 h 76"/>
              <a:gd name="T4" fmla="*/ 49 w 79"/>
              <a:gd name="T5" fmla="*/ 67 h 76"/>
              <a:gd name="T6" fmla="*/ 38 w 79"/>
              <a:gd name="T7" fmla="*/ 75 h 76"/>
              <a:gd name="T8" fmla="*/ 27 w 79"/>
              <a:gd name="T9" fmla="*/ 67 h 76"/>
              <a:gd name="T10" fmla="*/ 13 w 79"/>
              <a:gd name="T11" fmla="*/ 76 h 76"/>
              <a:gd name="T12" fmla="*/ 0 w 79"/>
              <a:gd name="T13" fmla="*/ 59 h 76"/>
              <a:gd name="T14" fmla="*/ 7 w 79"/>
              <a:gd name="T15" fmla="*/ 50 h 76"/>
              <a:gd name="T16" fmla="*/ 0 w 79"/>
              <a:gd name="T17" fmla="*/ 39 h 76"/>
              <a:gd name="T18" fmla="*/ 19 w 79"/>
              <a:gd name="T19" fmla="*/ 23 h 76"/>
              <a:gd name="T20" fmla="*/ 37 w 79"/>
              <a:gd name="T21" fmla="*/ 0 h 76"/>
              <a:gd name="T22" fmla="*/ 65 w 79"/>
              <a:gd name="T23" fmla="*/ 6 h 76"/>
              <a:gd name="T24" fmla="*/ 74 w 79"/>
              <a:gd name="T25" fmla="*/ 22 h 76"/>
              <a:gd name="T26" fmla="*/ 77 w 79"/>
              <a:gd name="T27" fmla="*/ 38 h 76"/>
              <a:gd name="T28" fmla="*/ 77 w 79"/>
              <a:gd name="T29" fmla="*/ 38 h 76"/>
              <a:gd name="T30" fmla="*/ 79 w 79"/>
              <a:gd name="T31" fmla="*/ 38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9" h="76">
                <a:moveTo>
                  <a:pt x="79" y="38"/>
                </a:moveTo>
                <a:cubicBezTo>
                  <a:pt x="71" y="43"/>
                  <a:pt x="49" y="49"/>
                  <a:pt x="49" y="59"/>
                </a:cubicBezTo>
                <a:cubicBezTo>
                  <a:pt x="49" y="65"/>
                  <a:pt x="49" y="65"/>
                  <a:pt x="49" y="67"/>
                </a:cubicBezTo>
                <a:cubicBezTo>
                  <a:pt x="49" y="70"/>
                  <a:pt x="45" y="75"/>
                  <a:pt x="38" y="75"/>
                </a:cubicBezTo>
                <a:cubicBezTo>
                  <a:pt x="33" y="75"/>
                  <a:pt x="29" y="68"/>
                  <a:pt x="27" y="67"/>
                </a:cubicBezTo>
                <a:cubicBezTo>
                  <a:pt x="22" y="71"/>
                  <a:pt x="17" y="71"/>
                  <a:pt x="13" y="76"/>
                </a:cubicBezTo>
                <a:cubicBezTo>
                  <a:pt x="7" y="70"/>
                  <a:pt x="0" y="61"/>
                  <a:pt x="0" y="59"/>
                </a:cubicBezTo>
                <a:cubicBezTo>
                  <a:pt x="0" y="55"/>
                  <a:pt x="7" y="54"/>
                  <a:pt x="7" y="50"/>
                </a:cubicBezTo>
                <a:cubicBezTo>
                  <a:pt x="7" y="45"/>
                  <a:pt x="0" y="44"/>
                  <a:pt x="0" y="39"/>
                </a:cubicBezTo>
                <a:cubicBezTo>
                  <a:pt x="0" y="32"/>
                  <a:pt x="17" y="29"/>
                  <a:pt x="19" y="23"/>
                </a:cubicBezTo>
                <a:cubicBezTo>
                  <a:pt x="26" y="11"/>
                  <a:pt x="17" y="0"/>
                  <a:pt x="37" y="0"/>
                </a:cubicBezTo>
                <a:cubicBezTo>
                  <a:pt x="44" y="0"/>
                  <a:pt x="63" y="0"/>
                  <a:pt x="65" y="6"/>
                </a:cubicBezTo>
                <a:cubicBezTo>
                  <a:pt x="70" y="13"/>
                  <a:pt x="64" y="20"/>
                  <a:pt x="74" y="22"/>
                </a:cubicBezTo>
                <a:cubicBezTo>
                  <a:pt x="74" y="29"/>
                  <a:pt x="74" y="34"/>
                  <a:pt x="77" y="38"/>
                </a:cubicBezTo>
                <a:cubicBezTo>
                  <a:pt x="77" y="38"/>
                  <a:pt x="77" y="38"/>
                  <a:pt x="77" y="38"/>
                </a:cubicBezTo>
                <a:cubicBezTo>
                  <a:pt x="79" y="38"/>
                  <a:pt x="79" y="38"/>
                  <a:pt x="79" y="38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4" name="Freeform 96"/>
          <p:cNvSpPr>
            <a:spLocks/>
          </p:cNvSpPr>
          <p:nvPr/>
        </p:nvSpPr>
        <p:spPr bwMode="auto">
          <a:xfrm>
            <a:off x="4681940" y="4984161"/>
            <a:ext cx="806249" cy="901433"/>
          </a:xfrm>
          <a:custGeom>
            <a:avLst/>
            <a:gdLst>
              <a:gd name="T0" fmla="*/ 98 w 178"/>
              <a:gd name="T1" fmla="*/ 18 h 199"/>
              <a:gd name="T2" fmla="*/ 99 w 178"/>
              <a:gd name="T3" fmla="*/ 21 h 199"/>
              <a:gd name="T4" fmla="*/ 103 w 178"/>
              <a:gd name="T5" fmla="*/ 26 h 199"/>
              <a:gd name="T6" fmla="*/ 109 w 178"/>
              <a:gd name="T7" fmla="*/ 22 h 199"/>
              <a:gd name="T8" fmla="*/ 109 w 178"/>
              <a:gd name="T9" fmla="*/ 22 h 199"/>
              <a:gd name="T10" fmla="*/ 115 w 178"/>
              <a:gd name="T11" fmla="*/ 22 h 199"/>
              <a:gd name="T12" fmla="*/ 115 w 178"/>
              <a:gd name="T13" fmla="*/ 22 h 199"/>
              <a:gd name="T14" fmla="*/ 115 w 178"/>
              <a:gd name="T15" fmla="*/ 27 h 199"/>
              <a:gd name="T16" fmla="*/ 82 w 178"/>
              <a:gd name="T17" fmla="*/ 53 h 199"/>
              <a:gd name="T18" fmla="*/ 77 w 178"/>
              <a:gd name="T19" fmla="*/ 61 h 199"/>
              <a:gd name="T20" fmla="*/ 71 w 178"/>
              <a:gd name="T21" fmla="*/ 69 h 199"/>
              <a:gd name="T22" fmla="*/ 60 w 178"/>
              <a:gd name="T23" fmla="*/ 65 h 199"/>
              <a:gd name="T24" fmla="*/ 51 w 178"/>
              <a:gd name="T25" fmla="*/ 50 h 199"/>
              <a:gd name="T26" fmla="*/ 33 w 178"/>
              <a:gd name="T27" fmla="*/ 19 h 199"/>
              <a:gd name="T28" fmla="*/ 33 w 178"/>
              <a:gd name="T29" fmla="*/ 19 h 199"/>
              <a:gd name="T30" fmla="*/ 28 w 178"/>
              <a:gd name="T31" fmla="*/ 19 h 199"/>
              <a:gd name="T32" fmla="*/ 28 w 178"/>
              <a:gd name="T33" fmla="*/ 19 h 199"/>
              <a:gd name="T34" fmla="*/ 21 w 178"/>
              <a:gd name="T35" fmla="*/ 29 h 199"/>
              <a:gd name="T36" fmla="*/ 8 w 178"/>
              <a:gd name="T37" fmla="*/ 24 h 199"/>
              <a:gd name="T38" fmla="*/ 0 w 178"/>
              <a:gd name="T39" fmla="*/ 32 h 199"/>
              <a:gd name="T40" fmla="*/ 10 w 178"/>
              <a:gd name="T41" fmla="*/ 43 h 199"/>
              <a:gd name="T42" fmla="*/ 19 w 178"/>
              <a:gd name="T43" fmla="*/ 39 h 199"/>
              <a:gd name="T44" fmla="*/ 37 w 178"/>
              <a:gd name="T45" fmla="*/ 51 h 199"/>
              <a:gd name="T46" fmla="*/ 40 w 178"/>
              <a:gd name="T47" fmla="*/ 60 h 199"/>
              <a:gd name="T48" fmla="*/ 60 w 178"/>
              <a:gd name="T49" fmla="*/ 86 h 199"/>
              <a:gd name="T50" fmla="*/ 56 w 178"/>
              <a:gd name="T51" fmla="*/ 99 h 199"/>
              <a:gd name="T52" fmla="*/ 82 w 178"/>
              <a:gd name="T53" fmla="*/ 153 h 199"/>
              <a:gd name="T54" fmla="*/ 82 w 178"/>
              <a:gd name="T55" fmla="*/ 162 h 199"/>
              <a:gd name="T56" fmla="*/ 103 w 178"/>
              <a:gd name="T57" fmla="*/ 182 h 199"/>
              <a:gd name="T58" fmla="*/ 108 w 178"/>
              <a:gd name="T59" fmla="*/ 197 h 199"/>
              <a:gd name="T60" fmla="*/ 108 w 178"/>
              <a:gd name="T61" fmla="*/ 197 h 199"/>
              <a:gd name="T62" fmla="*/ 108 w 178"/>
              <a:gd name="T63" fmla="*/ 199 h 199"/>
              <a:gd name="T64" fmla="*/ 108 w 178"/>
              <a:gd name="T65" fmla="*/ 199 h 199"/>
              <a:gd name="T66" fmla="*/ 135 w 178"/>
              <a:gd name="T67" fmla="*/ 184 h 199"/>
              <a:gd name="T68" fmla="*/ 151 w 178"/>
              <a:gd name="T69" fmla="*/ 173 h 199"/>
              <a:gd name="T70" fmla="*/ 134 w 178"/>
              <a:gd name="T71" fmla="*/ 162 h 199"/>
              <a:gd name="T72" fmla="*/ 151 w 178"/>
              <a:gd name="T73" fmla="*/ 142 h 199"/>
              <a:gd name="T74" fmla="*/ 146 w 178"/>
              <a:gd name="T75" fmla="*/ 129 h 199"/>
              <a:gd name="T76" fmla="*/ 151 w 178"/>
              <a:gd name="T77" fmla="*/ 122 h 199"/>
              <a:gd name="T78" fmla="*/ 158 w 178"/>
              <a:gd name="T79" fmla="*/ 125 h 199"/>
              <a:gd name="T80" fmla="*/ 174 w 178"/>
              <a:gd name="T81" fmla="*/ 115 h 199"/>
              <a:gd name="T82" fmla="*/ 171 w 178"/>
              <a:gd name="T83" fmla="*/ 93 h 199"/>
              <a:gd name="T84" fmla="*/ 178 w 178"/>
              <a:gd name="T85" fmla="*/ 82 h 199"/>
              <a:gd name="T86" fmla="*/ 178 w 178"/>
              <a:gd name="T87" fmla="*/ 82 h 199"/>
              <a:gd name="T88" fmla="*/ 178 w 178"/>
              <a:gd name="T89" fmla="*/ 75 h 199"/>
              <a:gd name="T90" fmla="*/ 178 w 178"/>
              <a:gd name="T91" fmla="*/ 75 h 199"/>
              <a:gd name="T92" fmla="*/ 166 w 178"/>
              <a:gd name="T93" fmla="*/ 56 h 199"/>
              <a:gd name="T94" fmla="*/ 156 w 178"/>
              <a:gd name="T95" fmla="*/ 12 h 199"/>
              <a:gd name="T96" fmla="*/ 147 w 178"/>
              <a:gd name="T97" fmla="*/ 16 h 199"/>
              <a:gd name="T98" fmla="*/ 137 w 178"/>
              <a:gd name="T99" fmla="*/ 0 h 199"/>
              <a:gd name="T100" fmla="*/ 129 w 178"/>
              <a:gd name="T101" fmla="*/ 14 h 199"/>
              <a:gd name="T102" fmla="*/ 112 w 178"/>
              <a:gd name="T103" fmla="*/ 10 h 199"/>
              <a:gd name="T104" fmla="*/ 97 w 178"/>
              <a:gd name="T105" fmla="*/ 13 h 199"/>
              <a:gd name="T106" fmla="*/ 97 w 178"/>
              <a:gd name="T107" fmla="*/ 13 h 199"/>
              <a:gd name="T108" fmla="*/ 98 w 178"/>
              <a:gd name="T109" fmla="*/ 18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8" h="199">
                <a:moveTo>
                  <a:pt x="98" y="18"/>
                </a:moveTo>
                <a:cubicBezTo>
                  <a:pt x="98" y="22"/>
                  <a:pt x="99" y="21"/>
                  <a:pt x="99" y="21"/>
                </a:cubicBezTo>
                <a:cubicBezTo>
                  <a:pt x="99" y="22"/>
                  <a:pt x="99" y="26"/>
                  <a:pt x="103" y="26"/>
                </a:cubicBezTo>
                <a:cubicBezTo>
                  <a:pt x="108" y="26"/>
                  <a:pt x="107" y="24"/>
                  <a:pt x="109" y="22"/>
                </a:cubicBezTo>
                <a:cubicBezTo>
                  <a:pt x="109" y="22"/>
                  <a:pt x="109" y="22"/>
                  <a:pt x="109" y="22"/>
                </a:cubicBezTo>
                <a:cubicBezTo>
                  <a:pt x="115" y="22"/>
                  <a:pt x="115" y="22"/>
                  <a:pt x="115" y="22"/>
                </a:cubicBezTo>
                <a:cubicBezTo>
                  <a:pt x="115" y="22"/>
                  <a:pt x="115" y="22"/>
                  <a:pt x="115" y="22"/>
                </a:cubicBezTo>
                <a:cubicBezTo>
                  <a:pt x="115" y="24"/>
                  <a:pt x="115" y="26"/>
                  <a:pt x="115" y="27"/>
                </a:cubicBezTo>
                <a:cubicBezTo>
                  <a:pt x="115" y="46"/>
                  <a:pt x="98" y="46"/>
                  <a:pt x="82" y="53"/>
                </a:cubicBezTo>
                <a:cubicBezTo>
                  <a:pt x="77" y="54"/>
                  <a:pt x="80" y="59"/>
                  <a:pt x="77" y="61"/>
                </a:cubicBezTo>
                <a:cubicBezTo>
                  <a:pt x="77" y="66"/>
                  <a:pt x="76" y="69"/>
                  <a:pt x="71" y="69"/>
                </a:cubicBezTo>
                <a:cubicBezTo>
                  <a:pt x="67" y="69"/>
                  <a:pt x="65" y="65"/>
                  <a:pt x="60" y="65"/>
                </a:cubicBezTo>
                <a:cubicBezTo>
                  <a:pt x="51" y="65"/>
                  <a:pt x="54" y="58"/>
                  <a:pt x="51" y="50"/>
                </a:cubicBezTo>
                <a:cubicBezTo>
                  <a:pt x="48" y="40"/>
                  <a:pt x="33" y="34"/>
                  <a:pt x="33" y="19"/>
                </a:cubicBezTo>
                <a:cubicBezTo>
                  <a:pt x="33" y="19"/>
                  <a:pt x="33" y="19"/>
                  <a:pt x="33" y="19"/>
                </a:cubicBezTo>
                <a:cubicBezTo>
                  <a:pt x="28" y="19"/>
                  <a:pt x="28" y="19"/>
                  <a:pt x="28" y="19"/>
                </a:cubicBezTo>
                <a:cubicBezTo>
                  <a:pt x="28" y="19"/>
                  <a:pt x="28" y="19"/>
                  <a:pt x="28" y="19"/>
                </a:cubicBezTo>
                <a:cubicBezTo>
                  <a:pt x="26" y="23"/>
                  <a:pt x="26" y="29"/>
                  <a:pt x="21" y="29"/>
                </a:cubicBezTo>
                <a:cubicBezTo>
                  <a:pt x="16" y="29"/>
                  <a:pt x="13" y="24"/>
                  <a:pt x="8" y="24"/>
                </a:cubicBezTo>
                <a:cubicBezTo>
                  <a:pt x="5" y="24"/>
                  <a:pt x="0" y="27"/>
                  <a:pt x="0" y="32"/>
                </a:cubicBezTo>
                <a:cubicBezTo>
                  <a:pt x="0" y="37"/>
                  <a:pt x="5" y="43"/>
                  <a:pt x="10" y="43"/>
                </a:cubicBezTo>
                <a:cubicBezTo>
                  <a:pt x="14" y="43"/>
                  <a:pt x="14" y="40"/>
                  <a:pt x="19" y="39"/>
                </a:cubicBezTo>
                <a:cubicBezTo>
                  <a:pt x="21" y="53"/>
                  <a:pt x="27" y="48"/>
                  <a:pt x="37" y="51"/>
                </a:cubicBezTo>
                <a:cubicBezTo>
                  <a:pt x="40" y="54"/>
                  <a:pt x="39" y="56"/>
                  <a:pt x="40" y="60"/>
                </a:cubicBezTo>
                <a:cubicBezTo>
                  <a:pt x="45" y="71"/>
                  <a:pt x="60" y="74"/>
                  <a:pt x="60" y="86"/>
                </a:cubicBezTo>
                <a:cubicBezTo>
                  <a:pt x="60" y="93"/>
                  <a:pt x="56" y="94"/>
                  <a:pt x="56" y="99"/>
                </a:cubicBezTo>
                <a:cubicBezTo>
                  <a:pt x="56" y="123"/>
                  <a:pt x="82" y="134"/>
                  <a:pt x="82" y="153"/>
                </a:cubicBezTo>
                <a:cubicBezTo>
                  <a:pt x="82" y="157"/>
                  <a:pt x="82" y="158"/>
                  <a:pt x="82" y="162"/>
                </a:cubicBezTo>
                <a:cubicBezTo>
                  <a:pt x="82" y="171"/>
                  <a:pt x="96" y="174"/>
                  <a:pt x="103" y="182"/>
                </a:cubicBezTo>
                <a:cubicBezTo>
                  <a:pt x="107" y="185"/>
                  <a:pt x="105" y="194"/>
                  <a:pt x="108" y="197"/>
                </a:cubicBezTo>
                <a:cubicBezTo>
                  <a:pt x="108" y="197"/>
                  <a:pt x="108" y="197"/>
                  <a:pt x="108" y="197"/>
                </a:cubicBezTo>
                <a:cubicBezTo>
                  <a:pt x="108" y="199"/>
                  <a:pt x="108" y="199"/>
                  <a:pt x="108" y="199"/>
                </a:cubicBezTo>
                <a:cubicBezTo>
                  <a:pt x="108" y="199"/>
                  <a:pt x="108" y="199"/>
                  <a:pt x="108" y="199"/>
                </a:cubicBezTo>
                <a:cubicBezTo>
                  <a:pt x="115" y="198"/>
                  <a:pt x="126" y="195"/>
                  <a:pt x="135" y="184"/>
                </a:cubicBezTo>
                <a:cubicBezTo>
                  <a:pt x="140" y="177"/>
                  <a:pt x="145" y="174"/>
                  <a:pt x="151" y="173"/>
                </a:cubicBezTo>
                <a:cubicBezTo>
                  <a:pt x="149" y="172"/>
                  <a:pt x="134" y="168"/>
                  <a:pt x="134" y="162"/>
                </a:cubicBezTo>
                <a:cubicBezTo>
                  <a:pt x="134" y="151"/>
                  <a:pt x="151" y="153"/>
                  <a:pt x="151" y="142"/>
                </a:cubicBezTo>
                <a:cubicBezTo>
                  <a:pt x="151" y="137"/>
                  <a:pt x="146" y="134"/>
                  <a:pt x="146" y="129"/>
                </a:cubicBezTo>
                <a:cubicBezTo>
                  <a:pt x="146" y="125"/>
                  <a:pt x="147" y="122"/>
                  <a:pt x="151" y="122"/>
                </a:cubicBezTo>
                <a:cubicBezTo>
                  <a:pt x="155" y="122"/>
                  <a:pt x="155" y="125"/>
                  <a:pt x="158" y="125"/>
                </a:cubicBezTo>
                <a:cubicBezTo>
                  <a:pt x="161" y="125"/>
                  <a:pt x="174" y="119"/>
                  <a:pt x="174" y="115"/>
                </a:cubicBezTo>
                <a:cubicBezTo>
                  <a:pt x="174" y="107"/>
                  <a:pt x="171" y="102"/>
                  <a:pt x="171" y="93"/>
                </a:cubicBezTo>
                <a:cubicBezTo>
                  <a:pt x="171" y="90"/>
                  <a:pt x="174" y="87"/>
                  <a:pt x="178" y="82"/>
                </a:cubicBezTo>
                <a:cubicBezTo>
                  <a:pt x="178" y="82"/>
                  <a:pt x="178" y="82"/>
                  <a:pt x="178" y="82"/>
                </a:cubicBezTo>
                <a:cubicBezTo>
                  <a:pt x="178" y="75"/>
                  <a:pt x="178" y="75"/>
                  <a:pt x="178" y="75"/>
                </a:cubicBezTo>
                <a:cubicBezTo>
                  <a:pt x="178" y="75"/>
                  <a:pt x="178" y="75"/>
                  <a:pt x="178" y="75"/>
                </a:cubicBezTo>
                <a:cubicBezTo>
                  <a:pt x="167" y="74"/>
                  <a:pt x="166" y="69"/>
                  <a:pt x="166" y="56"/>
                </a:cubicBezTo>
                <a:cubicBezTo>
                  <a:pt x="166" y="34"/>
                  <a:pt x="158" y="29"/>
                  <a:pt x="156" y="12"/>
                </a:cubicBezTo>
                <a:cubicBezTo>
                  <a:pt x="153" y="13"/>
                  <a:pt x="150" y="16"/>
                  <a:pt x="147" y="16"/>
                </a:cubicBezTo>
                <a:cubicBezTo>
                  <a:pt x="141" y="16"/>
                  <a:pt x="140" y="3"/>
                  <a:pt x="137" y="0"/>
                </a:cubicBezTo>
                <a:cubicBezTo>
                  <a:pt x="135" y="1"/>
                  <a:pt x="134" y="14"/>
                  <a:pt x="129" y="14"/>
                </a:cubicBezTo>
                <a:cubicBezTo>
                  <a:pt x="123" y="14"/>
                  <a:pt x="120" y="10"/>
                  <a:pt x="112" y="10"/>
                </a:cubicBezTo>
                <a:cubicBezTo>
                  <a:pt x="105" y="10"/>
                  <a:pt x="103" y="13"/>
                  <a:pt x="97" y="13"/>
                </a:cubicBezTo>
                <a:cubicBezTo>
                  <a:pt x="97" y="13"/>
                  <a:pt x="97" y="13"/>
                  <a:pt x="97" y="13"/>
                </a:cubicBezTo>
                <a:cubicBezTo>
                  <a:pt x="98" y="18"/>
                  <a:pt x="98" y="18"/>
                  <a:pt x="98" y="18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5" name="Freeform 97"/>
          <p:cNvSpPr>
            <a:spLocks/>
          </p:cNvSpPr>
          <p:nvPr/>
        </p:nvSpPr>
        <p:spPr bwMode="auto">
          <a:xfrm>
            <a:off x="4667945" y="5717626"/>
            <a:ext cx="512305" cy="954623"/>
          </a:xfrm>
          <a:custGeom>
            <a:avLst/>
            <a:gdLst>
              <a:gd name="T0" fmla="*/ 111 w 113"/>
              <a:gd name="T1" fmla="*/ 37 h 210"/>
              <a:gd name="T2" fmla="*/ 101 w 113"/>
              <a:gd name="T3" fmla="*/ 42 h 210"/>
              <a:gd name="T4" fmla="*/ 104 w 113"/>
              <a:gd name="T5" fmla="*/ 75 h 210"/>
              <a:gd name="T6" fmla="*/ 85 w 113"/>
              <a:gd name="T7" fmla="*/ 111 h 210"/>
              <a:gd name="T8" fmla="*/ 78 w 113"/>
              <a:gd name="T9" fmla="*/ 170 h 210"/>
              <a:gd name="T10" fmla="*/ 80 w 113"/>
              <a:gd name="T11" fmla="*/ 202 h 210"/>
              <a:gd name="T12" fmla="*/ 68 w 113"/>
              <a:gd name="T13" fmla="*/ 204 h 210"/>
              <a:gd name="T14" fmla="*/ 52 w 113"/>
              <a:gd name="T15" fmla="*/ 204 h 210"/>
              <a:gd name="T16" fmla="*/ 37 w 113"/>
              <a:gd name="T17" fmla="*/ 210 h 210"/>
              <a:gd name="T18" fmla="*/ 24 w 113"/>
              <a:gd name="T19" fmla="*/ 197 h 210"/>
              <a:gd name="T20" fmla="*/ 24 w 113"/>
              <a:gd name="T21" fmla="*/ 197 h 210"/>
              <a:gd name="T22" fmla="*/ 24 w 113"/>
              <a:gd name="T23" fmla="*/ 170 h 210"/>
              <a:gd name="T24" fmla="*/ 24 w 113"/>
              <a:gd name="T25" fmla="*/ 170 h 210"/>
              <a:gd name="T26" fmla="*/ 14 w 113"/>
              <a:gd name="T27" fmla="*/ 143 h 210"/>
              <a:gd name="T28" fmla="*/ 0 w 113"/>
              <a:gd name="T29" fmla="*/ 123 h 210"/>
              <a:gd name="T30" fmla="*/ 31 w 113"/>
              <a:gd name="T31" fmla="*/ 101 h 210"/>
              <a:gd name="T32" fmla="*/ 42 w 113"/>
              <a:gd name="T33" fmla="*/ 105 h 210"/>
              <a:gd name="T34" fmla="*/ 56 w 113"/>
              <a:gd name="T35" fmla="*/ 83 h 210"/>
              <a:gd name="T36" fmla="*/ 68 w 113"/>
              <a:gd name="T37" fmla="*/ 70 h 210"/>
              <a:gd name="T38" fmla="*/ 76 w 113"/>
              <a:gd name="T39" fmla="*/ 60 h 210"/>
              <a:gd name="T40" fmla="*/ 49 w 113"/>
              <a:gd name="T41" fmla="*/ 38 h 210"/>
              <a:gd name="T42" fmla="*/ 49 w 113"/>
              <a:gd name="T43" fmla="*/ 22 h 210"/>
              <a:gd name="T44" fmla="*/ 57 w 113"/>
              <a:gd name="T45" fmla="*/ 17 h 210"/>
              <a:gd name="T46" fmla="*/ 57 w 113"/>
              <a:gd name="T47" fmla="*/ 17 h 210"/>
              <a:gd name="T48" fmla="*/ 51 w 113"/>
              <a:gd name="T49" fmla="*/ 6 h 210"/>
              <a:gd name="T50" fmla="*/ 51 w 113"/>
              <a:gd name="T51" fmla="*/ 6 h 210"/>
              <a:gd name="T52" fmla="*/ 85 w 113"/>
              <a:gd name="T53" fmla="*/ 0 h 210"/>
              <a:gd name="T54" fmla="*/ 106 w 113"/>
              <a:gd name="T55" fmla="*/ 20 h 210"/>
              <a:gd name="T56" fmla="*/ 111 w 113"/>
              <a:gd name="T57" fmla="*/ 35 h 210"/>
              <a:gd name="T58" fmla="*/ 111 w 113"/>
              <a:gd name="T59" fmla="*/ 35 h 210"/>
              <a:gd name="T60" fmla="*/ 111 w 113"/>
              <a:gd name="T61" fmla="*/ 37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3" h="210">
                <a:moveTo>
                  <a:pt x="111" y="37"/>
                </a:moveTo>
                <a:cubicBezTo>
                  <a:pt x="106" y="38"/>
                  <a:pt x="102" y="38"/>
                  <a:pt x="101" y="42"/>
                </a:cubicBezTo>
                <a:cubicBezTo>
                  <a:pt x="94" y="54"/>
                  <a:pt x="95" y="63"/>
                  <a:pt x="104" y="75"/>
                </a:cubicBezTo>
                <a:cubicBezTo>
                  <a:pt x="113" y="90"/>
                  <a:pt x="88" y="103"/>
                  <a:pt x="85" y="111"/>
                </a:cubicBezTo>
                <a:cubicBezTo>
                  <a:pt x="64" y="130"/>
                  <a:pt x="83" y="149"/>
                  <a:pt x="78" y="170"/>
                </a:cubicBezTo>
                <a:cubicBezTo>
                  <a:pt x="80" y="182"/>
                  <a:pt x="81" y="192"/>
                  <a:pt x="80" y="202"/>
                </a:cubicBezTo>
                <a:cubicBezTo>
                  <a:pt x="76" y="206"/>
                  <a:pt x="73" y="204"/>
                  <a:pt x="68" y="204"/>
                </a:cubicBezTo>
                <a:cubicBezTo>
                  <a:pt x="62" y="204"/>
                  <a:pt x="59" y="204"/>
                  <a:pt x="52" y="204"/>
                </a:cubicBezTo>
                <a:cubicBezTo>
                  <a:pt x="46" y="204"/>
                  <a:pt x="45" y="210"/>
                  <a:pt x="37" y="210"/>
                </a:cubicBezTo>
                <a:cubicBezTo>
                  <a:pt x="31" y="210"/>
                  <a:pt x="25" y="202"/>
                  <a:pt x="24" y="197"/>
                </a:cubicBezTo>
                <a:cubicBezTo>
                  <a:pt x="24" y="197"/>
                  <a:pt x="24" y="197"/>
                  <a:pt x="24" y="197"/>
                </a:cubicBezTo>
                <a:cubicBezTo>
                  <a:pt x="24" y="170"/>
                  <a:pt x="24" y="170"/>
                  <a:pt x="24" y="170"/>
                </a:cubicBezTo>
                <a:cubicBezTo>
                  <a:pt x="24" y="170"/>
                  <a:pt x="24" y="170"/>
                  <a:pt x="24" y="170"/>
                </a:cubicBezTo>
                <a:cubicBezTo>
                  <a:pt x="17" y="162"/>
                  <a:pt x="17" y="153"/>
                  <a:pt x="14" y="143"/>
                </a:cubicBezTo>
                <a:cubicBezTo>
                  <a:pt x="13" y="134"/>
                  <a:pt x="0" y="137"/>
                  <a:pt x="0" y="123"/>
                </a:cubicBezTo>
                <a:cubicBezTo>
                  <a:pt x="0" y="108"/>
                  <a:pt x="15" y="101"/>
                  <a:pt x="31" y="101"/>
                </a:cubicBezTo>
                <a:cubicBezTo>
                  <a:pt x="35" y="101"/>
                  <a:pt x="38" y="105"/>
                  <a:pt x="42" y="105"/>
                </a:cubicBezTo>
                <a:cubicBezTo>
                  <a:pt x="53" y="105"/>
                  <a:pt x="52" y="94"/>
                  <a:pt x="56" y="83"/>
                </a:cubicBezTo>
                <a:cubicBezTo>
                  <a:pt x="56" y="83"/>
                  <a:pt x="67" y="71"/>
                  <a:pt x="68" y="70"/>
                </a:cubicBezTo>
                <a:cubicBezTo>
                  <a:pt x="69" y="69"/>
                  <a:pt x="83" y="60"/>
                  <a:pt x="76" y="60"/>
                </a:cubicBezTo>
                <a:cubicBezTo>
                  <a:pt x="61" y="58"/>
                  <a:pt x="57" y="53"/>
                  <a:pt x="49" y="38"/>
                </a:cubicBezTo>
                <a:cubicBezTo>
                  <a:pt x="46" y="30"/>
                  <a:pt x="49" y="32"/>
                  <a:pt x="49" y="22"/>
                </a:cubicBezTo>
                <a:cubicBezTo>
                  <a:pt x="49" y="19"/>
                  <a:pt x="53" y="19"/>
                  <a:pt x="57" y="17"/>
                </a:cubicBezTo>
                <a:cubicBezTo>
                  <a:pt x="57" y="17"/>
                  <a:pt x="57" y="17"/>
                  <a:pt x="57" y="17"/>
                </a:cubicBezTo>
                <a:cubicBezTo>
                  <a:pt x="51" y="6"/>
                  <a:pt x="51" y="6"/>
                  <a:pt x="51" y="6"/>
                </a:cubicBezTo>
                <a:cubicBezTo>
                  <a:pt x="51" y="6"/>
                  <a:pt x="51" y="6"/>
                  <a:pt x="51" y="6"/>
                </a:cubicBezTo>
                <a:cubicBezTo>
                  <a:pt x="65" y="6"/>
                  <a:pt x="76" y="6"/>
                  <a:pt x="85" y="0"/>
                </a:cubicBezTo>
                <a:cubicBezTo>
                  <a:pt x="85" y="9"/>
                  <a:pt x="99" y="12"/>
                  <a:pt x="106" y="20"/>
                </a:cubicBezTo>
                <a:cubicBezTo>
                  <a:pt x="110" y="23"/>
                  <a:pt x="108" y="32"/>
                  <a:pt x="111" y="35"/>
                </a:cubicBezTo>
                <a:cubicBezTo>
                  <a:pt x="111" y="35"/>
                  <a:pt x="111" y="35"/>
                  <a:pt x="111" y="35"/>
                </a:cubicBezTo>
                <a:cubicBezTo>
                  <a:pt x="111" y="37"/>
                  <a:pt x="111" y="37"/>
                  <a:pt x="111" y="37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6" name="Freeform 98"/>
          <p:cNvSpPr>
            <a:spLocks/>
          </p:cNvSpPr>
          <p:nvPr/>
        </p:nvSpPr>
        <p:spPr bwMode="auto">
          <a:xfrm>
            <a:off x="4609155" y="5857598"/>
            <a:ext cx="433919" cy="341537"/>
          </a:xfrm>
          <a:custGeom>
            <a:avLst/>
            <a:gdLst>
              <a:gd name="T0" fmla="*/ 60 w 96"/>
              <a:gd name="T1" fmla="*/ 5 h 75"/>
              <a:gd name="T2" fmla="*/ 54 w 96"/>
              <a:gd name="T3" fmla="*/ 5 h 75"/>
              <a:gd name="T4" fmla="*/ 45 w 96"/>
              <a:gd name="T5" fmla="*/ 0 h 75"/>
              <a:gd name="T6" fmla="*/ 13 w 96"/>
              <a:gd name="T7" fmla="*/ 12 h 75"/>
              <a:gd name="T8" fmla="*/ 16 w 96"/>
              <a:gd name="T9" fmla="*/ 24 h 75"/>
              <a:gd name="T10" fmla="*/ 10 w 96"/>
              <a:gd name="T11" fmla="*/ 37 h 75"/>
              <a:gd name="T12" fmla="*/ 2 w 96"/>
              <a:gd name="T13" fmla="*/ 32 h 75"/>
              <a:gd name="T14" fmla="*/ 1 w 96"/>
              <a:gd name="T15" fmla="*/ 39 h 75"/>
              <a:gd name="T16" fmla="*/ 18 w 96"/>
              <a:gd name="T17" fmla="*/ 54 h 75"/>
              <a:gd name="T18" fmla="*/ 26 w 96"/>
              <a:gd name="T19" fmla="*/ 75 h 75"/>
              <a:gd name="T20" fmla="*/ 26 w 96"/>
              <a:gd name="T21" fmla="*/ 75 h 75"/>
              <a:gd name="T22" fmla="*/ 27 w 96"/>
              <a:gd name="T23" fmla="*/ 75 h 75"/>
              <a:gd name="T24" fmla="*/ 27 w 96"/>
              <a:gd name="T25" fmla="*/ 75 h 75"/>
              <a:gd name="T26" fmla="*/ 44 w 96"/>
              <a:gd name="T27" fmla="*/ 70 h 75"/>
              <a:gd name="T28" fmla="*/ 55 w 96"/>
              <a:gd name="T29" fmla="*/ 74 h 75"/>
              <a:gd name="T30" fmla="*/ 69 w 96"/>
              <a:gd name="T31" fmla="*/ 52 h 75"/>
              <a:gd name="T32" fmla="*/ 81 w 96"/>
              <a:gd name="T33" fmla="*/ 39 h 75"/>
              <a:gd name="T34" fmla="*/ 89 w 96"/>
              <a:gd name="T35" fmla="*/ 29 h 75"/>
              <a:gd name="T36" fmla="*/ 62 w 96"/>
              <a:gd name="T37" fmla="*/ 7 h 75"/>
              <a:gd name="T38" fmla="*/ 62 w 96"/>
              <a:gd name="T39" fmla="*/ 7 h 75"/>
              <a:gd name="T40" fmla="*/ 60 w 96"/>
              <a:gd name="T41" fmla="*/ 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75">
                <a:moveTo>
                  <a:pt x="60" y="5"/>
                </a:moveTo>
                <a:cubicBezTo>
                  <a:pt x="59" y="5"/>
                  <a:pt x="56" y="5"/>
                  <a:pt x="54" y="5"/>
                </a:cubicBezTo>
                <a:cubicBezTo>
                  <a:pt x="51" y="5"/>
                  <a:pt x="50" y="0"/>
                  <a:pt x="45" y="0"/>
                </a:cubicBezTo>
                <a:cubicBezTo>
                  <a:pt x="40" y="0"/>
                  <a:pt x="13" y="4"/>
                  <a:pt x="13" y="12"/>
                </a:cubicBezTo>
                <a:cubicBezTo>
                  <a:pt x="13" y="16"/>
                  <a:pt x="16" y="20"/>
                  <a:pt x="16" y="24"/>
                </a:cubicBezTo>
                <a:cubicBezTo>
                  <a:pt x="16" y="32"/>
                  <a:pt x="14" y="37"/>
                  <a:pt x="10" y="37"/>
                </a:cubicBezTo>
                <a:cubicBezTo>
                  <a:pt x="6" y="37"/>
                  <a:pt x="3" y="34"/>
                  <a:pt x="2" y="32"/>
                </a:cubicBezTo>
                <a:cubicBezTo>
                  <a:pt x="0" y="37"/>
                  <a:pt x="1" y="34"/>
                  <a:pt x="1" y="39"/>
                </a:cubicBezTo>
                <a:cubicBezTo>
                  <a:pt x="1" y="47"/>
                  <a:pt x="12" y="45"/>
                  <a:pt x="18" y="54"/>
                </a:cubicBezTo>
                <a:cubicBezTo>
                  <a:pt x="22" y="59"/>
                  <a:pt x="21" y="69"/>
                  <a:pt x="26" y="75"/>
                </a:cubicBezTo>
                <a:cubicBezTo>
                  <a:pt x="26" y="75"/>
                  <a:pt x="26" y="75"/>
                  <a:pt x="26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32" y="71"/>
                  <a:pt x="37" y="70"/>
                  <a:pt x="44" y="70"/>
                </a:cubicBezTo>
                <a:cubicBezTo>
                  <a:pt x="48" y="70"/>
                  <a:pt x="51" y="74"/>
                  <a:pt x="55" y="74"/>
                </a:cubicBezTo>
                <a:cubicBezTo>
                  <a:pt x="66" y="74"/>
                  <a:pt x="65" y="63"/>
                  <a:pt x="69" y="52"/>
                </a:cubicBezTo>
                <a:cubicBezTo>
                  <a:pt x="69" y="52"/>
                  <a:pt x="80" y="40"/>
                  <a:pt x="81" y="39"/>
                </a:cubicBezTo>
                <a:cubicBezTo>
                  <a:pt x="82" y="38"/>
                  <a:pt x="96" y="29"/>
                  <a:pt x="89" y="29"/>
                </a:cubicBezTo>
                <a:cubicBezTo>
                  <a:pt x="74" y="27"/>
                  <a:pt x="70" y="22"/>
                  <a:pt x="62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0" y="5"/>
                  <a:pt x="60" y="5"/>
                  <a:pt x="60" y="5"/>
                </a:cubicBezTo>
                <a:close/>
              </a:path>
            </a:pathLst>
          </a:custGeom>
          <a:solidFill>
            <a:srgbClr val="B4B4B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7" name="Freeform 99"/>
          <p:cNvSpPr>
            <a:spLocks/>
          </p:cNvSpPr>
          <p:nvPr/>
        </p:nvSpPr>
        <p:spPr bwMode="auto">
          <a:xfrm>
            <a:off x="4194831" y="5395684"/>
            <a:ext cx="330338" cy="305142"/>
          </a:xfrm>
          <a:custGeom>
            <a:avLst/>
            <a:gdLst>
              <a:gd name="T0" fmla="*/ 57 w 73"/>
              <a:gd name="T1" fmla="*/ 2 h 67"/>
              <a:gd name="T2" fmla="*/ 41 w 73"/>
              <a:gd name="T3" fmla="*/ 13 h 67"/>
              <a:gd name="T4" fmla="*/ 23 w 73"/>
              <a:gd name="T5" fmla="*/ 0 h 67"/>
              <a:gd name="T6" fmla="*/ 0 w 73"/>
              <a:gd name="T7" fmla="*/ 17 h 67"/>
              <a:gd name="T8" fmla="*/ 37 w 73"/>
              <a:gd name="T9" fmla="*/ 67 h 67"/>
              <a:gd name="T10" fmla="*/ 65 w 73"/>
              <a:gd name="T11" fmla="*/ 54 h 67"/>
              <a:gd name="T12" fmla="*/ 67 w 73"/>
              <a:gd name="T13" fmla="*/ 54 h 67"/>
              <a:gd name="T14" fmla="*/ 64 w 73"/>
              <a:gd name="T15" fmla="*/ 34 h 67"/>
              <a:gd name="T16" fmla="*/ 73 w 73"/>
              <a:gd name="T17" fmla="*/ 23 h 67"/>
              <a:gd name="T18" fmla="*/ 57 w 73"/>
              <a:gd name="T19" fmla="*/ 0 h 67"/>
              <a:gd name="T20" fmla="*/ 57 w 73"/>
              <a:gd name="T21" fmla="*/ 0 h 67"/>
              <a:gd name="T22" fmla="*/ 57 w 73"/>
              <a:gd name="T23" fmla="*/ 2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3" h="67">
                <a:moveTo>
                  <a:pt x="57" y="2"/>
                </a:moveTo>
                <a:cubicBezTo>
                  <a:pt x="54" y="11"/>
                  <a:pt x="50" y="13"/>
                  <a:pt x="41" y="13"/>
                </a:cubicBezTo>
                <a:cubicBezTo>
                  <a:pt x="29" y="13"/>
                  <a:pt x="37" y="0"/>
                  <a:pt x="23" y="0"/>
                </a:cubicBezTo>
                <a:cubicBezTo>
                  <a:pt x="14" y="0"/>
                  <a:pt x="0" y="7"/>
                  <a:pt x="0" y="17"/>
                </a:cubicBezTo>
                <a:cubicBezTo>
                  <a:pt x="0" y="34"/>
                  <a:pt x="24" y="61"/>
                  <a:pt x="37" y="67"/>
                </a:cubicBezTo>
                <a:cubicBezTo>
                  <a:pt x="37" y="61"/>
                  <a:pt x="55" y="54"/>
                  <a:pt x="65" y="54"/>
                </a:cubicBezTo>
                <a:cubicBezTo>
                  <a:pt x="65" y="54"/>
                  <a:pt x="66" y="54"/>
                  <a:pt x="67" y="54"/>
                </a:cubicBezTo>
                <a:cubicBezTo>
                  <a:pt x="69" y="45"/>
                  <a:pt x="64" y="40"/>
                  <a:pt x="64" y="34"/>
                </a:cubicBezTo>
                <a:cubicBezTo>
                  <a:pt x="64" y="27"/>
                  <a:pt x="73" y="31"/>
                  <a:pt x="73" y="23"/>
                </a:cubicBezTo>
                <a:cubicBezTo>
                  <a:pt x="73" y="12"/>
                  <a:pt x="57" y="11"/>
                  <a:pt x="57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7" y="2"/>
                  <a:pt x="57" y="2"/>
                  <a:pt x="57" y="2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8" name="Freeform 100"/>
          <p:cNvSpPr>
            <a:spLocks/>
          </p:cNvSpPr>
          <p:nvPr/>
        </p:nvSpPr>
        <p:spPr bwMode="auto">
          <a:xfrm>
            <a:off x="4354402" y="5642038"/>
            <a:ext cx="372331" cy="240755"/>
          </a:xfrm>
          <a:custGeom>
            <a:avLst/>
            <a:gdLst>
              <a:gd name="T0" fmla="*/ 77 w 82"/>
              <a:gd name="T1" fmla="*/ 34 h 53"/>
              <a:gd name="T2" fmla="*/ 82 w 82"/>
              <a:gd name="T3" fmla="*/ 28 h 53"/>
              <a:gd name="T4" fmla="*/ 68 w 82"/>
              <a:gd name="T5" fmla="*/ 17 h 53"/>
              <a:gd name="T6" fmla="*/ 30 w 82"/>
              <a:gd name="T7" fmla="*/ 0 h 53"/>
              <a:gd name="T8" fmla="*/ 0 w 82"/>
              <a:gd name="T9" fmla="*/ 13 h 53"/>
              <a:gd name="T10" fmla="*/ 6 w 82"/>
              <a:gd name="T11" fmla="*/ 20 h 53"/>
              <a:gd name="T12" fmla="*/ 22 w 82"/>
              <a:gd name="T13" fmla="*/ 53 h 53"/>
              <a:gd name="T14" fmla="*/ 45 w 82"/>
              <a:gd name="T15" fmla="*/ 47 h 53"/>
              <a:gd name="T16" fmla="*/ 51 w 82"/>
              <a:gd name="T17" fmla="*/ 50 h 53"/>
              <a:gd name="T18" fmla="*/ 57 w 82"/>
              <a:gd name="T19" fmla="*/ 47 h 53"/>
              <a:gd name="T20" fmla="*/ 64 w 82"/>
              <a:gd name="T21" fmla="*/ 50 h 53"/>
              <a:gd name="T22" fmla="*/ 78 w 82"/>
              <a:gd name="T23" fmla="*/ 37 h 53"/>
              <a:gd name="T24" fmla="*/ 78 w 82"/>
              <a:gd name="T25" fmla="*/ 37 h 53"/>
              <a:gd name="T26" fmla="*/ 77 w 82"/>
              <a:gd name="T27" fmla="*/ 34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53">
                <a:moveTo>
                  <a:pt x="77" y="34"/>
                </a:moveTo>
                <a:cubicBezTo>
                  <a:pt x="79" y="31"/>
                  <a:pt x="80" y="31"/>
                  <a:pt x="82" y="28"/>
                </a:cubicBezTo>
                <a:cubicBezTo>
                  <a:pt x="77" y="24"/>
                  <a:pt x="72" y="22"/>
                  <a:pt x="68" y="17"/>
                </a:cubicBezTo>
                <a:cubicBezTo>
                  <a:pt x="54" y="26"/>
                  <a:pt x="48" y="0"/>
                  <a:pt x="30" y="0"/>
                </a:cubicBezTo>
                <a:cubicBezTo>
                  <a:pt x="20" y="0"/>
                  <a:pt x="0" y="7"/>
                  <a:pt x="0" y="13"/>
                </a:cubicBezTo>
                <a:cubicBezTo>
                  <a:pt x="0" y="16"/>
                  <a:pt x="6" y="20"/>
                  <a:pt x="6" y="20"/>
                </a:cubicBezTo>
                <a:cubicBezTo>
                  <a:pt x="10" y="24"/>
                  <a:pt x="16" y="50"/>
                  <a:pt x="22" y="53"/>
                </a:cubicBezTo>
                <a:cubicBezTo>
                  <a:pt x="22" y="49"/>
                  <a:pt x="38" y="47"/>
                  <a:pt x="45" y="47"/>
                </a:cubicBezTo>
                <a:cubicBezTo>
                  <a:pt x="47" y="47"/>
                  <a:pt x="48" y="50"/>
                  <a:pt x="51" y="50"/>
                </a:cubicBezTo>
                <a:cubicBezTo>
                  <a:pt x="53" y="50"/>
                  <a:pt x="56" y="48"/>
                  <a:pt x="57" y="47"/>
                </a:cubicBezTo>
                <a:cubicBezTo>
                  <a:pt x="59" y="49"/>
                  <a:pt x="59" y="50"/>
                  <a:pt x="64" y="50"/>
                </a:cubicBezTo>
                <a:cubicBezTo>
                  <a:pt x="73" y="50"/>
                  <a:pt x="72" y="37"/>
                  <a:pt x="78" y="37"/>
                </a:cubicBezTo>
                <a:cubicBezTo>
                  <a:pt x="78" y="37"/>
                  <a:pt x="78" y="37"/>
                  <a:pt x="78" y="37"/>
                </a:cubicBezTo>
                <a:cubicBezTo>
                  <a:pt x="77" y="34"/>
                  <a:pt x="77" y="34"/>
                  <a:pt x="77" y="34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9" name="Freeform 101"/>
          <p:cNvSpPr>
            <a:spLocks/>
          </p:cNvSpPr>
          <p:nvPr/>
        </p:nvSpPr>
        <p:spPr bwMode="auto">
          <a:xfrm>
            <a:off x="4452386" y="5810009"/>
            <a:ext cx="313541" cy="215560"/>
          </a:xfrm>
          <a:custGeom>
            <a:avLst/>
            <a:gdLst>
              <a:gd name="T0" fmla="*/ 37 w 69"/>
              <a:gd name="T1" fmla="*/ 44 h 48"/>
              <a:gd name="T2" fmla="*/ 44 w 69"/>
              <a:gd name="T3" fmla="*/ 48 h 48"/>
              <a:gd name="T4" fmla="*/ 50 w 69"/>
              <a:gd name="T5" fmla="*/ 35 h 48"/>
              <a:gd name="T6" fmla="*/ 47 w 69"/>
              <a:gd name="T7" fmla="*/ 23 h 48"/>
              <a:gd name="T8" fmla="*/ 69 w 69"/>
              <a:gd name="T9" fmla="*/ 12 h 48"/>
              <a:gd name="T10" fmla="*/ 56 w 69"/>
              <a:gd name="T11" fmla="*/ 0 h 48"/>
              <a:gd name="T12" fmla="*/ 42 w 69"/>
              <a:gd name="T13" fmla="*/ 13 h 48"/>
              <a:gd name="T14" fmla="*/ 35 w 69"/>
              <a:gd name="T15" fmla="*/ 10 h 48"/>
              <a:gd name="T16" fmla="*/ 29 w 69"/>
              <a:gd name="T17" fmla="*/ 13 h 48"/>
              <a:gd name="T18" fmla="*/ 23 w 69"/>
              <a:gd name="T19" fmla="*/ 10 h 48"/>
              <a:gd name="T20" fmla="*/ 0 w 69"/>
              <a:gd name="T21" fmla="*/ 16 h 48"/>
              <a:gd name="T22" fmla="*/ 8 w 69"/>
              <a:gd name="T23" fmla="*/ 29 h 48"/>
              <a:gd name="T24" fmla="*/ 4 w 69"/>
              <a:gd name="T25" fmla="*/ 35 h 48"/>
              <a:gd name="T26" fmla="*/ 35 w 69"/>
              <a:gd name="T27" fmla="*/ 45 h 48"/>
              <a:gd name="T28" fmla="*/ 35 w 69"/>
              <a:gd name="T29" fmla="*/ 45 h 48"/>
              <a:gd name="T30" fmla="*/ 37 w 69"/>
              <a:gd name="T31" fmla="*/ 4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9" h="48">
                <a:moveTo>
                  <a:pt x="37" y="44"/>
                </a:moveTo>
                <a:cubicBezTo>
                  <a:pt x="39" y="45"/>
                  <a:pt x="41" y="48"/>
                  <a:pt x="44" y="48"/>
                </a:cubicBezTo>
                <a:cubicBezTo>
                  <a:pt x="48" y="48"/>
                  <a:pt x="50" y="43"/>
                  <a:pt x="50" y="35"/>
                </a:cubicBezTo>
                <a:cubicBezTo>
                  <a:pt x="50" y="31"/>
                  <a:pt x="47" y="27"/>
                  <a:pt x="47" y="23"/>
                </a:cubicBezTo>
                <a:cubicBezTo>
                  <a:pt x="47" y="17"/>
                  <a:pt x="60" y="13"/>
                  <a:pt x="69" y="12"/>
                </a:cubicBezTo>
                <a:cubicBezTo>
                  <a:pt x="67" y="5"/>
                  <a:pt x="63" y="0"/>
                  <a:pt x="56" y="0"/>
                </a:cubicBezTo>
                <a:cubicBezTo>
                  <a:pt x="50" y="0"/>
                  <a:pt x="51" y="13"/>
                  <a:pt x="42" y="13"/>
                </a:cubicBezTo>
                <a:cubicBezTo>
                  <a:pt x="37" y="13"/>
                  <a:pt x="37" y="12"/>
                  <a:pt x="35" y="10"/>
                </a:cubicBezTo>
                <a:cubicBezTo>
                  <a:pt x="34" y="11"/>
                  <a:pt x="31" y="13"/>
                  <a:pt x="29" y="13"/>
                </a:cubicBezTo>
                <a:cubicBezTo>
                  <a:pt x="26" y="13"/>
                  <a:pt x="25" y="10"/>
                  <a:pt x="23" y="10"/>
                </a:cubicBezTo>
                <a:cubicBezTo>
                  <a:pt x="16" y="10"/>
                  <a:pt x="0" y="12"/>
                  <a:pt x="0" y="16"/>
                </a:cubicBezTo>
                <a:cubicBezTo>
                  <a:pt x="0" y="22"/>
                  <a:pt x="8" y="24"/>
                  <a:pt x="8" y="29"/>
                </a:cubicBezTo>
                <a:cubicBezTo>
                  <a:pt x="8" y="32"/>
                  <a:pt x="4" y="33"/>
                  <a:pt x="4" y="35"/>
                </a:cubicBezTo>
                <a:cubicBezTo>
                  <a:pt x="4" y="45"/>
                  <a:pt x="26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7" y="44"/>
                  <a:pt x="37" y="44"/>
                  <a:pt x="37" y="44"/>
                </a:cubicBezTo>
                <a:close/>
              </a:path>
            </a:pathLst>
          </a:custGeom>
          <a:solidFill>
            <a:srgbClr val="BEBEBE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0" name="Freeform 102"/>
          <p:cNvSpPr>
            <a:spLocks/>
          </p:cNvSpPr>
          <p:nvPr/>
        </p:nvSpPr>
        <p:spPr bwMode="auto">
          <a:xfrm>
            <a:off x="7106290" y="3632015"/>
            <a:ext cx="503907" cy="610286"/>
          </a:xfrm>
          <a:custGeom>
            <a:avLst/>
            <a:gdLst>
              <a:gd name="T0" fmla="*/ 51 w 111"/>
              <a:gd name="T1" fmla="*/ 132 h 135"/>
              <a:gd name="T2" fmla="*/ 83 w 111"/>
              <a:gd name="T3" fmla="*/ 119 h 135"/>
              <a:gd name="T4" fmla="*/ 75 w 111"/>
              <a:gd name="T5" fmla="*/ 108 h 135"/>
              <a:gd name="T6" fmla="*/ 93 w 111"/>
              <a:gd name="T7" fmla="*/ 95 h 135"/>
              <a:gd name="T8" fmla="*/ 99 w 111"/>
              <a:gd name="T9" fmla="*/ 73 h 135"/>
              <a:gd name="T10" fmla="*/ 111 w 111"/>
              <a:gd name="T11" fmla="*/ 25 h 135"/>
              <a:gd name="T12" fmla="*/ 70 w 111"/>
              <a:gd name="T13" fmla="*/ 0 h 135"/>
              <a:gd name="T14" fmla="*/ 40 w 111"/>
              <a:gd name="T15" fmla="*/ 36 h 135"/>
              <a:gd name="T16" fmla="*/ 32 w 111"/>
              <a:gd name="T17" fmla="*/ 31 h 135"/>
              <a:gd name="T18" fmla="*/ 22 w 111"/>
              <a:gd name="T19" fmla="*/ 36 h 135"/>
              <a:gd name="T20" fmla="*/ 18 w 111"/>
              <a:gd name="T21" fmla="*/ 58 h 135"/>
              <a:gd name="T22" fmla="*/ 2 w 111"/>
              <a:gd name="T23" fmla="*/ 81 h 135"/>
              <a:gd name="T24" fmla="*/ 2 w 111"/>
              <a:gd name="T25" fmla="*/ 96 h 135"/>
              <a:gd name="T26" fmla="*/ 0 w 111"/>
              <a:gd name="T27" fmla="*/ 100 h 135"/>
              <a:gd name="T28" fmla="*/ 16 w 111"/>
              <a:gd name="T29" fmla="*/ 111 h 135"/>
              <a:gd name="T30" fmla="*/ 35 w 111"/>
              <a:gd name="T31" fmla="*/ 111 h 135"/>
              <a:gd name="T32" fmla="*/ 33 w 111"/>
              <a:gd name="T33" fmla="*/ 103 h 135"/>
              <a:gd name="T34" fmla="*/ 40 w 111"/>
              <a:gd name="T35" fmla="*/ 98 h 135"/>
              <a:gd name="T36" fmla="*/ 40 w 111"/>
              <a:gd name="T37" fmla="*/ 98 h 135"/>
              <a:gd name="T38" fmla="*/ 48 w 111"/>
              <a:gd name="T39" fmla="*/ 98 h 135"/>
              <a:gd name="T40" fmla="*/ 48 w 111"/>
              <a:gd name="T41" fmla="*/ 106 h 135"/>
              <a:gd name="T42" fmla="*/ 48 w 111"/>
              <a:gd name="T43" fmla="*/ 106 h 135"/>
              <a:gd name="T44" fmla="*/ 42 w 111"/>
              <a:gd name="T45" fmla="*/ 117 h 135"/>
              <a:gd name="T46" fmla="*/ 42 w 111"/>
              <a:gd name="T47" fmla="*/ 117 h 135"/>
              <a:gd name="T48" fmla="*/ 53 w 111"/>
              <a:gd name="T49" fmla="*/ 117 h 135"/>
              <a:gd name="T50" fmla="*/ 53 w 111"/>
              <a:gd name="T51" fmla="*/ 117 h 135"/>
              <a:gd name="T52" fmla="*/ 42 w 111"/>
              <a:gd name="T53" fmla="*/ 127 h 135"/>
              <a:gd name="T54" fmla="*/ 42 w 111"/>
              <a:gd name="T55" fmla="*/ 127 h 135"/>
              <a:gd name="T56" fmla="*/ 42 w 111"/>
              <a:gd name="T57" fmla="*/ 132 h 135"/>
              <a:gd name="T58" fmla="*/ 42 w 111"/>
              <a:gd name="T59" fmla="*/ 132 h 135"/>
              <a:gd name="T60" fmla="*/ 50 w 111"/>
              <a:gd name="T61" fmla="*/ 132 h 135"/>
              <a:gd name="T62" fmla="*/ 50 w 111"/>
              <a:gd name="T63" fmla="*/ 132 h 135"/>
              <a:gd name="T64" fmla="*/ 51 w 111"/>
              <a:gd name="T65" fmla="*/ 132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1" h="135">
                <a:moveTo>
                  <a:pt x="51" y="132"/>
                </a:moveTo>
                <a:cubicBezTo>
                  <a:pt x="65" y="135"/>
                  <a:pt x="75" y="126"/>
                  <a:pt x="83" y="119"/>
                </a:cubicBezTo>
                <a:cubicBezTo>
                  <a:pt x="79" y="118"/>
                  <a:pt x="75" y="116"/>
                  <a:pt x="75" y="108"/>
                </a:cubicBezTo>
                <a:cubicBezTo>
                  <a:pt x="75" y="100"/>
                  <a:pt x="87" y="98"/>
                  <a:pt x="93" y="95"/>
                </a:cubicBezTo>
                <a:cubicBezTo>
                  <a:pt x="96" y="91"/>
                  <a:pt x="98" y="79"/>
                  <a:pt x="99" y="73"/>
                </a:cubicBezTo>
                <a:cubicBezTo>
                  <a:pt x="103" y="62"/>
                  <a:pt x="103" y="38"/>
                  <a:pt x="111" y="25"/>
                </a:cubicBezTo>
                <a:cubicBezTo>
                  <a:pt x="101" y="20"/>
                  <a:pt x="80" y="0"/>
                  <a:pt x="70" y="0"/>
                </a:cubicBezTo>
                <a:cubicBezTo>
                  <a:pt x="54" y="0"/>
                  <a:pt x="58" y="36"/>
                  <a:pt x="40" y="36"/>
                </a:cubicBezTo>
                <a:cubicBezTo>
                  <a:pt x="35" y="36"/>
                  <a:pt x="37" y="31"/>
                  <a:pt x="32" y="31"/>
                </a:cubicBezTo>
                <a:cubicBezTo>
                  <a:pt x="31" y="31"/>
                  <a:pt x="22" y="34"/>
                  <a:pt x="22" y="36"/>
                </a:cubicBezTo>
                <a:cubicBezTo>
                  <a:pt x="19" y="41"/>
                  <a:pt x="21" y="50"/>
                  <a:pt x="18" y="58"/>
                </a:cubicBezTo>
                <a:cubicBezTo>
                  <a:pt x="16" y="68"/>
                  <a:pt x="2" y="66"/>
                  <a:pt x="2" y="81"/>
                </a:cubicBezTo>
                <a:cubicBezTo>
                  <a:pt x="2" y="86"/>
                  <a:pt x="3" y="90"/>
                  <a:pt x="2" y="96"/>
                </a:cubicBezTo>
                <a:cubicBezTo>
                  <a:pt x="2" y="97"/>
                  <a:pt x="0" y="98"/>
                  <a:pt x="0" y="100"/>
                </a:cubicBezTo>
                <a:cubicBezTo>
                  <a:pt x="0" y="108"/>
                  <a:pt x="10" y="111"/>
                  <a:pt x="16" y="111"/>
                </a:cubicBezTo>
                <a:cubicBezTo>
                  <a:pt x="22" y="111"/>
                  <a:pt x="29" y="114"/>
                  <a:pt x="35" y="111"/>
                </a:cubicBezTo>
                <a:cubicBezTo>
                  <a:pt x="34" y="107"/>
                  <a:pt x="33" y="107"/>
                  <a:pt x="33" y="103"/>
                </a:cubicBezTo>
                <a:cubicBezTo>
                  <a:pt x="33" y="101"/>
                  <a:pt x="38" y="100"/>
                  <a:pt x="40" y="98"/>
                </a:cubicBezTo>
                <a:cubicBezTo>
                  <a:pt x="40" y="98"/>
                  <a:pt x="40" y="98"/>
                  <a:pt x="40" y="98"/>
                </a:cubicBezTo>
                <a:cubicBezTo>
                  <a:pt x="48" y="98"/>
                  <a:pt x="48" y="98"/>
                  <a:pt x="48" y="98"/>
                </a:cubicBezTo>
                <a:cubicBezTo>
                  <a:pt x="48" y="106"/>
                  <a:pt x="48" y="106"/>
                  <a:pt x="48" y="106"/>
                </a:cubicBezTo>
                <a:cubicBezTo>
                  <a:pt x="48" y="106"/>
                  <a:pt x="48" y="106"/>
                  <a:pt x="48" y="106"/>
                </a:cubicBezTo>
                <a:cubicBezTo>
                  <a:pt x="44" y="110"/>
                  <a:pt x="42" y="112"/>
                  <a:pt x="42" y="117"/>
                </a:cubicBezTo>
                <a:cubicBezTo>
                  <a:pt x="42" y="117"/>
                  <a:pt x="42" y="117"/>
                  <a:pt x="42" y="117"/>
                </a:cubicBezTo>
                <a:cubicBezTo>
                  <a:pt x="53" y="117"/>
                  <a:pt x="53" y="117"/>
                  <a:pt x="53" y="117"/>
                </a:cubicBezTo>
                <a:cubicBezTo>
                  <a:pt x="53" y="117"/>
                  <a:pt x="53" y="117"/>
                  <a:pt x="53" y="117"/>
                </a:cubicBezTo>
                <a:cubicBezTo>
                  <a:pt x="53" y="123"/>
                  <a:pt x="47" y="126"/>
                  <a:pt x="42" y="127"/>
                </a:cubicBezTo>
                <a:cubicBezTo>
                  <a:pt x="42" y="127"/>
                  <a:pt x="42" y="127"/>
                  <a:pt x="42" y="127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47" y="134"/>
                  <a:pt x="47" y="133"/>
                  <a:pt x="50" y="132"/>
                </a:cubicBezTo>
                <a:cubicBezTo>
                  <a:pt x="50" y="132"/>
                  <a:pt x="50" y="132"/>
                  <a:pt x="50" y="132"/>
                </a:cubicBezTo>
                <a:cubicBezTo>
                  <a:pt x="51" y="132"/>
                  <a:pt x="51" y="132"/>
                  <a:pt x="51" y="132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1" name="Freeform 105"/>
          <p:cNvSpPr>
            <a:spLocks/>
          </p:cNvSpPr>
          <p:nvPr/>
        </p:nvSpPr>
        <p:spPr bwMode="auto">
          <a:xfrm>
            <a:off x="7666185" y="3142105"/>
            <a:ext cx="324740" cy="610286"/>
          </a:xfrm>
          <a:custGeom>
            <a:avLst/>
            <a:gdLst>
              <a:gd name="T0" fmla="*/ 2 w 72"/>
              <a:gd name="T1" fmla="*/ 29 h 135"/>
              <a:gd name="T2" fmla="*/ 27 w 72"/>
              <a:gd name="T3" fmla="*/ 59 h 135"/>
              <a:gd name="T4" fmla="*/ 1 w 72"/>
              <a:gd name="T5" fmla="*/ 92 h 135"/>
              <a:gd name="T6" fmla="*/ 1 w 72"/>
              <a:gd name="T7" fmla="*/ 117 h 135"/>
              <a:gd name="T8" fmla="*/ 47 w 72"/>
              <a:gd name="T9" fmla="*/ 133 h 135"/>
              <a:gd name="T10" fmla="*/ 65 w 72"/>
              <a:gd name="T11" fmla="*/ 128 h 135"/>
              <a:gd name="T12" fmla="*/ 51 w 72"/>
              <a:gd name="T13" fmla="*/ 108 h 135"/>
              <a:gd name="T14" fmla="*/ 69 w 72"/>
              <a:gd name="T15" fmla="*/ 63 h 135"/>
              <a:gd name="T16" fmla="*/ 72 w 72"/>
              <a:gd name="T17" fmla="*/ 37 h 135"/>
              <a:gd name="T18" fmla="*/ 51 w 72"/>
              <a:gd name="T19" fmla="*/ 23 h 135"/>
              <a:gd name="T20" fmla="*/ 47 w 72"/>
              <a:gd name="T21" fmla="*/ 23 h 135"/>
              <a:gd name="T22" fmla="*/ 44 w 72"/>
              <a:gd name="T23" fmla="*/ 15 h 135"/>
              <a:gd name="T24" fmla="*/ 19 w 72"/>
              <a:gd name="T25" fmla="*/ 5 h 135"/>
              <a:gd name="T26" fmla="*/ 13 w 72"/>
              <a:gd name="T27" fmla="*/ 5 h 135"/>
              <a:gd name="T28" fmla="*/ 5 w 72"/>
              <a:gd name="T29" fmla="*/ 5 h 135"/>
              <a:gd name="T30" fmla="*/ 7 w 72"/>
              <a:gd name="T31" fmla="*/ 23 h 135"/>
              <a:gd name="T32" fmla="*/ 0 w 72"/>
              <a:gd name="T33" fmla="*/ 29 h 135"/>
              <a:gd name="T34" fmla="*/ 0 w 72"/>
              <a:gd name="T35" fmla="*/ 29 h 135"/>
              <a:gd name="T36" fmla="*/ 2 w 72"/>
              <a:gd name="T37" fmla="*/ 29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2" h="135">
                <a:moveTo>
                  <a:pt x="2" y="29"/>
                </a:moveTo>
                <a:cubicBezTo>
                  <a:pt x="4" y="47"/>
                  <a:pt x="27" y="43"/>
                  <a:pt x="27" y="59"/>
                </a:cubicBezTo>
                <a:cubicBezTo>
                  <a:pt x="27" y="76"/>
                  <a:pt x="1" y="75"/>
                  <a:pt x="1" y="92"/>
                </a:cubicBezTo>
                <a:cubicBezTo>
                  <a:pt x="1" y="101"/>
                  <a:pt x="1" y="107"/>
                  <a:pt x="1" y="117"/>
                </a:cubicBezTo>
                <a:cubicBezTo>
                  <a:pt x="1" y="135"/>
                  <a:pt x="28" y="133"/>
                  <a:pt x="47" y="133"/>
                </a:cubicBezTo>
                <a:cubicBezTo>
                  <a:pt x="55" y="133"/>
                  <a:pt x="65" y="134"/>
                  <a:pt x="65" y="128"/>
                </a:cubicBezTo>
                <a:cubicBezTo>
                  <a:pt x="65" y="120"/>
                  <a:pt x="51" y="119"/>
                  <a:pt x="51" y="108"/>
                </a:cubicBezTo>
                <a:cubicBezTo>
                  <a:pt x="51" y="91"/>
                  <a:pt x="69" y="83"/>
                  <a:pt x="69" y="63"/>
                </a:cubicBezTo>
                <a:cubicBezTo>
                  <a:pt x="69" y="53"/>
                  <a:pt x="71" y="47"/>
                  <a:pt x="72" y="37"/>
                </a:cubicBezTo>
                <a:cubicBezTo>
                  <a:pt x="60" y="37"/>
                  <a:pt x="60" y="23"/>
                  <a:pt x="51" y="23"/>
                </a:cubicBezTo>
                <a:cubicBezTo>
                  <a:pt x="48" y="23"/>
                  <a:pt x="51" y="23"/>
                  <a:pt x="47" y="23"/>
                </a:cubicBezTo>
                <a:cubicBezTo>
                  <a:pt x="44" y="23"/>
                  <a:pt x="44" y="17"/>
                  <a:pt x="44" y="15"/>
                </a:cubicBezTo>
                <a:cubicBezTo>
                  <a:pt x="44" y="0"/>
                  <a:pt x="29" y="5"/>
                  <a:pt x="19" y="5"/>
                </a:cubicBezTo>
                <a:cubicBezTo>
                  <a:pt x="16" y="5"/>
                  <a:pt x="17" y="5"/>
                  <a:pt x="13" y="5"/>
                </a:cubicBezTo>
                <a:cubicBezTo>
                  <a:pt x="11" y="5"/>
                  <a:pt x="5" y="2"/>
                  <a:pt x="5" y="5"/>
                </a:cubicBezTo>
                <a:cubicBezTo>
                  <a:pt x="5" y="12"/>
                  <a:pt x="7" y="15"/>
                  <a:pt x="7" y="23"/>
                </a:cubicBezTo>
                <a:cubicBezTo>
                  <a:pt x="7" y="28"/>
                  <a:pt x="2" y="29"/>
                  <a:pt x="0" y="29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29"/>
                  <a:pt x="2" y="29"/>
                  <a:pt x="2" y="2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2" name="Line 109"/>
          <p:cNvSpPr>
            <a:spLocks noChangeShapeType="1"/>
          </p:cNvSpPr>
          <p:nvPr/>
        </p:nvSpPr>
        <p:spPr bwMode="auto">
          <a:xfrm>
            <a:off x="6353230" y="1966324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3" name="Line 110"/>
          <p:cNvSpPr>
            <a:spLocks noChangeShapeType="1"/>
          </p:cNvSpPr>
          <p:nvPr/>
        </p:nvSpPr>
        <p:spPr bwMode="auto">
          <a:xfrm>
            <a:off x="6353230" y="1966324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4" name="Line 111"/>
          <p:cNvSpPr>
            <a:spLocks noChangeShapeType="1"/>
          </p:cNvSpPr>
          <p:nvPr/>
        </p:nvSpPr>
        <p:spPr bwMode="auto">
          <a:xfrm>
            <a:off x="6353230" y="1966324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5" name="Line 112"/>
          <p:cNvSpPr>
            <a:spLocks noChangeShapeType="1"/>
          </p:cNvSpPr>
          <p:nvPr/>
        </p:nvSpPr>
        <p:spPr bwMode="auto">
          <a:xfrm>
            <a:off x="6353230" y="1966324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6" name="Freeform 113"/>
          <p:cNvSpPr>
            <a:spLocks/>
          </p:cNvSpPr>
          <p:nvPr/>
        </p:nvSpPr>
        <p:spPr bwMode="auto">
          <a:xfrm>
            <a:off x="5927711" y="1983121"/>
            <a:ext cx="1329753" cy="1108594"/>
          </a:xfrm>
          <a:custGeom>
            <a:avLst/>
            <a:gdLst>
              <a:gd name="T0" fmla="*/ 142 w 293"/>
              <a:gd name="T1" fmla="*/ 21 h 244"/>
              <a:gd name="T2" fmla="*/ 129 w 293"/>
              <a:gd name="T3" fmla="*/ 57 h 244"/>
              <a:gd name="T4" fmla="*/ 150 w 293"/>
              <a:gd name="T5" fmla="*/ 87 h 244"/>
              <a:gd name="T6" fmla="*/ 165 w 293"/>
              <a:gd name="T7" fmla="*/ 94 h 244"/>
              <a:gd name="T8" fmla="*/ 175 w 293"/>
              <a:gd name="T9" fmla="*/ 110 h 244"/>
              <a:gd name="T10" fmla="*/ 185 w 293"/>
              <a:gd name="T11" fmla="*/ 110 h 244"/>
              <a:gd name="T12" fmla="*/ 211 w 293"/>
              <a:gd name="T13" fmla="*/ 124 h 244"/>
              <a:gd name="T14" fmla="*/ 214 w 293"/>
              <a:gd name="T15" fmla="*/ 138 h 244"/>
              <a:gd name="T16" fmla="*/ 214 w 293"/>
              <a:gd name="T17" fmla="*/ 138 h 244"/>
              <a:gd name="T18" fmla="*/ 235 w 293"/>
              <a:gd name="T19" fmla="*/ 138 h 244"/>
              <a:gd name="T20" fmla="*/ 235 w 293"/>
              <a:gd name="T21" fmla="*/ 138 h 244"/>
              <a:gd name="T22" fmla="*/ 250 w 293"/>
              <a:gd name="T23" fmla="*/ 151 h 244"/>
              <a:gd name="T24" fmla="*/ 256 w 293"/>
              <a:gd name="T25" fmla="*/ 160 h 244"/>
              <a:gd name="T26" fmla="*/ 270 w 293"/>
              <a:gd name="T27" fmla="*/ 153 h 244"/>
              <a:gd name="T28" fmla="*/ 277 w 293"/>
              <a:gd name="T29" fmla="*/ 156 h 244"/>
              <a:gd name="T30" fmla="*/ 276 w 293"/>
              <a:gd name="T31" fmla="*/ 169 h 244"/>
              <a:gd name="T32" fmla="*/ 293 w 293"/>
              <a:gd name="T33" fmla="*/ 185 h 244"/>
              <a:gd name="T34" fmla="*/ 235 w 293"/>
              <a:gd name="T35" fmla="*/ 240 h 244"/>
              <a:gd name="T36" fmla="*/ 196 w 293"/>
              <a:gd name="T37" fmla="*/ 222 h 244"/>
              <a:gd name="T38" fmla="*/ 156 w 293"/>
              <a:gd name="T39" fmla="*/ 188 h 244"/>
              <a:gd name="T40" fmla="*/ 150 w 293"/>
              <a:gd name="T41" fmla="*/ 174 h 244"/>
              <a:gd name="T42" fmla="*/ 142 w 293"/>
              <a:gd name="T43" fmla="*/ 183 h 244"/>
              <a:gd name="T44" fmla="*/ 124 w 293"/>
              <a:gd name="T45" fmla="*/ 177 h 244"/>
              <a:gd name="T46" fmla="*/ 105 w 293"/>
              <a:gd name="T47" fmla="*/ 185 h 244"/>
              <a:gd name="T48" fmla="*/ 73 w 293"/>
              <a:gd name="T49" fmla="*/ 138 h 244"/>
              <a:gd name="T50" fmla="*/ 68 w 293"/>
              <a:gd name="T51" fmla="*/ 143 h 244"/>
              <a:gd name="T52" fmla="*/ 47 w 293"/>
              <a:gd name="T53" fmla="*/ 129 h 244"/>
              <a:gd name="T54" fmla="*/ 36 w 293"/>
              <a:gd name="T55" fmla="*/ 124 h 244"/>
              <a:gd name="T56" fmla="*/ 30 w 293"/>
              <a:gd name="T57" fmla="*/ 105 h 244"/>
              <a:gd name="T58" fmla="*/ 16 w 293"/>
              <a:gd name="T59" fmla="*/ 111 h 244"/>
              <a:gd name="T60" fmla="*/ 13 w 293"/>
              <a:gd name="T61" fmla="*/ 105 h 244"/>
              <a:gd name="T62" fmla="*/ 13 w 293"/>
              <a:gd name="T63" fmla="*/ 80 h 244"/>
              <a:gd name="T64" fmla="*/ 0 w 293"/>
              <a:gd name="T65" fmla="*/ 74 h 244"/>
              <a:gd name="T66" fmla="*/ 5 w 293"/>
              <a:gd name="T67" fmla="*/ 54 h 244"/>
              <a:gd name="T68" fmla="*/ 22 w 293"/>
              <a:gd name="T69" fmla="*/ 58 h 244"/>
              <a:gd name="T70" fmla="*/ 42 w 293"/>
              <a:gd name="T71" fmla="*/ 47 h 244"/>
              <a:gd name="T72" fmla="*/ 43 w 293"/>
              <a:gd name="T73" fmla="*/ 27 h 244"/>
              <a:gd name="T74" fmla="*/ 78 w 293"/>
              <a:gd name="T75" fmla="*/ 4 h 244"/>
              <a:gd name="T76" fmla="*/ 78 w 293"/>
              <a:gd name="T77" fmla="*/ 5 h 244"/>
              <a:gd name="T78" fmla="*/ 96 w 293"/>
              <a:gd name="T79" fmla="*/ 11 h 244"/>
              <a:gd name="T80" fmla="*/ 108 w 293"/>
              <a:gd name="T81" fmla="*/ 0 h 244"/>
              <a:gd name="T82" fmla="*/ 128 w 293"/>
              <a:gd name="T83" fmla="*/ 3 h 244"/>
              <a:gd name="T84" fmla="*/ 140 w 293"/>
              <a:gd name="T85" fmla="*/ 20 h 244"/>
              <a:gd name="T86" fmla="*/ 140 w 293"/>
              <a:gd name="T87" fmla="*/ 20 h 244"/>
              <a:gd name="T88" fmla="*/ 142 w 293"/>
              <a:gd name="T89" fmla="*/ 21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93" h="244">
                <a:moveTo>
                  <a:pt x="142" y="21"/>
                </a:moveTo>
                <a:cubicBezTo>
                  <a:pt x="136" y="31"/>
                  <a:pt x="129" y="41"/>
                  <a:pt x="129" y="57"/>
                </a:cubicBezTo>
                <a:cubicBezTo>
                  <a:pt x="129" y="78"/>
                  <a:pt x="150" y="70"/>
                  <a:pt x="150" y="87"/>
                </a:cubicBezTo>
                <a:cubicBezTo>
                  <a:pt x="150" y="96"/>
                  <a:pt x="160" y="91"/>
                  <a:pt x="165" y="94"/>
                </a:cubicBezTo>
                <a:cubicBezTo>
                  <a:pt x="171" y="96"/>
                  <a:pt x="168" y="110"/>
                  <a:pt x="175" y="110"/>
                </a:cubicBezTo>
                <a:cubicBezTo>
                  <a:pt x="181" y="110"/>
                  <a:pt x="182" y="110"/>
                  <a:pt x="185" y="110"/>
                </a:cubicBezTo>
                <a:cubicBezTo>
                  <a:pt x="193" y="110"/>
                  <a:pt x="198" y="123"/>
                  <a:pt x="211" y="124"/>
                </a:cubicBezTo>
                <a:cubicBezTo>
                  <a:pt x="211" y="132"/>
                  <a:pt x="212" y="134"/>
                  <a:pt x="214" y="138"/>
                </a:cubicBezTo>
                <a:cubicBezTo>
                  <a:pt x="214" y="138"/>
                  <a:pt x="214" y="138"/>
                  <a:pt x="214" y="138"/>
                </a:cubicBezTo>
                <a:cubicBezTo>
                  <a:pt x="235" y="138"/>
                  <a:pt x="235" y="138"/>
                  <a:pt x="235" y="138"/>
                </a:cubicBezTo>
                <a:cubicBezTo>
                  <a:pt x="235" y="138"/>
                  <a:pt x="235" y="138"/>
                  <a:pt x="235" y="138"/>
                </a:cubicBezTo>
                <a:cubicBezTo>
                  <a:pt x="243" y="143"/>
                  <a:pt x="245" y="147"/>
                  <a:pt x="250" y="151"/>
                </a:cubicBezTo>
                <a:cubicBezTo>
                  <a:pt x="251" y="156"/>
                  <a:pt x="251" y="160"/>
                  <a:pt x="256" y="160"/>
                </a:cubicBezTo>
                <a:cubicBezTo>
                  <a:pt x="265" y="160"/>
                  <a:pt x="263" y="153"/>
                  <a:pt x="270" y="153"/>
                </a:cubicBezTo>
                <a:cubicBezTo>
                  <a:pt x="272" y="153"/>
                  <a:pt x="277" y="155"/>
                  <a:pt x="277" y="156"/>
                </a:cubicBezTo>
                <a:cubicBezTo>
                  <a:pt x="279" y="161"/>
                  <a:pt x="276" y="164"/>
                  <a:pt x="276" y="169"/>
                </a:cubicBezTo>
                <a:cubicBezTo>
                  <a:pt x="277" y="177"/>
                  <a:pt x="289" y="177"/>
                  <a:pt x="293" y="185"/>
                </a:cubicBezTo>
                <a:cubicBezTo>
                  <a:pt x="275" y="199"/>
                  <a:pt x="260" y="234"/>
                  <a:pt x="235" y="240"/>
                </a:cubicBezTo>
                <a:cubicBezTo>
                  <a:pt x="220" y="244"/>
                  <a:pt x="201" y="233"/>
                  <a:pt x="196" y="222"/>
                </a:cubicBezTo>
                <a:cubicBezTo>
                  <a:pt x="182" y="208"/>
                  <a:pt x="169" y="204"/>
                  <a:pt x="156" y="188"/>
                </a:cubicBezTo>
                <a:cubicBezTo>
                  <a:pt x="153" y="183"/>
                  <a:pt x="155" y="179"/>
                  <a:pt x="150" y="174"/>
                </a:cubicBezTo>
                <a:cubicBezTo>
                  <a:pt x="147" y="176"/>
                  <a:pt x="147" y="183"/>
                  <a:pt x="142" y="183"/>
                </a:cubicBezTo>
                <a:cubicBezTo>
                  <a:pt x="136" y="183"/>
                  <a:pt x="131" y="177"/>
                  <a:pt x="124" y="177"/>
                </a:cubicBezTo>
                <a:cubicBezTo>
                  <a:pt x="116" y="177"/>
                  <a:pt x="115" y="185"/>
                  <a:pt x="105" y="185"/>
                </a:cubicBezTo>
                <a:cubicBezTo>
                  <a:pt x="83" y="185"/>
                  <a:pt x="94" y="138"/>
                  <a:pt x="73" y="138"/>
                </a:cubicBezTo>
                <a:cubicBezTo>
                  <a:pt x="70" y="138"/>
                  <a:pt x="69" y="143"/>
                  <a:pt x="68" y="143"/>
                </a:cubicBezTo>
                <a:cubicBezTo>
                  <a:pt x="58" y="143"/>
                  <a:pt x="57" y="129"/>
                  <a:pt x="47" y="129"/>
                </a:cubicBezTo>
                <a:cubicBezTo>
                  <a:pt x="41" y="129"/>
                  <a:pt x="36" y="132"/>
                  <a:pt x="36" y="124"/>
                </a:cubicBezTo>
                <a:cubicBezTo>
                  <a:pt x="35" y="118"/>
                  <a:pt x="38" y="105"/>
                  <a:pt x="30" y="105"/>
                </a:cubicBezTo>
                <a:cubicBezTo>
                  <a:pt x="25" y="105"/>
                  <a:pt x="22" y="111"/>
                  <a:pt x="16" y="111"/>
                </a:cubicBezTo>
                <a:cubicBezTo>
                  <a:pt x="14" y="111"/>
                  <a:pt x="13" y="108"/>
                  <a:pt x="13" y="105"/>
                </a:cubicBezTo>
                <a:cubicBezTo>
                  <a:pt x="13" y="99"/>
                  <a:pt x="17" y="87"/>
                  <a:pt x="13" y="80"/>
                </a:cubicBezTo>
                <a:cubicBezTo>
                  <a:pt x="13" y="79"/>
                  <a:pt x="0" y="78"/>
                  <a:pt x="0" y="74"/>
                </a:cubicBezTo>
                <a:cubicBezTo>
                  <a:pt x="0" y="68"/>
                  <a:pt x="5" y="64"/>
                  <a:pt x="5" y="54"/>
                </a:cubicBezTo>
                <a:cubicBezTo>
                  <a:pt x="10" y="58"/>
                  <a:pt x="16" y="58"/>
                  <a:pt x="22" y="58"/>
                </a:cubicBezTo>
                <a:cubicBezTo>
                  <a:pt x="25" y="58"/>
                  <a:pt x="41" y="49"/>
                  <a:pt x="42" y="47"/>
                </a:cubicBezTo>
                <a:cubicBezTo>
                  <a:pt x="45" y="38"/>
                  <a:pt x="37" y="33"/>
                  <a:pt x="43" y="27"/>
                </a:cubicBezTo>
                <a:cubicBezTo>
                  <a:pt x="51" y="20"/>
                  <a:pt x="65" y="11"/>
                  <a:pt x="78" y="4"/>
                </a:cubicBezTo>
                <a:cubicBezTo>
                  <a:pt x="78" y="4"/>
                  <a:pt x="78" y="5"/>
                  <a:pt x="78" y="5"/>
                </a:cubicBezTo>
                <a:cubicBezTo>
                  <a:pt x="78" y="10"/>
                  <a:pt x="92" y="11"/>
                  <a:pt x="96" y="11"/>
                </a:cubicBezTo>
                <a:cubicBezTo>
                  <a:pt x="104" y="11"/>
                  <a:pt x="106" y="6"/>
                  <a:pt x="108" y="0"/>
                </a:cubicBezTo>
                <a:cubicBezTo>
                  <a:pt x="114" y="1"/>
                  <a:pt x="121" y="0"/>
                  <a:pt x="128" y="3"/>
                </a:cubicBezTo>
                <a:cubicBezTo>
                  <a:pt x="132" y="5"/>
                  <a:pt x="136" y="17"/>
                  <a:pt x="140" y="20"/>
                </a:cubicBezTo>
                <a:cubicBezTo>
                  <a:pt x="140" y="20"/>
                  <a:pt x="140" y="20"/>
                  <a:pt x="140" y="20"/>
                </a:cubicBezTo>
                <a:cubicBezTo>
                  <a:pt x="142" y="21"/>
                  <a:pt x="142" y="21"/>
                  <a:pt x="142" y="21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Freeform 116"/>
          <p:cNvSpPr>
            <a:spLocks noEditPoints="1"/>
          </p:cNvSpPr>
          <p:nvPr/>
        </p:nvSpPr>
        <p:spPr bwMode="auto">
          <a:xfrm>
            <a:off x="3937280" y="4547443"/>
            <a:ext cx="683072" cy="926627"/>
          </a:xfrm>
          <a:custGeom>
            <a:avLst/>
            <a:gdLst>
              <a:gd name="T0" fmla="*/ 146 w 151"/>
              <a:gd name="T1" fmla="*/ 123 h 204"/>
              <a:gd name="T2" fmla="*/ 142 w 151"/>
              <a:gd name="T3" fmla="*/ 128 h 204"/>
              <a:gd name="T4" fmla="*/ 132 w 151"/>
              <a:gd name="T5" fmla="*/ 122 h 204"/>
              <a:gd name="T6" fmla="*/ 122 w 151"/>
              <a:gd name="T7" fmla="*/ 141 h 204"/>
              <a:gd name="T8" fmla="*/ 128 w 151"/>
              <a:gd name="T9" fmla="*/ 149 h 204"/>
              <a:gd name="T10" fmla="*/ 128 w 151"/>
              <a:gd name="T11" fmla="*/ 172 h 204"/>
              <a:gd name="T12" fmla="*/ 114 w 151"/>
              <a:gd name="T13" fmla="*/ 187 h 204"/>
              <a:gd name="T14" fmla="*/ 114 w 151"/>
              <a:gd name="T15" fmla="*/ 187 h 204"/>
              <a:gd name="T16" fmla="*/ 114 w 151"/>
              <a:gd name="T17" fmla="*/ 189 h 204"/>
              <a:gd name="T18" fmla="*/ 114 w 151"/>
              <a:gd name="T19" fmla="*/ 189 h 204"/>
              <a:gd name="T20" fmla="*/ 98 w 151"/>
              <a:gd name="T21" fmla="*/ 200 h 204"/>
              <a:gd name="T22" fmla="*/ 80 w 151"/>
              <a:gd name="T23" fmla="*/ 187 h 204"/>
              <a:gd name="T24" fmla="*/ 57 w 151"/>
              <a:gd name="T25" fmla="*/ 204 h 204"/>
              <a:gd name="T26" fmla="*/ 43 w 151"/>
              <a:gd name="T27" fmla="*/ 189 h 204"/>
              <a:gd name="T28" fmla="*/ 35 w 151"/>
              <a:gd name="T29" fmla="*/ 189 h 204"/>
              <a:gd name="T30" fmla="*/ 30 w 151"/>
              <a:gd name="T31" fmla="*/ 173 h 204"/>
              <a:gd name="T32" fmla="*/ 23 w 151"/>
              <a:gd name="T33" fmla="*/ 125 h 204"/>
              <a:gd name="T34" fmla="*/ 15 w 151"/>
              <a:gd name="T35" fmla="*/ 109 h 204"/>
              <a:gd name="T36" fmla="*/ 6 w 151"/>
              <a:gd name="T37" fmla="*/ 69 h 204"/>
              <a:gd name="T38" fmla="*/ 0 w 151"/>
              <a:gd name="T39" fmla="*/ 39 h 204"/>
              <a:gd name="T40" fmla="*/ 0 w 151"/>
              <a:gd name="T41" fmla="*/ 39 h 204"/>
              <a:gd name="T42" fmla="*/ 11 w 151"/>
              <a:gd name="T43" fmla="*/ 32 h 204"/>
              <a:gd name="T44" fmla="*/ 26 w 151"/>
              <a:gd name="T45" fmla="*/ 53 h 204"/>
              <a:gd name="T46" fmla="*/ 26 w 151"/>
              <a:gd name="T47" fmla="*/ 53 h 204"/>
              <a:gd name="T48" fmla="*/ 47 w 151"/>
              <a:gd name="T49" fmla="*/ 44 h 204"/>
              <a:gd name="T50" fmla="*/ 81 w 151"/>
              <a:gd name="T51" fmla="*/ 50 h 204"/>
              <a:gd name="T52" fmla="*/ 73 w 151"/>
              <a:gd name="T53" fmla="*/ 23 h 204"/>
              <a:gd name="T54" fmla="*/ 87 w 151"/>
              <a:gd name="T55" fmla="*/ 16 h 204"/>
              <a:gd name="T56" fmla="*/ 110 w 151"/>
              <a:gd name="T57" fmla="*/ 26 h 204"/>
              <a:gd name="T58" fmla="*/ 114 w 151"/>
              <a:gd name="T59" fmla="*/ 27 h 204"/>
              <a:gd name="T60" fmla="*/ 114 w 151"/>
              <a:gd name="T61" fmla="*/ 44 h 204"/>
              <a:gd name="T62" fmla="*/ 146 w 151"/>
              <a:gd name="T63" fmla="*/ 60 h 204"/>
              <a:gd name="T64" fmla="*/ 138 w 151"/>
              <a:gd name="T65" fmla="*/ 81 h 204"/>
              <a:gd name="T66" fmla="*/ 151 w 151"/>
              <a:gd name="T67" fmla="*/ 103 h 204"/>
              <a:gd name="T68" fmla="*/ 149 w 151"/>
              <a:gd name="T69" fmla="*/ 120 h 204"/>
              <a:gd name="T70" fmla="*/ 149 w 151"/>
              <a:gd name="T71" fmla="*/ 120 h 204"/>
              <a:gd name="T72" fmla="*/ 146 w 151"/>
              <a:gd name="T73" fmla="*/ 123 h 204"/>
              <a:gd name="T74" fmla="*/ 98 w 151"/>
              <a:gd name="T75" fmla="*/ 147 h 204"/>
              <a:gd name="T76" fmla="*/ 98 w 151"/>
              <a:gd name="T77" fmla="*/ 140 h 204"/>
              <a:gd name="T78" fmla="*/ 74 w 151"/>
              <a:gd name="T79" fmla="*/ 110 h 204"/>
              <a:gd name="T80" fmla="*/ 54 w 151"/>
              <a:gd name="T81" fmla="*/ 98 h 204"/>
              <a:gd name="T82" fmla="*/ 54 w 151"/>
              <a:gd name="T83" fmla="*/ 98 h 204"/>
              <a:gd name="T84" fmla="*/ 49 w 151"/>
              <a:gd name="T85" fmla="*/ 98 h 204"/>
              <a:gd name="T86" fmla="*/ 49 w 151"/>
              <a:gd name="T87" fmla="*/ 107 h 204"/>
              <a:gd name="T88" fmla="*/ 49 w 151"/>
              <a:gd name="T89" fmla="*/ 107 h 204"/>
              <a:gd name="T90" fmla="*/ 69 w 151"/>
              <a:gd name="T91" fmla="*/ 123 h 204"/>
              <a:gd name="T92" fmla="*/ 76 w 151"/>
              <a:gd name="T93" fmla="*/ 120 h 204"/>
              <a:gd name="T94" fmla="*/ 81 w 151"/>
              <a:gd name="T95" fmla="*/ 129 h 204"/>
              <a:gd name="T96" fmla="*/ 62 w 151"/>
              <a:gd name="T97" fmla="*/ 142 h 204"/>
              <a:gd name="T98" fmla="*/ 57 w 151"/>
              <a:gd name="T99" fmla="*/ 162 h 204"/>
              <a:gd name="T100" fmla="*/ 52 w 151"/>
              <a:gd name="T101" fmla="*/ 156 h 204"/>
              <a:gd name="T102" fmla="*/ 43 w 151"/>
              <a:gd name="T103" fmla="*/ 162 h 204"/>
              <a:gd name="T104" fmla="*/ 57 w 151"/>
              <a:gd name="T105" fmla="*/ 182 h 204"/>
              <a:gd name="T106" fmla="*/ 82 w 151"/>
              <a:gd name="T107" fmla="*/ 149 h 204"/>
              <a:gd name="T108" fmla="*/ 89 w 151"/>
              <a:gd name="T109" fmla="*/ 149 h 204"/>
              <a:gd name="T110" fmla="*/ 92 w 151"/>
              <a:gd name="T111" fmla="*/ 163 h 204"/>
              <a:gd name="T112" fmla="*/ 98 w 151"/>
              <a:gd name="T113" fmla="*/ 147 h 204"/>
              <a:gd name="T114" fmla="*/ 98 w 151"/>
              <a:gd name="T115" fmla="*/ 147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1" h="204">
                <a:moveTo>
                  <a:pt x="146" y="123"/>
                </a:moveTo>
                <a:cubicBezTo>
                  <a:pt x="146" y="125"/>
                  <a:pt x="145" y="128"/>
                  <a:pt x="142" y="128"/>
                </a:cubicBezTo>
                <a:cubicBezTo>
                  <a:pt x="137" y="128"/>
                  <a:pt x="135" y="122"/>
                  <a:pt x="132" y="122"/>
                </a:cubicBezTo>
                <a:cubicBezTo>
                  <a:pt x="130" y="122"/>
                  <a:pt x="122" y="139"/>
                  <a:pt x="122" y="141"/>
                </a:cubicBezTo>
                <a:cubicBezTo>
                  <a:pt x="122" y="146"/>
                  <a:pt x="128" y="144"/>
                  <a:pt x="128" y="149"/>
                </a:cubicBezTo>
                <a:cubicBezTo>
                  <a:pt x="128" y="156"/>
                  <a:pt x="128" y="161"/>
                  <a:pt x="128" y="172"/>
                </a:cubicBezTo>
                <a:cubicBezTo>
                  <a:pt x="118" y="174"/>
                  <a:pt x="114" y="178"/>
                  <a:pt x="114" y="187"/>
                </a:cubicBezTo>
                <a:cubicBezTo>
                  <a:pt x="114" y="187"/>
                  <a:pt x="114" y="187"/>
                  <a:pt x="114" y="187"/>
                </a:cubicBezTo>
                <a:cubicBezTo>
                  <a:pt x="114" y="189"/>
                  <a:pt x="114" y="189"/>
                  <a:pt x="114" y="189"/>
                </a:cubicBezTo>
                <a:cubicBezTo>
                  <a:pt x="114" y="189"/>
                  <a:pt x="114" y="189"/>
                  <a:pt x="114" y="189"/>
                </a:cubicBezTo>
                <a:cubicBezTo>
                  <a:pt x="111" y="198"/>
                  <a:pt x="107" y="200"/>
                  <a:pt x="98" y="200"/>
                </a:cubicBezTo>
                <a:cubicBezTo>
                  <a:pt x="86" y="200"/>
                  <a:pt x="94" y="187"/>
                  <a:pt x="80" y="187"/>
                </a:cubicBezTo>
                <a:cubicBezTo>
                  <a:pt x="71" y="187"/>
                  <a:pt x="57" y="194"/>
                  <a:pt x="57" y="204"/>
                </a:cubicBezTo>
                <a:cubicBezTo>
                  <a:pt x="52" y="203"/>
                  <a:pt x="44" y="190"/>
                  <a:pt x="43" y="189"/>
                </a:cubicBezTo>
                <a:cubicBezTo>
                  <a:pt x="39" y="187"/>
                  <a:pt x="37" y="187"/>
                  <a:pt x="35" y="189"/>
                </a:cubicBezTo>
                <a:cubicBezTo>
                  <a:pt x="32" y="183"/>
                  <a:pt x="31" y="178"/>
                  <a:pt x="30" y="173"/>
                </a:cubicBezTo>
                <a:cubicBezTo>
                  <a:pt x="26" y="154"/>
                  <a:pt x="30" y="141"/>
                  <a:pt x="23" y="125"/>
                </a:cubicBezTo>
                <a:cubicBezTo>
                  <a:pt x="19" y="114"/>
                  <a:pt x="12" y="117"/>
                  <a:pt x="15" y="109"/>
                </a:cubicBezTo>
                <a:cubicBezTo>
                  <a:pt x="23" y="102"/>
                  <a:pt x="6" y="82"/>
                  <a:pt x="6" y="69"/>
                </a:cubicBezTo>
                <a:cubicBezTo>
                  <a:pt x="6" y="59"/>
                  <a:pt x="6" y="44"/>
                  <a:pt x="0" y="39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32"/>
                  <a:pt x="11" y="32"/>
                  <a:pt x="11" y="32"/>
                </a:cubicBezTo>
                <a:cubicBezTo>
                  <a:pt x="26" y="53"/>
                  <a:pt x="26" y="53"/>
                  <a:pt x="26" y="53"/>
                </a:cubicBezTo>
                <a:cubicBezTo>
                  <a:pt x="26" y="53"/>
                  <a:pt x="26" y="53"/>
                  <a:pt x="26" y="53"/>
                </a:cubicBezTo>
                <a:cubicBezTo>
                  <a:pt x="31" y="58"/>
                  <a:pt x="38" y="61"/>
                  <a:pt x="47" y="44"/>
                </a:cubicBezTo>
                <a:cubicBezTo>
                  <a:pt x="53" y="32"/>
                  <a:pt x="81" y="50"/>
                  <a:pt x="81" y="50"/>
                </a:cubicBezTo>
                <a:cubicBezTo>
                  <a:pt x="89" y="39"/>
                  <a:pt x="81" y="32"/>
                  <a:pt x="73" y="23"/>
                </a:cubicBezTo>
                <a:cubicBezTo>
                  <a:pt x="79" y="22"/>
                  <a:pt x="74" y="0"/>
                  <a:pt x="87" y="16"/>
                </a:cubicBezTo>
                <a:cubicBezTo>
                  <a:pt x="91" y="19"/>
                  <a:pt x="100" y="23"/>
                  <a:pt x="110" y="26"/>
                </a:cubicBezTo>
                <a:cubicBezTo>
                  <a:pt x="111" y="26"/>
                  <a:pt x="113" y="27"/>
                  <a:pt x="114" y="27"/>
                </a:cubicBezTo>
                <a:cubicBezTo>
                  <a:pt x="114" y="31"/>
                  <a:pt x="113" y="38"/>
                  <a:pt x="114" y="44"/>
                </a:cubicBezTo>
                <a:cubicBezTo>
                  <a:pt x="126" y="43"/>
                  <a:pt x="146" y="50"/>
                  <a:pt x="146" y="60"/>
                </a:cubicBezTo>
                <a:cubicBezTo>
                  <a:pt x="146" y="67"/>
                  <a:pt x="138" y="70"/>
                  <a:pt x="138" y="81"/>
                </a:cubicBezTo>
                <a:cubicBezTo>
                  <a:pt x="138" y="92"/>
                  <a:pt x="151" y="94"/>
                  <a:pt x="151" y="103"/>
                </a:cubicBezTo>
                <a:cubicBezTo>
                  <a:pt x="151" y="109"/>
                  <a:pt x="149" y="114"/>
                  <a:pt x="149" y="120"/>
                </a:cubicBezTo>
                <a:cubicBezTo>
                  <a:pt x="149" y="120"/>
                  <a:pt x="149" y="120"/>
                  <a:pt x="149" y="120"/>
                </a:cubicBezTo>
                <a:cubicBezTo>
                  <a:pt x="146" y="123"/>
                  <a:pt x="146" y="123"/>
                  <a:pt x="146" y="123"/>
                </a:cubicBezTo>
                <a:close/>
                <a:moveTo>
                  <a:pt x="98" y="147"/>
                </a:moveTo>
                <a:cubicBezTo>
                  <a:pt x="101" y="147"/>
                  <a:pt x="98" y="142"/>
                  <a:pt x="98" y="140"/>
                </a:cubicBezTo>
                <a:cubicBezTo>
                  <a:pt x="98" y="128"/>
                  <a:pt x="85" y="110"/>
                  <a:pt x="74" y="110"/>
                </a:cubicBezTo>
                <a:cubicBezTo>
                  <a:pt x="64" y="110"/>
                  <a:pt x="59" y="103"/>
                  <a:pt x="54" y="98"/>
                </a:cubicBezTo>
                <a:cubicBezTo>
                  <a:pt x="54" y="98"/>
                  <a:pt x="54" y="98"/>
                  <a:pt x="54" y="98"/>
                </a:cubicBezTo>
                <a:cubicBezTo>
                  <a:pt x="49" y="98"/>
                  <a:pt x="49" y="98"/>
                  <a:pt x="49" y="98"/>
                </a:cubicBezTo>
                <a:cubicBezTo>
                  <a:pt x="49" y="107"/>
                  <a:pt x="49" y="107"/>
                  <a:pt x="49" y="107"/>
                </a:cubicBezTo>
                <a:cubicBezTo>
                  <a:pt x="49" y="107"/>
                  <a:pt x="49" y="107"/>
                  <a:pt x="49" y="107"/>
                </a:cubicBezTo>
                <a:cubicBezTo>
                  <a:pt x="52" y="113"/>
                  <a:pt x="60" y="123"/>
                  <a:pt x="69" y="123"/>
                </a:cubicBezTo>
                <a:cubicBezTo>
                  <a:pt x="70" y="123"/>
                  <a:pt x="74" y="120"/>
                  <a:pt x="76" y="120"/>
                </a:cubicBezTo>
                <a:cubicBezTo>
                  <a:pt x="80" y="120"/>
                  <a:pt x="81" y="126"/>
                  <a:pt x="81" y="129"/>
                </a:cubicBezTo>
                <a:cubicBezTo>
                  <a:pt x="81" y="134"/>
                  <a:pt x="66" y="142"/>
                  <a:pt x="62" y="142"/>
                </a:cubicBezTo>
                <a:cubicBezTo>
                  <a:pt x="62" y="151"/>
                  <a:pt x="64" y="161"/>
                  <a:pt x="57" y="162"/>
                </a:cubicBezTo>
                <a:cubicBezTo>
                  <a:pt x="55" y="158"/>
                  <a:pt x="54" y="156"/>
                  <a:pt x="52" y="156"/>
                </a:cubicBezTo>
                <a:cubicBezTo>
                  <a:pt x="49" y="156"/>
                  <a:pt x="43" y="158"/>
                  <a:pt x="43" y="162"/>
                </a:cubicBezTo>
                <a:cubicBezTo>
                  <a:pt x="43" y="173"/>
                  <a:pt x="48" y="182"/>
                  <a:pt x="57" y="182"/>
                </a:cubicBezTo>
                <a:cubicBezTo>
                  <a:pt x="68" y="182"/>
                  <a:pt x="79" y="160"/>
                  <a:pt x="82" y="149"/>
                </a:cubicBezTo>
                <a:cubicBezTo>
                  <a:pt x="86" y="150"/>
                  <a:pt x="87" y="149"/>
                  <a:pt x="89" y="149"/>
                </a:cubicBezTo>
                <a:cubicBezTo>
                  <a:pt x="89" y="154"/>
                  <a:pt x="90" y="163"/>
                  <a:pt x="92" y="163"/>
                </a:cubicBezTo>
                <a:cubicBezTo>
                  <a:pt x="98" y="163"/>
                  <a:pt x="94" y="147"/>
                  <a:pt x="98" y="147"/>
                </a:cubicBezTo>
                <a:cubicBezTo>
                  <a:pt x="98" y="147"/>
                  <a:pt x="98" y="147"/>
                  <a:pt x="98" y="147"/>
                </a:cubicBezTo>
                <a:close/>
              </a:path>
            </a:pathLst>
          </a:custGeom>
          <a:solidFill>
            <a:srgbClr val="BEBEBE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Freeform 117"/>
          <p:cNvSpPr>
            <a:spLocks/>
          </p:cNvSpPr>
          <p:nvPr/>
        </p:nvSpPr>
        <p:spPr bwMode="auto">
          <a:xfrm>
            <a:off x="4452386" y="5093341"/>
            <a:ext cx="599088" cy="797850"/>
          </a:xfrm>
          <a:custGeom>
            <a:avLst/>
            <a:gdLst>
              <a:gd name="T0" fmla="*/ 55 w 132"/>
              <a:gd name="T1" fmla="*/ 155 h 176"/>
              <a:gd name="T2" fmla="*/ 60 w 132"/>
              <a:gd name="T3" fmla="*/ 149 h 176"/>
              <a:gd name="T4" fmla="*/ 46 w 132"/>
              <a:gd name="T5" fmla="*/ 138 h 176"/>
              <a:gd name="T6" fmla="*/ 10 w 132"/>
              <a:gd name="T7" fmla="*/ 121 h 176"/>
              <a:gd name="T8" fmla="*/ 7 w 132"/>
              <a:gd name="T9" fmla="*/ 101 h 176"/>
              <a:gd name="T10" fmla="*/ 16 w 132"/>
              <a:gd name="T11" fmla="*/ 90 h 176"/>
              <a:gd name="T12" fmla="*/ 0 w 132"/>
              <a:gd name="T13" fmla="*/ 67 h 176"/>
              <a:gd name="T14" fmla="*/ 14 w 132"/>
              <a:gd name="T15" fmla="*/ 52 h 176"/>
              <a:gd name="T16" fmla="*/ 14 w 132"/>
              <a:gd name="T17" fmla="*/ 29 h 176"/>
              <a:gd name="T18" fmla="*/ 8 w 132"/>
              <a:gd name="T19" fmla="*/ 21 h 176"/>
              <a:gd name="T20" fmla="*/ 18 w 132"/>
              <a:gd name="T21" fmla="*/ 2 h 176"/>
              <a:gd name="T22" fmla="*/ 28 w 132"/>
              <a:gd name="T23" fmla="*/ 8 h 176"/>
              <a:gd name="T24" fmla="*/ 39 w 132"/>
              <a:gd name="T25" fmla="*/ 0 h 176"/>
              <a:gd name="T26" fmla="*/ 50 w 132"/>
              <a:gd name="T27" fmla="*/ 8 h 176"/>
              <a:gd name="T28" fmla="*/ 60 w 132"/>
              <a:gd name="T29" fmla="*/ 19 h 176"/>
              <a:gd name="T30" fmla="*/ 69 w 132"/>
              <a:gd name="T31" fmla="*/ 15 h 176"/>
              <a:gd name="T32" fmla="*/ 87 w 132"/>
              <a:gd name="T33" fmla="*/ 27 h 176"/>
              <a:gd name="T34" fmla="*/ 90 w 132"/>
              <a:gd name="T35" fmla="*/ 36 h 176"/>
              <a:gd name="T36" fmla="*/ 110 w 132"/>
              <a:gd name="T37" fmla="*/ 62 h 176"/>
              <a:gd name="T38" fmla="*/ 106 w 132"/>
              <a:gd name="T39" fmla="*/ 75 h 176"/>
              <a:gd name="T40" fmla="*/ 132 w 132"/>
              <a:gd name="T41" fmla="*/ 129 h 176"/>
              <a:gd name="T42" fmla="*/ 132 w 132"/>
              <a:gd name="T43" fmla="*/ 138 h 176"/>
              <a:gd name="T44" fmla="*/ 98 w 132"/>
              <a:gd name="T45" fmla="*/ 144 h 176"/>
              <a:gd name="T46" fmla="*/ 98 w 132"/>
              <a:gd name="T47" fmla="*/ 144 h 176"/>
              <a:gd name="T48" fmla="*/ 104 w 132"/>
              <a:gd name="T49" fmla="*/ 155 h 176"/>
              <a:gd name="T50" fmla="*/ 104 w 132"/>
              <a:gd name="T51" fmla="*/ 155 h 176"/>
              <a:gd name="T52" fmla="*/ 96 w 132"/>
              <a:gd name="T53" fmla="*/ 160 h 176"/>
              <a:gd name="T54" fmla="*/ 96 w 132"/>
              <a:gd name="T55" fmla="*/ 176 h 176"/>
              <a:gd name="T56" fmla="*/ 96 w 132"/>
              <a:gd name="T57" fmla="*/ 176 h 176"/>
              <a:gd name="T58" fmla="*/ 94 w 132"/>
              <a:gd name="T59" fmla="*/ 174 h 176"/>
              <a:gd name="T60" fmla="*/ 94 w 132"/>
              <a:gd name="T61" fmla="*/ 174 h 176"/>
              <a:gd name="T62" fmla="*/ 88 w 132"/>
              <a:gd name="T63" fmla="*/ 174 h 176"/>
              <a:gd name="T64" fmla="*/ 79 w 132"/>
              <a:gd name="T65" fmla="*/ 169 h 176"/>
              <a:gd name="T66" fmla="*/ 69 w 132"/>
              <a:gd name="T67" fmla="*/ 170 h 176"/>
              <a:gd name="T68" fmla="*/ 56 w 132"/>
              <a:gd name="T69" fmla="*/ 158 h 176"/>
              <a:gd name="T70" fmla="*/ 56 w 132"/>
              <a:gd name="T71" fmla="*/ 158 h 176"/>
              <a:gd name="T72" fmla="*/ 55 w 132"/>
              <a:gd name="T73" fmla="*/ 155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2" h="176">
                <a:moveTo>
                  <a:pt x="55" y="155"/>
                </a:moveTo>
                <a:cubicBezTo>
                  <a:pt x="57" y="152"/>
                  <a:pt x="58" y="152"/>
                  <a:pt x="60" y="149"/>
                </a:cubicBezTo>
                <a:cubicBezTo>
                  <a:pt x="55" y="145"/>
                  <a:pt x="50" y="143"/>
                  <a:pt x="46" y="138"/>
                </a:cubicBezTo>
                <a:cubicBezTo>
                  <a:pt x="32" y="145"/>
                  <a:pt x="28" y="123"/>
                  <a:pt x="10" y="121"/>
                </a:cubicBezTo>
                <a:cubicBezTo>
                  <a:pt x="12" y="112"/>
                  <a:pt x="7" y="107"/>
                  <a:pt x="7" y="101"/>
                </a:cubicBezTo>
                <a:cubicBezTo>
                  <a:pt x="7" y="94"/>
                  <a:pt x="16" y="98"/>
                  <a:pt x="16" y="90"/>
                </a:cubicBezTo>
                <a:cubicBezTo>
                  <a:pt x="16" y="79"/>
                  <a:pt x="0" y="78"/>
                  <a:pt x="0" y="67"/>
                </a:cubicBezTo>
                <a:cubicBezTo>
                  <a:pt x="0" y="58"/>
                  <a:pt x="4" y="54"/>
                  <a:pt x="14" y="52"/>
                </a:cubicBezTo>
                <a:cubicBezTo>
                  <a:pt x="14" y="41"/>
                  <a:pt x="14" y="36"/>
                  <a:pt x="14" y="29"/>
                </a:cubicBezTo>
                <a:cubicBezTo>
                  <a:pt x="14" y="24"/>
                  <a:pt x="8" y="26"/>
                  <a:pt x="8" y="21"/>
                </a:cubicBezTo>
                <a:cubicBezTo>
                  <a:pt x="8" y="19"/>
                  <a:pt x="16" y="2"/>
                  <a:pt x="18" y="2"/>
                </a:cubicBezTo>
                <a:cubicBezTo>
                  <a:pt x="21" y="2"/>
                  <a:pt x="23" y="8"/>
                  <a:pt x="28" y="8"/>
                </a:cubicBezTo>
                <a:cubicBezTo>
                  <a:pt x="35" y="8"/>
                  <a:pt x="31" y="0"/>
                  <a:pt x="39" y="0"/>
                </a:cubicBezTo>
                <a:cubicBezTo>
                  <a:pt x="44" y="0"/>
                  <a:pt x="46" y="3"/>
                  <a:pt x="50" y="8"/>
                </a:cubicBezTo>
                <a:cubicBezTo>
                  <a:pt x="50" y="13"/>
                  <a:pt x="55" y="19"/>
                  <a:pt x="60" y="19"/>
                </a:cubicBezTo>
                <a:cubicBezTo>
                  <a:pt x="64" y="19"/>
                  <a:pt x="64" y="16"/>
                  <a:pt x="69" y="15"/>
                </a:cubicBezTo>
                <a:cubicBezTo>
                  <a:pt x="71" y="29"/>
                  <a:pt x="77" y="24"/>
                  <a:pt x="87" y="27"/>
                </a:cubicBezTo>
                <a:cubicBezTo>
                  <a:pt x="90" y="30"/>
                  <a:pt x="89" y="32"/>
                  <a:pt x="90" y="36"/>
                </a:cubicBezTo>
                <a:cubicBezTo>
                  <a:pt x="95" y="47"/>
                  <a:pt x="110" y="50"/>
                  <a:pt x="110" y="62"/>
                </a:cubicBezTo>
                <a:cubicBezTo>
                  <a:pt x="110" y="69"/>
                  <a:pt x="106" y="70"/>
                  <a:pt x="106" y="75"/>
                </a:cubicBezTo>
                <a:cubicBezTo>
                  <a:pt x="106" y="99"/>
                  <a:pt x="132" y="110"/>
                  <a:pt x="132" y="129"/>
                </a:cubicBezTo>
                <a:cubicBezTo>
                  <a:pt x="132" y="133"/>
                  <a:pt x="132" y="134"/>
                  <a:pt x="132" y="138"/>
                </a:cubicBezTo>
                <a:cubicBezTo>
                  <a:pt x="123" y="144"/>
                  <a:pt x="112" y="144"/>
                  <a:pt x="98" y="144"/>
                </a:cubicBezTo>
                <a:cubicBezTo>
                  <a:pt x="98" y="144"/>
                  <a:pt x="98" y="144"/>
                  <a:pt x="98" y="144"/>
                </a:cubicBezTo>
                <a:cubicBezTo>
                  <a:pt x="104" y="155"/>
                  <a:pt x="104" y="155"/>
                  <a:pt x="104" y="155"/>
                </a:cubicBezTo>
                <a:cubicBezTo>
                  <a:pt x="104" y="155"/>
                  <a:pt x="104" y="155"/>
                  <a:pt x="104" y="155"/>
                </a:cubicBezTo>
                <a:cubicBezTo>
                  <a:pt x="100" y="157"/>
                  <a:pt x="96" y="157"/>
                  <a:pt x="96" y="160"/>
                </a:cubicBezTo>
                <a:cubicBezTo>
                  <a:pt x="96" y="170"/>
                  <a:pt x="93" y="168"/>
                  <a:pt x="96" y="176"/>
                </a:cubicBezTo>
                <a:cubicBezTo>
                  <a:pt x="96" y="176"/>
                  <a:pt x="96" y="176"/>
                  <a:pt x="96" y="176"/>
                </a:cubicBezTo>
                <a:cubicBezTo>
                  <a:pt x="94" y="174"/>
                  <a:pt x="94" y="174"/>
                  <a:pt x="94" y="174"/>
                </a:cubicBezTo>
                <a:cubicBezTo>
                  <a:pt x="94" y="174"/>
                  <a:pt x="94" y="174"/>
                  <a:pt x="94" y="174"/>
                </a:cubicBezTo>
                <a:cubicBezTo>
                  <a:pt x="93" y="174"/>
                  <a:pt x="90" y="174"/>
                  <a:pt x="88" y="174"/>
                </a:cubicBezTo>
                <a:cubicBezTo>
                  <a:pt x="85" y="174"/>
                  <a:pt x="84" y="169"/>
                  <a:pt x="79" y="169"/>
                </a:cubicBezTo>
                <a:cubicBezTo>
                  <a:pt x="78" y="169"/>
                  <a:pt x="74" y="169"/>
                  <a:pt x="69" y="170"/>
                </a:cubicBezTo>
                <a:cubicBezTo>
                  <a:pt x="67" y="163"/>
                  <a:pt x="63" y="158"/>
                  <a:pt x="56" y="158"/>
                </a:cubicBezTo>
                <a:cubicBezTo>
                  <a:pt x="56" y="158"/>
                  <a:pt x="56" y="158"/>
                  <a:pt x="56" y="158"/>
                </a:cubicBezTo>
                <a:cubicBezTo>
                  <a:pt x="55" y="155"/>
                  <a:pt x="55" y="155"/>
                  <a:pt x="55" y="155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9" name="Freeform 141"/>
          <p:cNvSpPr>
            <a:spLocks/>
          </p:cNvSpPr>
          <p:nvPr/>
        </p:nvSpPr>
        <p:spPr bwMode="auto">
          <a:xfrm>
            <a:off x="7775365" y="3298876"/>
            <a:ext cx="1150586" cy="1402538"/>
          </a:xfrm>
          <a:custGeom>
            <a:avLst/>
            <a:gdLst>
              <a:gd name="T0" fmla="*/ 170 w 254"/>
              <a:gd name="T1" fmla="*/ 3 h 309"/>
              <a:gd name="T2" fmla="*/ 141 w 254"/>
              <a:gd name="T3" fmla="*/ 63 h 309"/>
              <a:gd name="T4" fmla="*/ 121 w 254"/>
              <a:gd name="T5" fmla="*/ 93 h 309"/>
              <a:gd name="T6" fmla="*/ 95 w 254"/>
              <a:gd name="T7" fmla="*/ 109 h 309"/>
              <a:gd name="T8" fmla="*/ 103 w 254"/>
              <a:gd name="T9" fmla="*/ 131 h 309"/>
              <a:gd name="T10" fmla="*/ 95 w 254"/>
              <a:gd name="T11" fmla="*/ 146 h 309"/>
              <a:gd name="T12" fmla="*/ 100 w 254"/>
              <a:gd name="T13" fmla="*/ 157 h 309"/>
              <a:gd name="T14" fmla="*/ 77 w 254"/>
              <a:gd name="T15" fmla="*/ 174 h 309"/>
              <a:gd name="T16" fmla="*/ 61 w 254"/>
              <a:gd name="T17" fmla="*/ 194 h 309"/>
              <a:gd name="T18" fmla="*/ 50 w 254"/>
              <a:gd name="T19" fmla="*/ 191 h 309"/>
              <a:gd name="T20" fmla="*/ 31 w 254"/>
              <a:gd name="T21" fmla="*/ 211 h 309"/>
              <a:gd name="T22" fmla="*/ 18 w 254"/>
              <a:gd name="T23" fmla="*/ 212 h 309"/>
              <a:gd name="T24" fmla="*/ 0 w 254"/>
              <a:gd name="T25" fmla="*/ 242 h 309"/>
              <a:gd name="T26" fmla="*/ 36 w 254"/>
              <a:gd name="T27" fmla="*/ 267 h 309"/>
              <a:gd name="T28" fmla="*/ 46 w 254"/>
              <a:gd name="T29" fmla="*/ 264 h 309"/>
              <a:gd name="T30" fmla="*/ 75 w 254"/>
              <a:gd name="T31" fmla="*/ 282 h 309"/>
              <a:gd name="T32" fmla="*/ 101 w 254"/>
              <a:gd name="T33" fmla="*/ 287 h 309"/>
              <a:gd name="T34" fmla="*/ 116 w 254"/>
              <a:gd name="T35" fmla="*/ 298 h 309"/>
              <a:gd name="T36" fmla="*/ 133 w 254"/>
              <a:gd name="T37" fmla="*/ 290 h 309"/>
              <a:gd name="T38" fmla="*/ 175 w 254"/>
              <a:gd name="T39" fmla="*/ 309 h 309"/>
              <a:gd name="T40" fmla="*/ 190 w 254"/>
              <a:gd name="T41" fmla="*/ 301 h 309"/>
              <a:gd name="T42" fmla="*/ 203 w 254"/>
              <a:gd name="T43" fmla="*/ 304 h 309"/>
              <a:gd name="T44" fmla="*/ 203 w 254"/>
              <a:gd name="T45" fmla="*/ 281 h 309"/>
              <a:gd name="T46" fmla="*/ 218 w 254"/>
              <a:gd name="T47" fmla="*/ 260 h 309"/>
              <a:gd name="T48" fmla="*/ 218 w 254"/>
              <a:gd name="T49" fmla="*/ 260 h 309"/>
              <a:gd name="T50" fmla="*/ 246 w 254"/>
              <a:gd name="T51" fmla="*/ 260 h 309"/>
              <a:gd name="T52" fmla="*/ 246 w 254"/>
              <a:gd name="T53" fmla="*/ 260 h 309"/>
              <a:gd name="T54" fmla="*/ 254 w 254"/>
              <a:gd name="T55" fmla="*/ 224 h 309"/>
              <a:gd name="T56" fmla="*/ 246 w 254"/>
              <a:gd name="T57" fmla="*/ 189 h 309"/>
              <a:gd name="T58" fmla="*/ 221 w 254"/>
              <a:gd name="T59" fmla="*/ 168 h 309"/>
              <a:gd name="T60" fmla="*/ 223 w 254"/>
              <a:gd name="T61" fmla="*/ 155 h 309"/>
              <a:gd name="T62" fmla="*/ 223 w 254"/>
              <a:gd name="T63" fmla="*/ 133 h 309"/>
              <a:gd name="T64" fmla="*/ 219 w 254"/>
              <a:gd name="T65" fmla="*/ 95 h 309"/>
              <a:gd name="T66" fmla="*/ 223 w 254"/>
              <a:gd name="T67" fmla="*/ 75 h 309"/>
              <a:gd name="T68" fmla="*/ 212 w 254"/>
              <a:gd name="T69" fmla="*/ 56 h 309"/>
              <a:gd name="T70" fmla="*/ 178 w 254"/>
              <a:gd name="T71" fmla="*/ 8 h 309"/>
              <a:gd name="T72" fmla="*/ 171 w 254"/>
              <a:gd name="T73" fmla="*/ 0 h 309"/>
              <a:gd name="T74" fmla="*/ 171 w 254"/>
              <a:gd name="T75" fmla="*/ 0 h 309"/>
              <a:gd name="T76" fmla="*/ 170 w 254"/>
              <a:gd name="T77" fmla="*/ 3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54" h="309">
                <a:moveTo>
                  <a:pt x="170" y="3"/>
                </a:moveTo>
                <a:cubicBezTo>
                  <a:pt x="162" y="23"/>
                  <a:pt x="152" y="45"/>
                  <a:pt x="141" y="63"/>
                </a:cubicBezTo>
                <a:cubicBezTo>
                  <a:pt x="134" y="75"/>
                  <a:pt x="131" y="85"/>
                  <a:pt x="121" y="93"/>
                </a:cubicBezTo>
                <a:cubicBezTo>
                  <a:pt x="114" y="98"/>
                  <a:pt x="95" y="96"/>
                  <a:pt x="95" y="109"/>
                </a:cubicBezTo>
                <a:cubicBezTo>
                  <a:pt x="95" y="121"/>
                  <a:pt x="103" y="122"/>
                  <a:pt x="103" y="131"/>
                </a:cubicBezTo>
                <a:cubicBezTo>
                  <a:pt x="103" y="137"/>
                  <a:pt x="95" y="139"/>
                  <a:pt x="95" y="146"/>
                </a:cubicBezTo>
                <a:cubicBezTo>
                  <a:pt x="95" y="149"/>
                  <a:pt x="100" y="152"/>
                  <a:pt x="100" y="157"/>
                </a:cubicBezTo>
                <a:cubicBezTo>
                  <a:pt x="100" y="168"/>
                  <a:pt x="87" y="174"/>
                  <a:pt x="77" y="174"/>
                </a:cubicBezTo>
                <a:cubicBezTo>
                  <a:pt x="62" y="174"/>
                  <a:pt x="72" y="194"/>
                  <a:pt x="61" y="194"/>
                </a:cubicBezTo>
                <a:cubicBezTo>
                  <a:pt x="58" y="194"/>
                  <a:pt x="55" y="191"/>
                  <a:pt x="50" y="191"/>
                </a:cubicBezTo>
                <a:cubicBezTo>
                  <a:pt x="39" y="191"/>
                  <a:pt x="36" y="205"/>
                  <a:pt x="31" y="211"/>
                </a:cubicBezTo>
                <a:cubicBezTo>
                  <a:pt x="27" y="215"/>
                  <a:pt x="23" y="211"/>
                  <a:pt x="18" y="212"/>
                </a:cubicBezTo>
                <a:cubicBezTo>
                  <a:pt x="9" y="215"/>
                  <a:pt x="0" y="232"/>
                  <a:pt x="0" y="242"/>
                </a:cubicBezTo>
                <a:cubicBezTo>
                  <a:pt x="0" y="251"/>
                  <a:pt x="25" y="267"/>
                  <a:pt x="36" y="267"/>
                </a:cubicBezTo>
                <a:cubicBezTo>
                  <a:pt x="39" y="267"/>
                  <a:pt x="41" y="264"/>
                  <a:pt x="46" y="264"/>
                </a:cubicBezTo>
                <a:cubicBezTo>
                  <a:pt x="58" y="264"/>
                  <a:pt x="69" y="276"/>
                  <a:pt x="75" y="282"/>
                </a:cubicBezTo>
                <a:cubicBezTo>
                  <a:pt x="83" y="288"/>
                  <a:pt x="91" y="283"/>
                  <a:pt x="101" y="287"/>
                </a:cubicBezTo>
                <a:cubicBezTo>
                  <a:pt x="106" y="288"/>
                  <a:pt x="109" y="298"/>
                  <a:pt x="116" y="298"/>
                </a:cubicBezTo>
                <a:cubicBezTo>
                  <a:pt x="126" y="298"/>
                  <a:pt x="126" y="290"/>
                  <a:pt x="133" y="290"/>
                </a:cubicBezTo>
                <a:cubicBezTo>
                  <a:pt x="147" y="290"/>
                  <a:pt x="166" y="309"/>
                  <a:pt x="175" y="309"/>
                </a:cubicBezTo>
                <a:cubicBezTo>
                  <a:pt x="181" y="309"/>
                  <a:pt x="184" y="301"/>
                  <a:pt x="190" y="301"/>
                </a:cubicBezTo>
                <a:cubicBezTo>
                  <a:pt x="195" y="301"/>
                  <a:pt x="198" y="304"/>
                  <a:pt x="203" y="304"/>
                </a:cubicBezTo>
                <a:cubicBezTo>
                  <a:pt x="211" y="298"/>
                  <a:pt x="203" y="281"/>
                  <a:pt x="203" y="281"/>
                </a:cubicBezTo>
                <a:cubicBezTo>
                  <a:pt x="210" y="271"/>
                  <a:pt x="211" y="265"/>
                  <a:pt x="218" y="260"/>
                </a:cubicBezTo>
                <a:cubicBezTo>
                  <a:pt x="218" y="260"/>
                  <a:pt x="218" y="260"/>
                  <a:pt x="218" y="260"/>
                </a:cubicBezTo>
                <a:cubicBezTo>
                  <a:pt x="246" y="260"/>
                  <a:pt x="246" y="260"/>
                  <a:pt x="246" y="260"/>
                </a:cubicBezTo>
                <a:cubicBezTo>
                  <a:pt x="246" y="260"/>
                  <a:pt x="246" y="260"/>
                  <a:pt x="246" y="260"/>
                </a:cubicBezTo>
                <a:cubicBezTo>
                  <a:pt x="254" y="249"/>
                  <a:pt x="253" y="239"/>
                  <a:pt x="254" y="224"/>
                </a:cubicBezTo>
                <a:cubicBezTo>
                  <a:pt x="254" y="224"/>
                  <a:pt x="250" y="199"/>
                  <a:pt x="246" y="189"/>
                </a:cubicBezTo>
                <a:cubicBezTo>
                  <a:pt x="243" y="176"/>
                  <a:pt x="224" y="180"/>
                  <a:pt x="221" y="168"/>
                </a:cubicBezTo>
                <a:cubicBezTo>
                  <a:pt x="219" y="163"/>
                  <a:pt x="223" y="158"/>
                  <a:pt x="223" y="155"/>
                </a:cubicBezTo>
                <a:cubicBezTo>
                  <a:pt x="223" y="152"/>
                  <a:pt x="223" y="141"/>
                  <a:pt x="223" y="133"/>
                </a:cubicBezTo>
                <a:cubicBezTo>
                  <a:pt x="223" y="120"/>
                  <a:pt x="219" y="109"/>
                  <a:pt x="219" y="95"/>
                </a:cubicBezTo>
                <a:cubicBezTo>
                  <a:pt x="219" y="88"/>
                  <a:pt x="223" y="83"/>
                  <a:pt x="223" y="75"/>
                </a:cubicBezTo>
                <a:cubicBezTo>
                  <a:pt x="223" y="67"/>
                  <a:pt x="216" y="62"/>
                  <a:pt x="212" y="56"/>
                </a:cubicBezTo>
                <a:cubicBezTo>
                  <a:pt x="205" y="34"/>
                  <a:pt x="185" y="32"/>
                  <a:pt x="178" y="8"/>
                </a:cubicBezTo>
                <a:cubicBezTo>
                  <a:pt x="178" y="7"/>
                  <a:pt x="171" y="3"/>
                  <a:pt x="171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0" y="3"/>
                  <a:pt x="170" y="3"/>
                  <a:pt x="170" y="3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0" name="Freeform 142"/>
          <p:cNvSpPr>
            <a:spLocks/>
          </p:cNvSpPr>
          <p:nvPr/>
        </p:nvSpPr>
        <p:spPr bwMode="auto">
          <a:xfrm>
            <a:off x="8167293" y="4614630"/>
            <a:ext cx="839845" cy="599087"/>
          </a:xfrm>
          <a:custGeom>
            <a:avLst/>
            <a:gdLst>
              <a:gd name="T0" fmla="*/ 185 w 185"/>
              <a:gd name="T1" fmla="*/ 119 h 132"/>
              <a:gd name="T2" fmla="*/ 168 w 185"/>
              <a:gd name="T3" fmla="*/ 121 h 132"/>
              <a:gd name="T4" fmla="*/ 159 w 185"/>
              <a:gd name="T5" fmla="*/ 129 h 132"/>
              <a:gd name="T6" fmla="*/ 113 w 185"/>
              <a:gd name="T7" fmla="*/ 129 h 132"/>
              <a:gd name="T8" fmla="*/ 104 w 185"/>
              <a:gd name="T9" fmla="*/ 132 h 132"/>
              <a:gd name="T10" fmla="*/ 92 w 185"/>
              <a:gd name="T11" fmla="*/ 123 h 132"/>
              <a:gd name="T12" fmla="*/ 76 w 185"/>
              <a:gd name="T13" fmla="*/ 130 h 132"/>
              <a:gd name="T14" fmla="*/ 73 w 185"/>
              <a:gd name="T15" fmla="*/ 127 h 132"/>
              <a:gd name="T16" fmla="*/ 73 w 185"/>
              <a:gd name="T17" fmla="*/ 127 h 132"/>
              <a:gd name="T18" fmla="*/ 63 w 185"/>
              <a:gd name="T19" fmla="*/ 127 h 132"/>
              <a:gd name="T20" fmla="*/ 63 w 185"/>
              <a:gd name="T21" fmla="*/ 127 h 132"/>
              <a:gd name="T22" fmla="*/ 23 w 185"/>
              <a:gd name="T23" fmla="*/ 120 h 132"/>
              <a:gd name="T24" fmla="*/ 23 w 185"/>
              <a:gd name="T25" fmla="*/ 120 h 132"/>
              <a:gd name="T26" fmla="*/ 22 w 185"/>
              <a:gd name="T27" fmla="*/ 111 h 132"/>
              <a:gd name="T28" fmla="*/ 22 w 185"/>
              <a:gd name="T29" fmla="*/ 111 h 132"/>
              <a:gd name="T30" fmla="*/ 27 w 185"/>
              <a:gd name="T31" fmla="*/ 97 h 132"/>
              <a:gd name="T32" fmla="*/ 27 w 185"/>
              <a:gd name="T33" fmla="*/ 91 h 132"/>
              <a:gd name="T34" fmla="*/ 11 w 185"/>
              <a:gd name="T35" fmla="*/ 82 h 132"/>
              <a:gd name="T36" fmla="*/ 0 w 185"/>
              <a:gd name="T37" fmla="*/ 82 h 132"/>
              <a:gd name="T38" fmla="*/ 29 w 185"/>
              <a:gd name="T39" fmla="*/ 33 h 132"/>
              <a:gd name="T40" fmla="*/ 27 w 185"/>
              <a:gd name="T41" fmla="*/ 7 h 132"/>
              <a:gd name="T42" fmla="*/ 29 w 185"/>
              <a:gd name="T43" fmla="*/ 8 h 132"/>
              <a:gd name="T44" fmla="*/ 46 w 185"/>
              <a:gd name="T45" fmla="*/ 0 h 132"/>
              <a:gd name="T46" fmla="*/ 88 w 185"/>
              <a:gd name="T47" fmla="*/ 19 h 132"/>
              <a:gd name="T48" fmla="*/ 103 w 185"/>
              <a:gd name="T49" fmla="*/ 11 h 132"/>
              <a:gd name="T50" fmla="*/ 113 w 185"/>
              <a:gd name="T51" fmla="*/ 13 h 132"/>
              <a:gd name="T52" fmla="*/ 113 w 185"/>
              <a:gd name="T53" fmla="*/ 29 h 132"/>
              <a:gd name="T54" fmla="*/ 123 w 185"/>
              <a:gd name="T55" fmla="*/ 46 h 132"/>
              <a:gd name="T56" fmla="*/ 125 w 185"/>
              <a:gd name="T57" fmla="*/ 60 h 132"/>
              <a:gd name="T58" fmla="*/ 150 w 185"/>
              <a:gd name="T59" fmla="*/ 65 h 132"/>
              <a:gd name="T60" fmla="*/ 166 w 185"/>
              <a:gd name="T61" fmla="*/ 87 h 132"/>
              <a:gd name="T62" fmla="*/ 179 w 185"/>
              <a:gd name="T63" fmla="*/ 95 h 132"/>
              <a:gd name="T64" fmla="*/ 185 w 185"/>
              <a:gd name="T65" fmla="*/ 116 h 132"/>
              <a:gd name="T66" fmla="*/ 185 w 185"/>
              <a:gd name="T67" fmla="*/ 116 h 132"/>
              <a:gd name="T68" fmla="*/ 185 w 185"/>
              <a:gd name="T69" fmla="*/ 119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5" h="132">
                <a:moveTo>
                  <a:pt x="185" y="119"/>
                </a:moveTo>
                <a:cubicBezTo>
                  <a:pt x="179" y="121"/>
                  <a:pt x="175" y="124"/>
                  <a:pt x="168" y="121"/>
                </a:cubicBezTo>
                <a:cubicBezTo>
                  <a:pt x="167" y="126"/>
                  <a:pt x="164" y="129"/>
                  <a:pt x="159" y="129"/>
                </a:cubicBezTo>
                <a:cubicBezTo>
                  <a:pt x="159" y="129"/>
                  <a:pt x="116" y="129"/>
                  <a:pt x="113" y="129"/>
                </a:cubicBezTo>
                <a:cubicBezTo>
                  <a:pt x="108" y="129"/>
                  <a:pt x="105" y="131"/>
                  <a:pt x="104" y="132"/>
                </a:cubicBezTo>
                <a:cubicBezTo>
                  <a:pt x="102" y="130"/>
                  <a:pt x="99" y="123"/>
                  <a:pt x="92" y="123"/>
                </a:cubicBezTo>
                <a:cubicBezTo>
                  <a:pt x="86" y="123"/>
                  <a:pt x="82" y="130"/>
                  <a:pt x="76" y="130"/>
                </a:cubicBezTo>
                <a:cubicBezTo>
                  <a:pt x="75" y="130"/>
                  <a:pt x="73" y="129"/>
                  <a:pt x="73" y="127"/>
                </a:cubicBezTo>
                <a:cubicBezTo>
                  <a:pt x="73" y="127"/>
                  <a:pt x="73" y="127"/>
                  <a:pt x="73" y="127"/>
                </a:cubicBezTo>
                <a:cubicBezTo>
                  <a:pt x="63" y="127"/>
                  <a:pt x="63" y="127"/>
                  <a:pt x="63" y="127"/>
                </a:cubicBezTo>
                <a:cubicBezTo>
                  <a:pt x="63" y="127"/>
                  <a:pt x="63" y="127"/>
                  <a:pt x="63" y="127"/>
                </a:cubicBezTo>
                <a:cubicBezTo>
                  <a:pt x="49" y="132"/>
                  <a:pt x="38" y="120"/>
                  <a:pt x="23" y="120"/>
                </a:cubicBezTo>
                <a:cubicBezTo>
                  <a:pt x="23" y="120"/>
                  <a:pt x="23" y="120"/>
                  <a:pt x="23" y="120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4" y="105"/>
                  <a:pt x="27" y="103"/>
                  <a:pt x="27" y="97"/>
                </a:cubicBezTo>
                <a:cubicBezTo>
                  <a:pt x="27" y="94"/>
                  <a:pt x="27" y="92"/>
                  <a:pt x="27" y="91"/>
                </a:cubicBezTo>
                <a:cubicBezTo>
                  <a:pt x="18" y="91"/>
                  <a:pt x="11" y="92"/>
                  <a:pt x="11" y="82"/>
                </a:cubicBezTo>
                <a:cubicBezTo>
                  <a:pt x="7" y="83"/>
                  <a:pt x="4" y="83"/>
                  <a:pt x="0" y="82"/>
                </a:cubicBezTo>
                <a:cubicBezTo>
                  <a:pt x="3" y="62"/>
                  <a:pt x="29" y="55"/>
                  <a:pt x="29" y="33"/>
                </a:cubicBezTo>
                <a:cubicBezTo>
                  <a:pt x="29" y="25"/>
                  <a:pt x="28" y="14"/>
                  <a:pt x="27" y="7"/>
                </a:cubicBezTo>
                <a:cubicBezTo>
                  <a:pt x="29" y="8"/>
                  <a:pt x="29" y="8"/>
                  <a:pt x="29" y="8"/>
                </a:cubicBezTo>
                <a:cubicBezTo>
                  <a:pt x="39" y="8"/>
                  <a:pt x="39" y="0"/>
                  <a:pt x="46" y="0"/>
                </a:cubicBezTo>
                <a:cubicBezTo>
                  <a:pt x="60" y="0"/>
                  <a:pt x="79" y="19"/>
                  <a:pt x="88" y="19"/>
                </a:cubicBezTo>
                <a:cubicBezTo>
                  <a:pt x="94" y="19"/>
                  <a:pt x="97" y="11"/>
                  <a:pt x="103" y="11"/>
                </a:cubicBezTo>
                <a:cubicBezTo>
                  <a:pt x="107" y="11"/>
                  <a:pt x="109" y="12"/>
                  <a:pt x="113" y="13"/>
                </a:cubicBezTo>
                <a:cubicBezTo>
                  <a:pt x="113" y="20"/>
                  <a:pt x="113" y="24"/>
                  <a:pt x="113" y="29"/>
                </a:cubicBezTo>
                <a:cubicBezTo>
                  <a:pt x="113" y="39"/>
                  <a:pt x="118" y="36"/>
                  <a:pt x="123" y="46"/>
                </a:cubicBezTo>
                <a:cubicBezTo>
                  <a:pt x="125" y="51"/>
                  <a:pt x="120" y="57"/>
                  <a:pt x="125" y="60"/>
                </a:cubicBezTo>
                <a:cubicBezTo>
                  <a:pt x="134" y="66"/>
                  <a:pt x="140" y="61"/>
                  <a:pt x="150" y="65"/>
                </a:cubicBezTo>
                <a:cubicBezTo>
                  <a:pt x="158" y="68"/>
                  <a:pt x="161" y="79"/>
                  <a:pt x="166" y="87"/>
                </a:cubicBezTo>
                <a:cubicBezTo>
                  <a:pt x="169" y="92"/>
                  <a:pt x="177" y="92"/>
                  <a:pt x="179" y="95"/>
                </a:cubicBezTo>
                <a:cubicBezTo>
                  <a:pt x="182" y="102"/>
                  <a:pt x="179" y="113"/>
                  <a:pt x="185" y="116"/>
                </a:cubicBezTo>
                <a:cubicBezTo>
                  <a:pt x="185" y="116"/>
                  <a:pt x="185" y="116"/>
                  <a:pt x="185" y="116"/>
                </a:cubicBezTo>
                <a:cubicBezTo>
                  <a:pt x="185" y="119"/>
                  <a:pt x="185" y="119"/>
                  <a:pt x="185" y="119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1" name="Freeform 143"/>
          <p:cNvSpPr>
            <a:spLocks/>
          </p:cNvSpPr>
          <p:nvPr/>
        </p:nvSpPr>
        <p:spPr bwMode="auto">
          <a:xfrm>
            <a:off x="7573802" y="4497053"/>
            <a:ext cx="725065" cy="949023"/>
          </a:xfrm>
          <a:custGeom>
            <a:avLst/>
            <a:gdLst>
              <a:gd name="T0" fmla="*/ 22 w 160"/>
              <a:gd name="T1" fmla="*/ 209 h 209"/>
              <a:gd name="T2" fmla="*/ 51 w 160"/>
              <a:gd name="T3" fmla="*/ 208 h 209"/>
              <a:gd name="T4" fmla="*/ 67 w 160"/>
              <a:gd name="T5" fmla="*/ 176 h 209"/>
              <a:gd name="T6" fmla="*/ 96 w 160"/>
              <a:gd name="T7" fmla="*/ 187 h 209"/>
              <a:gd name="T8" fmla="*/ 101 w 160"/>
              <a:gd name="T9" fmla="*/ 181 h 209"/>
              <a:gd name="T10" fmla="*/ 83 w 160"/>
              <a:gd name="T11" fmla="*/ 163 h 209"/>
              <a:gd name="T12" fmla="*/ 83 w 160"/>
              <a:gd name="T13" fmla="*/ 163 h 209"/>
              <a:gd name="T14" fmla="*/ 83 w 160"/>
              <a:gd name="T15" fmla="*/ 157 h 209"/>
              <a:gd name="T16" fmla="*/ 83 w 160"/>
              <a:gd name="T17" fmla="*/ 157 h 209"/>
              <a:gd name="T18" fmla="*/ 94 w 160"/>
              <a:gd name="T19" fmla="*/ 155 h 209"/>
              <a:gd name="T20" fmla="*/ 83 w 160"/>
              <a:gd name="T21" fmla="*/ 145 h 209"/>
              <a:gd name="T22" fmla="*/ 96 w 160"/>
              <a:gd name="T23" fmla="*/ 131 h 209"/>
              <a:gd name="T24" fmla="*/ 124 w 160"/>
              <a:gd name="T25" fmla="*/ 146 h 209"/>
              <a:gd name="T26" fmla="*/ 154 w 160"/>
              <a:gd name="T27" fmla="*/ 146 h 209"/>
              <a:gd name="T28" fmla="*/ 154 w 160"/>
              <a:gd name="T29" fmla="*/ 146 h 209"/>
              <a:gd name="T30" fmla="*/ 153 w 160"/>
              <a:gd name="T31" fmla="*/ 137 h 209"/>
              <a:gd name="T32" fmla="*/ 153 w 160"/>
              <a:gd name="T33" fmla="*/ 137 h 209"/>
              <a:gd name="T34" fmla="*/ 158 w 160"/>
              <a:gd name="T35" fmla="*/ 123 h 209"/>
              <a:gd name="T36" fmla="*/ 158 w 160"/>
              <a:gd name="T37" fmla="*/ 117 h 209"/>
              <a:gd name="T38" fmla="*/ 142 w 160"/>
              <a:gd name="T39" fmla="*/ 108 h 209"/>
              <a:gd name="T40" fmla="*/ 131 w 160"/>
              <a:gd name="T41" fmla="*/ 108 h 209"/>
              <a:gd name="T42" fmla="*/ 160 w 160"/>
              <a:gd name="T43" fmla="*/ 59 h 209"/>
              <a:gd name="T44" fmla="*/ 156 w 160"/>
              <a:gd name="T45" fmla="*/ 33 h 209"/>
              <a:gd name="T46" fmla="*/ 145 w 160"/>
              <a:gd name="T47" fmla="*/ 23 h 209"/>
              <a:gd name="T48" fmla="*/ 119 w 160"/>
              <a:gd name="T49" fmla="*/ 18 h 209"/>
              <a:gd name="T50" fmla="*/ 90 w 160"/>
              <a:gd name="T51" fmla="*/ 0 h 209"/>
              <a:gd name="T52" fmla="*/ 87 w 160"/>
              <a:gd name="T53" fmla="*/ 1 h 209"/>
              <a:gd name="T54" fmla="*/ 81 w 160"/>
              <a:gd name="T55" fmla="*/ 26 h 209"/>
              <a:gd name="T56" fmla="*/ 85 w 160"/>
              <a:gd name="T57" fmla="*/ 39 h 209"/>
              <a:gd name="T58" fmla="*/ 58 w 160"/>
              <a:gd name="T59" fmla="*/ 43 h 209"/>
              <a:gd name="T60" fmla="*/ 51 w 160"/>
              <a:gd name="T61" fmla="*/ 53 h 209"/>
              <a:gd name="T62" fmla="*/ 42 w 160"/>
              <a:gd name="T63" fmla="*/ 43 h 209"/>
              <a:gd name="T64" fmla="*/ 31 w 160"/>
              <a:gd name="T65" fmla="*/ 43 h 209"/>
              <a:gd name="T66" fmla="*/ 38 w 160"/>
              <a:gd name="T67" fmla="*/ 30 h 209"/>
              <a:gd name="T68" fmla="*/ 26 w 160"/>
              <a:gd name="T69" fmla="*/ 24 h 209"/>
              <a:gd name="T70" fmla="*/ 10 w 160"/>
              <a:gd name="T71" fmla="*/ 40 h 209"/>
              <a:gd name="T72" fmla="*/ 30 w 160"/>
              <a:gd name="T73" fmla="*/ 70 h 209"/>
              <a:gd name="T74" fmla="*/ 48 w 160"/>
              <a:gd name="T75" fmla="*/ 75 h 209"/>
              <a:gd name="T76" fmla="*/ 70 w 160"/>
              <a:gd name="T77" fmla="*/ 70 h 209"/>
              <a:gd name="T78" fmla="*/ 70 w 160"/>
              <a:gd name="T79" fmla="*/ 70 h 209"/>
              <a:gd name="T80" fmla="*/ 76 w 160"/>
              <a:gd name="T81" fmla="*/ 70 h 209"/>
              <a:gd name="T82" fmla="*/ 76 w 160"/>
              <a:gd name="T83" fmla="*/ 70 h 209"/>
              <a:gd name="T84" fmla="*/ 59 w 160"/>
              <a:gd name="T85" fmla="*/ 104 h 209"/>
              <a:gd name="T86" fmla="*/ 48 w 160"/>
              <a:gd name="T87" fmla="*/ 101 h 209"/>
              <a:gd name="T88" fmla="*/ 26 w 160"/>
              <a:gd name="T89" fmla="*/ 115 h 209"/>
              <a:gd name="T90" fmla="*/ 15 w 160"/>
              <a:gd name="T91" fmla="*/ 145 h 209"/>
              <a:gd name="T92" fmla="*/ 0 w 160"/>
              <a:gd name="T93" fmla="*/ 168 h 209"/>
              <a:gd name="T94" fmla="*/ 8 w 160"/>
              <a:gd name="T95" fmla="*/ 176 h 209"/>
              <a:gd name="T96" fmla="*/ 16 w 160"/>
              <a:gd name="T97" fmla="*/ 176 h 209"/>
              <a:gd name="T98" fmla="*/ 35 w 160"/>
              <a:gd name="T99" fmla="*/ 189 h 209"/>
              <a:gd name="T100" fmla="*/ 24 w 160"/>
              <a:gd name="T101" fmla="*/ 200 h 209"/>
              <a:gd name="T102" fmla="*/ 24 w 160"/>
              <a:gd name="T103" fmla="*/ 200 h 209"/>
              <a:gd name="T104" fmla="*/ 24 w 160"/>
              <a:gd name="T105" fmla="*/ 205 h 209"/>
              <a:gd name="T106" fmla="*/ 22 w 160"/>
              <a:gd name="T107" fmla="*/ 20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60" h="209">
                <a:moveTo>
                  <a:pt x="22" y="209"/>
                </a:moveTo>
                <a:cubicBezTo>
                  <a:pt x="22" y="199"/>
                  <a:pt x="51" y="208"/>
                  <a:pt x="51" y="208"/>
                </a:cubicBezTo>
                <a:cubicBezTo>
                  <a:pt x="55" y="197"/>
                  <a:pt x="53" y="176"/>
                  <a:pt x="67" y="176"/>
                </a:cubicBezTo>
                <a:cubicBezTo>
                  <a:pt x="79" y="176"/>
                  <a:pt x="84" y="187"/>
                  <a:pt x="96" y="187"/>
                </a:cubicBezTo>
                <a:cubicBezTo>
                  <a:pt x="100" y="187"/>
                  <a:pt x="101" y="184"/>
                  <a:pt x="101" y="181"/>
                </a:cubicBezTo>
                <a:cubicBezTo>
                  <a:pt x="101" y="176"/>
                  <a:pt x="85" y="168"/>
                  <a:pt x="83" y="163"/>
                </a:cubicBezTo>
                <a:cubicBezTo>
                  <a:pt x="83" y="163"/>
                  <a:pt x="83" y="163"/>
                  <a:pt x="83" y="163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89" y="157"/>
                  <a:pt x="91" y="157"/>
                  <a:pt x="94" y="155"/>
                </a:cubicBezTo>
                <a:cubicBezTo>
                  <a:pt x="91" y="151"/>
                  <a:pt x="83" y="150"/>
                  <a:pt x="83" y="145"/>
                </a:cubicBezTo>
                <a:cubicBezTo>
                  <a:pt x="83" y="139"/>
                  <a:pt x="89" y="131"/>
                  <a:pt x="96" y="131"/>
                </a:cubicBezTo>
                <a:cubicBezTo>
                  <a:pt x="100" y="131"/>
                  <a:pt x="121" y="142"/>
                  <a:pt x="124" y="146"/>
                </a:cubicBezTo>
                <a:cubicBezTo>
                  <a:pt x="140" y="146"/>
                  <a:pt x="145" y="146"/>
                  <a:pt x="154" y="146"/>
                </a:cubicBezTo>
                <a:cubicBezTo>
                  <a:pt x="154" y="146"/>
                  <a:pt x="154" y="146"/>
                  <a:pt x="154" y="146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5" y="131"/>
                  <a:pt x="158" y="129"/>
                  <a:pt x="158" y="123"/>
                </a:cubicBezTo>
                <a:cubicBezTo>
                  <a:pt x="158" y="120"/>
                  <a:pt x="158" y="118"/>
                  <a:pt x="158" y="117"/>
                </a:cubicBezTo>
                <a:cubicBezTo>
                  <a:pt x="149" y="117"/>
                  <a:pt x="142" y="118"/>
                  <a:pt x="142" y="108"/>
                </a:cubicBezTo>
                <a:cubicBezTo>
                  <a:pt x="138" y="109"/>
                  <a:pt x="135" y="109"/>
                  <a:pt x="131" y="108"/>
                </a:cubicBezTo>
                <a:cubicBezTo>
                  <a:pt x="134" y="88"/>
                  <a:pt x="160" y="81"/>
                  <a:pt x="160" y="59"/>
                </a:cubicBezTo>
                <a:cubicBezTo>
                  <a:pt x="160" y="51"/>
                  <a:pt x="159" y="40"/>
                  <a:pt x="156" y="33"/>
                </a:cubicBezTo>
                <a:cubicBezTo>
                  <a:pt x="151" y="30"/>
                  <a:pt x="150" y="24"/>
                  <a:pt x="145" y="23"/>
                </a:cubicBezTo>
                <a:cubicBezTo>
                  <a:pt x="135" y="19"/>
                  <a:pt x="127" y="24"/>
                  <a:pt x="119" y="18"/>
                </a:cubicBezTo>
                <a:cubicBezTo>
                  <a:pt x="113" y="12"/>
                  <a:pt x="102" y="0"/>
                  <a:pt x="90" y="0"/>
                </a:cubicBezTo>
                <a:cubicBezTo>
                  <a:pt x="89" y="0"/>
                  <a:pt x="89" y="0"/>
                  <a:pt x="87" y="1"/>
                </a:cubicBezTo>
                <a:cubicBezTo>
                  <a:pt x="87" y="12"/>
                  <a:pt x="81" y="14"/>
                  <a:pt x="81" y="26"/>
                </a:cubicBezTo>
                <a:cubicBezTo>
                  <a:pt x="81" y="33"/>
                  <a:pt x="83" y="35"/>
                  <a:pt x="85" y="39"/>
                </a:cubicBezTo>
                <a:cubicBezTo>
                  <a:pt x="80" y="45"/>
                  <a:pt x="64" y="43"/>
                  <a:pt x="58" y="43"/>
                </a:cubicBezTo>
                <a:cubicBezTo>
                  <a:pt x="57" y="49"/>
                  <a:pt x="55" y="53"/>
                  <a:pt x="51" y="53"/>
                </a:cubicBezTo>
                <a:cubicBezTo>
                  <a:pt x="44" y="53"/>
                  <a:pt x="43" y="45"/>
                  <a:pt x="42" y="43"/>
                </a:cubicBezTo>
                <a:cubicBezTo>
                  <a:pt x="37" y="43"/>
                  <a:pt x="36" y="45"/>
                  <a:pt x="31" y="43"/>
                </a:cubicBezTo>
                <a:cubicBezTo>
                  <a:pt x="33" y="37"/>
                  <a:pt x="38" y="37"/>
                  <a:pt x="38" y="30"/>
                </a:cubicBezTo>
                <a:cubicBezTo>
                  <a:pt x="38" y="24"/>
                  <a:pt x="31" y="24"/>
                  <a:pt x="26" y="24"/>
                </a:cubicBezTo>
                <a:cubicBezTo>
                  <a:pt x="15" y="24"/>
                  <a:pt x="10" y="29"/>
                  <a:pt x="10" y="40"/>
                </a:cubicBezTo>
                <a:cubicBezTo>
                  <a:pt x="10" y="60"/>
                  <a:pt x="15" y="70"/>
                  <a:pt x="30" y="70"/>
                </a:cubicBezTo>
                <a:cubicBezTo>
                  <a:pt x="37" y="70"/>
                  <a:pt x="39" y="75"/>
                  <a:pt x="48" y="75"/>
                </a:cubicBezTo>
                <a:cubicBezTo>
                  <a:pt x="58" y="75"/>
                  <a:pt x="67" y="72"/>
                  <a:pt x="70" y="70"/>
                </a:cubicBezTo>
                <a:cubicBezTo>
                  <a:pt x="70" y="70"/>
                  <a:pt x="70" y="70"/>
                  <a:pt x="70" y="70"/>
                </a:cubicBezTo>
                <a:cubicBezTo>
                  <a:pt x="76" y="70"/>
                  <a:pt x="76" y="70"/>
                  <a:pt x="76" y="70"/>
                </a:cubicBezTo>
                <a:cubicBezTo>
                  <a:pt x="76" y="70"/>
                  <a:pt x="76" y="70"/>
                  <a:pt x="76" y="70"/>
                </a:cubicBezTo>
                <a:cubicBezTo>
                  <a:pt x="76" y="74"/>
                  <a:pt x="63" y="104"/>
                  <a:pt x="59" y="104"/>
                </a:cubicBezTo>
                <a:cubicBezTo>
                  <a:pt x="55" y="104"/>
                  <a:pt x="52" y="101"/>
                  <a:pt x="48" y="101"/>
                </a:cubicBezTo>
                <a:cubicBezTo>
                  <a:pt x="43" y="101"/>
                  <a:pt x="27" y="113"/>
                  <a:pt x="26" y="115"/>
                </a:cubicBezTo>
                <a:cubicBezTo>
                  <a:pt x="16" y="128"/>
                  <a:pt x="25" y="131"/>
                  <a:pt x="15" y="145"/>
                </a:cubicBezTo>
                <a:cubicBezTo>
                  <a:pt x="9" y="153"/>
                  <a:pt x="0" y="157"/>
                  <a:pt x="0" y="168"/>
                </a:cubicBezTo>
                <a:cubicBezTo>
                  <a:pt x="0" y="173"/>
                  <a:pt x="4" y="176"/>
                  <a:pt x="8" y="176"/>
                </a:cubicBezTo>
                <a:cubicBezTo>
                  <a:pt x="10" y="176"/>
                  <a:pt x="12" y="176"/>
                  <a:pt x="16" y="176"/>
                </a:cubicBezTo>
                <a:cubicBezTo>
                  <a:pt x="20" y="176"/>
                  <a:pt x="35" y="181"/>
                  <a:pt x="35" y="189"/>
                </a:cubicBezTo>
                <a:cubicBezTo>
                  <a:pt x="35" y="190"/>
                  <a:pt x="26" y="198"/>
                  <a:pt x="24" y="200"/>
                </a:cubicBezTo>
                <a:cubicBezTo>
                  <a:pt x="24" y="200"/>
                  <a:pt x="24" y="200"/>
                  <a:pt x="24" y="200"/>
                </a:cubicBezTo>
                <a:cubicBezTo>
                  <a:pt x="24" y="205"/>
                  <a:pt x="24" y="205"/>
                  <a:pt x="24" y="205"/>
                </a:cubicBezTo>
                <a:cubicBezTo>
                  <a:pt x="22" y="209"/>
                  <a:pt x="22" y="209"/>
                  <a:pt x="22" y="209"/>
                </a:cubicBezTo>
                <a:close/>
              </a:path>
            </a:pathLst>
          </a:custGeom>
          <a:solidFill>
            <a:srgbClr val="D3D3D3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2" name="Freeform 144"/>
          <p:cNvSpPr>
            <a:spLocks/>
          </p:cNvSpPr>
          <p:nvPr/>
        </p:nvSpPr>
        <p:spPr bwMode="auto">
          <a:xfrm>
            <a:off x="7447827" y="3142105"/>
            <a:ext cx="1074998" cy="1265364"/>
          </a:xfrm>
          <a:custGeom>
            <a:avLst/>
            <a:gdLst>
              <a:gd name="T0" fmla="*/ 120 w 237"/>
              <a:gd name="T1" fmla="*/ 37 h 279"/>
              <a:gd name="T2" fmla="*/ 99 w 237"/>
              <a:gd name="T3" fmla="*/ 23 h 279"/>
              <a:gd name="T4" fmla="*/ 95 w 237"/>
              <a:gd name="T5" fmla="*/ 23 h 279"/>
              <a:gd name="T6" fmla="*/ 92 w 237"/>
              <a:gd name="T7" fmla="*/ 15 h 279"/>
              <a:gd name="T8" fmla="*/ 67 w 237"/>
              <a:gd name="T9" fmla="*/ 5 h 279"/>
              <a:gd name="T10" fmla="*/ 61 w 237"/>
              <a:gd name="T11" fmla="*/ 5 h 279"/>
              <a:gd name="T12" fmla="*/ 53 w 237"/>
              <a:gd name="T13" fmla="*/ 5 h 279"/>
              <a:gd name="T14" fmla="*/ 55 w 237"/>
              <a:gd name="T15" fmla="*/ 23 h 279"/>
              <a:gd name="T16" fmla="*/ 48 w 237"/>
              <a:gd name="T17" fmla="*/ 29 h 279"/>
              <a:gd name="T18" fmla="*/ 48 w 237"/>
              <a:gd name="T19" fmla="*/ 29 h 279"/>
              <a:gd name="T20" fmla="*/ 50 w 237"/>
              <a:gd name="T21" fmla="*/ 29 h 279"/>
              <a:gd name="T22" fmla="*/ 50 w 237"/>
              <a:gd name="T23" fmla="*/ 29 h 279"/>
              <a:gd name="T24" fmla="*/ 75 w 237"/>
              <a:gd name="T25" fmla="*/ 59 h 279"/>
              <a:gd name="T26" fmla="*/ 49 w 237"/>
              <a:gd name="T27" fmla="*/ 92 h 279"/>
              <a:gd name="T28" fmla="*/ 49 w 237"/>
              <a:gd name="T29" fmla="*/ 117 h 279"/>
              <a:gd name="T30" fmla="*/ 49 w 237"/>
              <a:gd name="T31" fmla="*/ 117 h 279"/>
              <a:gd name="T32" fmla="*/ 45 w 237"/>
              <a:gd name="T33" fmla="*/ 119 h 279"/>
              <a:gd name="T34" fmla="*/ 45 w 237"/>
              <a:gd name="T35" fmla="*/ 119 h 279"/>
              <a:gd name="T36" fmla="*/ 24 w 237"/>
              <a:gd name="T37" fmla="*/ 181 h 279"/>
              <a:gd name="T38" fmla="*/ 18 w 237"/>
              <a:gd name="T39" fmla="*/ 203 h 279"/>
              <a:gd name="T40" fmla="*/ 0 w 237"/>
              <a:gd name="T41" fmla="*/ 216 h 279"/>
              <a:gd name="T42" fmla="*/ 13 w 237"/>
              <a:gd name="T43" fmla="*/ 227 h 279"/>
              <a:gd name="T44" fmla="*/ 27 w 237"/>
              <a:gd name="T45" fmla="*/ 247 h 279"/>
              <a:gd name="T46" fmla="*/ 42 w 237"/>
              <a:gd name="T47" fmla="*/ 251 h 279"/>
              <a:gd name="T48" fmla="*/ 54 w 237"/>
              <a:gd name="T49" fmla="*/ 259 h 279"/>
              <a:gd name="T50" fmla="*/ 63 w 237"/>
              <a:gd name="T51" fmla="*/ 275 h 279"/>
              <a:gd name="T52" fmla="*/ 72 w 237"/>
              <a:gd name="T53" fmla="*/ 275 h 279"/>
              <a:gd name="T54" fmla="*/ 90 w 237"/>
              <a:gd name="T55" fmla="*/ 247 h 279"/>
              <a:gd name="T56" fmla="*/ 103 w 237"/>
              <a:gd name="T57" fmla="*/ 246 h 279"/>
              <a:gd name="T58" fmla="*/ 122 w 237"/>
              <a:gd name="T59" fmla="*/ 226 h 279"/>
              <a:gd name="T60" fmla="*/ 133 w 237"/>
              <a:gd name="T61" fmla="*/ 229 h 279"/>
              <a:gd name="T62" fmla="*/ 149 w 237"/>
              <a:gd name="T63" fmla="*/ 209 h 279"/>
              <a:gd name="T64" fmla="*/ 172 w 237"/>
              <a:gd name="T65" fmla="*/ 192 h 279"/>
              <a:gd name="T66" fmla="*/ 167 w 237"/>
              <a:gd name="T67" fmla="*/ 181 h 279"/>
              <a:gd name="T68" fmla="*/ 175 w 237"/>
              <a:gd name="T69" fmla="*/ 166 h 279"/>
              <a:gd name="T70" fmla="*/ 167 w 237"/>
              <a:gd name="T71" fmla="*/ 144 h 279"/>
              <a:gd name="T72" fmla="*/ 193 w 237"/>
              <a:gd name="T73" fmla="*/ 128 h 279"/>
              <a:gd name="T74" fmla="*/ 213 w 237"/>
              <a:gd name="T75" fmla="*/ 98 h 279"/>
              <a:gd name="T76" fmla="*/ 236 w 237"/>
              <a:gd name="T77" fmla="*/ 53 h 279"/>
              <a:gd name="T78" fmla="*/ 236 w 237"/>
              <a:gd name="T79" fmla="*/ 53 h 279"/>
              <a:gd name="T80" fmla="*/ 237 w 237"/>
              <a:gd name="T81" fmla="*/ 50 h 279"/>
              <a:gd name="T82" fmla="*/ 237 w 237"/>
              <a:gd name="T83" fmla="*/ 50 h 279"/>
              <a:gd name="T84" fmla="*/ 170 w 237"/>
              <a:gd name="T85" fmla="*/ 32 h 279"/>
              <a:gd name="T86" fmla="*/ 155 w 237"/>
              <a:gd name="T87" fmla="*/ 37 h 279"/>
              <a:gd name="T88" fmla="*/ 120 w 237"/>
              <a:gd name="T89" fmla="*/ 35 h 279"/>
              <a:gd name="T90" fmla="*/ 120 w 237"/>
              <a:gd name="T91" fmla="*/ 35 h 279"/>
              <a:gd name="T92" fmla="*/ 120 w 237"/>
              <a:gd name="T93" fmla="*/ 37 h 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37" h="279">
                <a:moveTo>
                  <a:pt x="120" y="37"/>
                </a:moveTo>
                <a:cubicBezTo>
                  <a:pt x="108" y="37"/>
                  <a:pt x="108" y="23"/>
                  <a:pt x="99" y="23"/>
                </a:cubicBezTo>
                <a:cubicBezTo>
                  <a:pt x="96" y="23"/>
                  <a:pt x="99" y="23"/>
                  <a:pt x="95" y="23"/>
                </a:cubicBezTo>
                <a:cubicBezTo>
                  <a:pt x="92" y="23"/>
                  <a:pt x="92" y="17"/>
                  <a:pt x="92" y="15"/>
                </a:cubicBezTo>
                <a:cubicBezTo>
                  <a:pt x="92" y="0"/>
                  <a:pt x="77" y="5"/>
                  <a:pt x="67" y="5"/>
                </a:cubicBezTo>
                <a:cubicBezTo>
                  <a:pt x="64" y="5"/>
                  <a:pt x="65" y="5"/>
                  <a:pt x="61" y="5"/>
                </a:cubicBezTo>
                <a:cubicBezTo>
                  <a:pt x="59" y="5"/>
                  <a:pt x="53" y="2"/>
                  <a:pt x="53" y="5"/>
                </a:cubicBezTo>
                <a:cubicBezTo>
                  <a:pt x="53" y="12"/>
                  <a:pt x="55" y="15"/>
                  <a:pt x="55" y="23"/>
                </a:cubicBezTo>
                <a:cubicBezTo>
                  <a:pt x="55" y="28"/>
                  <a:pt x="50" y="29"/>
                  <a:pt x="48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50" y="29"/>
                  <a:pt x="50" y="29"/>
                  <a:pt x="50" y="29"/>
                </a:cubicBezTo>
                <a:cubicBezTo>
                  <a:pt x="50" y="29"/>
                  <a:pt x="50" y="29"/>
                  <a:pt x="50" y="29"/>
                </a:cubicBezTo>
                <a:cubicBezTo>
                  <a:pt x="52" y="47"/>
                  <a:pt x="75" y="43"/>
                  <a:pt x="75" y="59"/>
                </a:cubicBezTo>
                <a:cubicBezTo>
                  <a:pt x="75" y="76"/>
                  <a:pt x="49" y="75"/>
                  <a:pt x="49" y="92"/>
                </a:cubicBezTo>
                <a:cubicBezTo>
                  <a:pt x="49" y="101"/>
                  <a:pt x="49" y="107"/>
                  <a:pt x="49" y="117"/>
                </a:cubicBezTo>
                <a:cubicBezTo>
                  <a:pt x="49" y="117"/>
                  <a:pt x="49" y="117"/>
                  <a:pt x="49" y="117"/>
                </a:cubicBezTo>
                <a:cubicBezTo>
                  <a:pt x="45" y="119"/>
                  <a:pt x="45" y="119"/>
                  <a:pt x="45" y="119"/>
                </a:cubicBezTo>
                <a:cubicBezTo>
                  <a:pt x="45" y="119"/>
                  <a:pt x="45" y="119"/>
                  <a:pt x="45" y="119"/>
                </a:cubicBezTo>
                <a:cubicBezTo>
                  <a:pt x="29" y="125"/>
                  <a:pt x="28" y="165"/>
                  <a:pt x="24" y="181"/>
                </a:cubicBezTo>
                <a:cubicBezTo>
                  <a:pt x="23" y="187"/>
                  <a:pt x="21" y="199"/>
                  <a:pt x="18" y="203"/>
                </a:cubicBezTo>
                <a:cubicBezTo>
                  <a:pt x="12" y="206"/>
                  <a:pt x="0" y="208"/>
                  <a:pt x="0" y="216"/>
                </a:cubicBezTo>
                <a:cubicBezTo>
                  <a:pt x="0" y="226"/>
                  <a:pt x="7" y="227"/>
                  <a:pt x="13" y="227"/>
                </a:cubicBezTo>
                <a:cubicBezTo>
                  <a:pt x="15" y="237"/>
                  <a:pt x="18" y="246"/>
                  <a:pt x="27" y="247"/>
                </a:cubicBezTo>
                <a:cubicBezTo>
                  <a:pt x="32" y="248"/>
                  <a:pt x="40" y="247"/>
                  <a:pt x="42" y="251"/>
                </a:cubicBezTo>
                <a:cubicBezTo>
                  <a:pt x="45" y="261"/>
                  <a:pt x="44" y="253"/>
                  <a:pt x="54" y="259"/>
                </a:cubicBezTo>
                <a:cubicBezTo>
                  <a:pt x="60" y="263"/>
                  <a:pt x="49" y="275"/>
                  <a:pt x="63" y="275"/>
                </a:cubicBezTo>
                <a:cubicBezTo>
                  <a:pt x="67" y="275"/>
                  <a:pt x="70" y="279"/>
                  <a:pt x="72" y="275"/>
                </a:cubicBezTo>
                <a:cubicBezTo>
                  <a:pt x="72" y="267"/>
                  <a:pt x="81" y="250"/>
                  <a:pt x="90" y="247"/>
                </a:cubicBezTo>
                <a:cubicBezTo>
                  <a:pt x="95" y="246"/>
                  <a:pt x="99" y="250"/>
                  <a:pt x="103" y="246"/>
                </a:cubicBezTo>
                <a:cubicBezTo>
                  <a:pt x="108" y="240"/>
                  <a:pt x="111" y="226"/>
                  <a:pt x="122" y="226"/>
                </a:cubicBezTo>
                <a:cubicBezTo>
                  <a:pt x="127" y="226"/>
                  <a:pt x="130" y="229"/>
                  <a:pt x="133" y="229"/>
                </a:cubicBezTo>
                <a:cubicBezTo>
                  <a:pt x="144" y="229"/>
                  <a:pt x="134" y="209"/>
                  <a:pt x="149" y="209"/>
                </a:cubicBezTo>
                <a:cubicBezTo>
                  <a:pt x="159" y="209"/>
                  <a:pt x="172" y="203"/>
                  <a:pt x="172" y="192"/>
                </a:cubicBezTo>
                <a:cubicBezTo>
                  <a:pt x="172" y="187"/>
                  <a:pt x="167" y="184"/>
                  <a:pt x="167" y="181"/>
                </a:cubicBezTo>
                <a:cubicBezTo>
                  <a:pt x="167" y="174"/>
                  <a:pt x="175" y="172"/>
                  <a:pt x="175" y="166"/>
                </a:cubicBezTo>
                <a:cubicBezTo>
                  <a:pt x="175" y="157"/>
                  <a:pt x="167" y="156"/>
                  <a:pt x="167" y="144"/>
                </a:cubicBezTo>
                <a:cubicBezTo>
                  <a:pt x="167" y="131"/>
                  <a:pt x="186" y="133"/>
                  <a:pt x="193" y="128"/>
                </a:cubicBezTo>
                <a:cubicBezTo>
                  <a:pt x="203" y="120"/>
                  <a:pt x="206" y="110"/>
                  <a:pt x="213" y="98"/>
                </a:cubicBezTo>
                <a:cubicBezTo>
                  <a:pt x="221" y="85"/>
                  <a:pt x="229" y="69"/>
                  <a:pt x="236" y="53"/>
                </a:cubicBezTo>
                <a:cubicBezTo>
                  <a:pt x="236" y="53"/>
                  <a:pt x="236" y="53"/>
                  <a:pt x="236" y="53"/>
                </a:cubicBezTo>
                <a:cubicBezTo>
                  <a:pt x="237" y="50"/>
                  <a:pt x="237" y="50"/>
                  <a:pt x="237" y="50"/>
                </a:cubicBezTo>
                <a:cubicBezTo>
                  <a:pt x="237" y="50"/>
                  <a:pt x="237" y="50"/>
                  <a:pt x="237" y="50"/>
                </a:cubicBezTo>
                <a:cubicBezTo>
                  <a:pt x="203" y="59"/>
                  <a:pt x="194" y="32"/>
                  <a:pt x="170" y="32"/>
                </a:cubicBezTo>
                <a:cubicBezTo>
                  <a:pt x="163" y="32"/>
                  <a:pt x="162" y="37"/>
                  <a:pt x="155" y="37"/>
                </a:cubicBezTo>
                <a:cubicBezTo>
                  <a:pt x="141" y="37"/>
                  <a:pt x="133" y="35"/>
                  <a:pt x="120" y="35"/>
                </a:cubicBezTo>
                <a:cubicBezTo>
                  <a:pt x="120" y="35"/>
                  <a:pt x="120" y="35"/>
                  <a:pt x="120" y="35"/>
                </a:cubicBezTo>
                <a:cubicBezTo>
                  <a:pt x="120" y="37"/>
                  <a:pt x="120" y="37"/>
                  <a:pt x="120" y="37"/>
                </a:cubicBezTo>
                <a:close/>
              </a:path>
            </a:pathLst>
          </a:custGeom>
          <a:solidFill>
            <a:srgbClr val="E4E4E4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6" name="Line 151"/>
          <p:cNvSpPr>
            <a:spLocks noChangeShapeType="1"/>
          </p:cNvSpPr>
          <p:nvPr/>
        </p:nvSpPr>
        <p:spPr bwMode="auto">
          <a:xfrm>
            <a:off x="5407007" y="3945555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7" name="Line 152"/>
          <p:cNvSpPr>
            <a:spLocks noChangeShapeType="1"/>
          </p:cNvSpPr>
          <p:nvPr/>
        </p:nvSpPr>
        <p:spPr bwMode="auto">
          <a:xfrm>
            <a:off x="5407007" y="3945555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8" name="Line 153"/>
          <p:cNvSpPr>
            <a:spLocks noChangeShapeType="1"/>
          </p:cNvSpPr>
          <p:nvPr/>
        </p:nvSpPr>
        <p:spPr bwMode="auto">
          <a:xfrm>
            <a:off x="6353230" y="1966324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9" name="Line 154"/>
          <p:cNvSpPr>
            <a:spLocks noChangeShapeType="1"/>
          </p:cNvSpPr>
          <p:nvPr/>
        </p:nvSpPr>
        <p:spPr bwMode="auto">
          <a:xfrm>
            <a:off x="6353230" y="1966324"/>
            <a:ext cx="0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0" name="Крым"/>
          <p:cNvSpPr>
            <a:spLocks/>
          </p:cNvSpPr>
          <p:nvPr/>
        </p:nvSpPr>
        <p:spPr bwMode="auto">
          <a:xfrm>
            <a:off x="3446640" y="4131925"/>
            <a:ext cx="597198" cy="635521"/>
          </a:xfrm>
          <a:custGeom>
            <a:avLst/>
            <a:gdLst>
              <a:gd name="T0" fmla="*/ 20 w 92"/>
              <a:gd name="T1" fmla="*/ 14 h 98"/>
              <a:gd name="T2" fmla="*/ 11 w 92"/>
              <a:gd name="T3" fmla="*/ 6 h 98"/>
              <a:gd name="T4" fmla="*/ 17 w 92"/>
              <a:gd name="T5" fmla="*/ 1 h 98"/>
              <a:gd name="T6" fmla="*/ 24 w 92"/>
              <a:gd name="T7" fmla="*/ 4 h 98"/>
              <a:gd name="T8" fmla="*/ 35 w 92"/>
              <a:gd name="T9" fmla="*/ 7 h 98"/>
              <a:gd name="T10" fmla="*/ 44 w 92"/>
              <a:gd name="T11" fmla="*/ 11 h 98"/>
              <a:gd name="T12" fmla="*/ 48 w 92"/>
              <a:gd name="T13" fmla="*/ 16 h 98"/>
              <a:gd name="T14" fmla="*/ 50 w 92"/>
              <a:gd name="T15" fmla="*/ 18 h 98"/>
              <a:gd name="T16" fmla="*/ 50 w 92"/>
              <a:gd name="T17" fmla="*/ 11 h 98"/>
              <a:gd name="T18" fmla="*/ 55 w 92"/>
              <a:gd name="T19" fmla="*/ 6 h 98"/>
              <a:gd name="T20" fmla="*/ 61 w 92"/>
              <a:gd name="T21" fmla="*/ 12 h 98"/>
              <a:gd name="T22" fmla="*/ 66 w 92"/>
              <a:gd name="T23" fmla="*/ 24 h 98"/>
              <a:gd name="T24" fmla="*/ 67 w 92"/>
              <a:gd name="T25" fmla="*/ 33 h 98"/>
              <a:gd name="T26" fmla="*/ 66 w 92"/>
              <a:gd name="T27" fmla="*/ 35 h 98"/>
              <a:gd name="T28" fmla="*/ 68 w 92"/>
              <a:gd name="T29" fmla="*/ 37 h 98"/>
              <a:gd name="T30" fmla="*/ 67 w 92"/>
              <a:gd name="T31" fmla="*/ 40 h 98"/>
              <a:gd name="T32" fmla="*/ 67 w 92"/>
              <a:gd name="T33" fmla="*/ 44 h 98"/>
              <a:gd name="T34" fmla="*/ 66 w 92"/>
              <a:gd name="T35" fmla="*/ 51 h 98"/>
              <a:gd name="T36" fmla="*/ 61 w 92"/>
              <a:gd name="T37" fmla="*/ 57 h 98"/>
              <a:gd name="T38" fmla="*/ 60 w 92"/>
              <a:gd name="T39" fmla="*/ 63 h 98"/>
              <a:gd name="T40" fmla="*/ 63 w 92"/>
              <a:gd name="T41" fmla="*/ 70 h 98"/>
              <a:gd name="T42" fmla="*/ 68 w 92"/>
              <a:gd name="T43" fmla="*/ 49 h 98"/>
              <a:gd name="T44" fmla="*/ 73 w 92"/>
              <a:gd name="T45" fmla="*/ 37 h 98"/>
              <a:gd name="T46" fmla="*/ 74 w 92"/>
              <a:gd name="T47" fmla="*/ 38 h 98"/>
              <a:gd name="T48" fmla="*/ 69 w 92"/>
              <a:gd name="T49" fmla="*/ 49 h 98"/>
              <a:gd name="T50" fmla="*/ 66 w 92"/>
              <a:gd name="T51" fmla="*/ 60 h 98"/>
              <a:gd name="T52" fmla="*/ 66 w 92"/>
              <a:gd name="T53" fmla="*/ 72 h 98"/>
              <a:gd name="T54" fmla="*/ 76 w 92"/>
              <a:gd name="T55" fmla="*/ 74 h 98"/>
              <a:gd name="T56" fmla="*/ 77 w 92"/>
              <a:gd name="T57" fmla="*/ 80 h 98"/>
              <a:gd name="T58" fmla="*/ 84 w 92"/>
              <a:gd name="T59" fmla="*/ 82 h 98"/>
              <a:gd name="T60" fmla="*/ 89 w 92"/>
              <a:gd name="T61" fmla="*/ 89 h 98"/>
              <a:gd name="T62" fmla="*/ 87 w 92"/>
              <a:gd name="T63" fmla="*/ 91 h 98"/>
              <a:gd name="T64" fmla="*/ 83 w 92"/>
              <a:gd name="T65" fmla="*/ 92 h 98"/>
              <a:gd name="T66" fmla="*/ 78 w 92"/>
              <a:gd name="T67" fmla="*/ 92 h 98"/>
              <a:gd name="T68" fmla="*/ 78 w 92"/>
              <a:gd name="T69" fmla="*/ 96 h 98"/>
              <a:gd name="T70" fmla="*/ 73 w 92"/>
              <a:gd name="T71" fmla="*/ 95 h 98"/>
              <a:gd name="T72" fmla="*/ 71 w 92"/>
              <a:gd name="T73" fmla="*/ 90 h 98"/>
              <a:gd name="T74" fmla="*/ 66 w 92"/>
              <a:gd name="T75" fmla="*/ 90 h 98"/>
              <a:gd name="T76" fmla="*/ 63 w 92"/>
              <a:gd name="T77" fmla="*/ 86 h 98"/>
              <a:gd name="T78" fmla="*/ 54 w 92"/>
              <a:gd name="T79" fmla="*/ 75 h 98"/>
              <a:gd name="T80" fmla="*/ 51 w 92"/>
              <a:gd name="T81" fmla="*/ 76 h 98"/>
              <a:gd name="T82" fmla="*/ 47 w 92"/>
              <a:gd name="T83" fmla="*/ 75 h 98"/>
              <a:gd name="T84" fmla="*/ 41 w 92"/>
              <a:gd name="T85" fmla="*/ 72 h 98"/>
              <a:gd name="T86" fmla="*/ 37 w 92"/>
              <a:gd name="T87" fmla="*/ 69 h 98"/>
              <a:gd name="T88" fmla="*/ 28 w 92"/>
              <a:gd name="T89" fmla="*/ 64 h 98"/>
              <a:gd name="T90" fmla="*/ 19 w 92"/>
              <a:gd name="T91" fmla="*/ 65 h 98"/>
              <a:gd name="T92" fmla="*/ 12 w 92"/>
              <a:gd name="T93" fmla="*/ 63 h 98"/>
              <a:gd name="T94" fmla="*/ 5 w 92"/>
              <a:gd name="T95" fmla="*/ 58 h 98"/>
              <a:gd name="T96" fmla="*/ 2 w 92"/>
              <a:gd name="T97" fmla="*/ 53 h 98"/>
              <a:gd name="T98" fmla="*/ 1 w 92"/>
              <a:gd name="T99" fmla="*/ 48 h 98"/>
              <a:gd name="T100" fmla="*/ 4 w 92"/>
              <a:gd name="T101" fmla="*/ 45 h 98"/>
              <a:gd name="T102" fmla="*/ 5 w 92"/>
              <a:gd name="T103" fmla="*/ 45 h 98"/>
              <a:gd name="T104" fmla="*/ 11 w 92"/>
              <a:gd name="T105" fmla="*/ 41 h 98"/>
              <a:gd name="T106" fmla="*/ 18 w 92"/>
              <a:gd name="T107" fmla="*/ 37 h 98"/>
              <a:gd name="T108" fmla="*/ 21 w 92"/>
              <a:gd name="T109" fmla="*/ 33 h 98"/>
              <a:gd name="T110" fmla="*/ 21 w 92"/>
              <a:gd name="T111" fmla="*/ 31 h 98"/>
              <a:gd name="T112" fmla="*/ 25 w 92"/>
              <a:gd name="T113" fmla="*/ 29 h 98"/>
              <a:gd name="T114" fmla="*/ 22 w 92"/>
              <a:gd name="T115" fmla="*/ 25 h 98"/>
              <a:gd name="T116" fmla="*/ 17 w 92"/>
              <a:gd name="T117" fmla="*/ 24 h 98"/>
              <a:gd name="T118" fmla="*/ 18 w 92"/>
              <a:gd name="T119" fmla="*/ 16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2" h="98">
                <a:moveTo>
                  <a:pt x="20" y="15"/>
                </a:moveTo>
                <a:cubicBezTo>
                  <a:pt x="20" y="15"/>
                  <a:pt x="20" y="14"/>
                  <a:pt x="21" y="15"/>
                </a:cubicBezTo>
                <a:cubicBezTo>
                  <a:pt x="22" y="15"/>
                  <a:pt x="22" y="15"/>
                  <a:pt x="23" y="15"/>
                </a:cubicBezTo>
                <a:cubicBezTo>
                  <a:pt x="23" y="15"/>
                  <a:pt x="25" y="16"/>
                  <a:pt x="25" y="16"/>
                </a:cubicBezTo>
                <a:cubicBezTo>
                  <a:pt x="25" y="16"/>
                  <a:pt x="26" y="16"/>
                  <a:pt x="26" y="15"/>
                </a:cubicBezTo>
                <a:cubicBezTo>
                  <a:pt x="25" y="15"/>
                  <a:pt x="24" y="15"/>
                  <a:pt x="24" y="15"/>
                </a:cubicBezTo>
                <a:cubicBezTo>
                  <a:pt x="24" y="15"/>
                  <a:pt x="23" y="15"/>
                  <a:pt x="23" y="15"/>
                </a:cubicBezTo>
                <a:cubicBezTo>
                  <a:pt x="22" y="15"/>
                  <a:pt x="22" y="14"/>
                  <a:pt x="21" y="14"/>
                </a:cubicBezTo>
                <a:cubicBezTo>
                  <a:pt x="21" y="14"/>
                  <a:pt x="21" y="14"/>
                  <a:pt x="20" y="14"/>
                </a:cubicBezTo>
                <a:cubicBezTo>
                  <a:pt x="20" y="13"/>
                  <a:pt x="20" y="13"/>
                  <a:pt x="19" y="13"/>
                </a:cubicBezTo>
                <a:cubicBezTo>
                  <a:pt x="19" y="13"/>
                  <a:pt x="19" y="13"/>
                  <a:pt x="18" y="13"/>
                </a:cubicBezTo>
                <a:cubicBezTo>
                  <a:pt x="18" y="12"/>
                  <a:pt x="18" y="12"/>
                  <a:pt x="17" y="11"/>
                </a:cubicBezTo>
                <a:cubicBezTo>
                  <a:pt x="17" y="11"/>
                  <a:pt x="17" y="10"/>
                  <a:pt x="17" y="10"/>
                </a:cubicBezTo>
                <a:cubicBezTo>
                  <a:pt x="16" y="9"/>
                  <a:pt x="15" y="8"/>
                  <a:pt x="15" y="8"/>
                </a:cubicBezTo>
                <a:cubicBezTo>
                  <a:pt x="15" y="8"/>
                  <a:pt x="14" y="7"/>
                  <a:pt x="14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2" y="7"/>
                  <a:pt x="12" y="7"/>
                  <a:pt x="12" y="7"/>
                </a:cubicBezTo>
                <a:cubicBezTo>
                  <a:pt x="11" y="7"/>
                  <a:pt x="11" y="7"/>
                  <a:pt x="11" y="6"/>
                </a:cubicBezTo>
                <a:cubicBezTo>
                  <a:pt x="11" y="5"/>
                  <a:pt x="11" y="5"/>
                  <a:pt x="11" y="5"/>
                </a:cubicBezTo>
                <a:cubicBezTo>
                  <a:pt x="10" y="4"/>
                  <a:pt x="10" y="4"/>
                  <a:pt x="10" y="4"/>
                </a:cubicBezTo>
                <a:cubicBezTo>
                  <a:pt x="10" y="3"/>
                  <a:pt x="10" y="4"/>
                  <a:pt x="9" y="3"/>
                </a:cubicBezTo>
                <a:cubicBezTo>
                  <a:pt x="9" y="2"/>
                  <a:pt x="10" y="2"/>
                  <a:pt x="10" y="2"/>
                </a:cubicBezTo>
                <a:cubicBezTo>
                  <a:pt x="10" y="2"/>
                  <a:pt x="11" y="2"/>
                  <a:pt x="11" y="2"/>
                </a:cubicBezTo>
                <a:cubicBezTo>
                  <a:pt x="11" y="1"/>
                  <a:pt x="10" y="1"/>
                  <a:pt x="11" y="1"/>
                </a:cubicBezTo>
                <a:cubicBezTo>
                  <a:pt x="11" y="0"/>
                  <a:pt x="13" y="0"/>
                  <a:pt x="14" y="0"/>
                </a:cubicBezTo>
                <a:cubicBezTo>
                  <a:pt x="14" y="0"/>
                  <a:pt x="15" y="0"/>
                  <a:pt x="15" y="0"/>
                </a:cubicBezTo>
                <a:cubicBezTo>
                  <a:pt x="16" y="1"/>
                  <a:pt x="16" y="1"/>
                  <a:pt x="17" y="1"/>
                </a:cubicBezTo>
                <a:cubicBezTo>
                  <a:pt x="17" y="1"/>
                  <a:pt x="17" y="1"/>
                  <a:pt x="18" y="1"/>
                </a:cubicBezTo>
                <a:cubicBezTo>
                  <a:pt x="18" y="2"/>
                  <a:pt x="18" y="2"/>
                  <a:pt x="19" y="2"/>
                </a:cubicBezTo>
                <a:cubicBezTo>
                  <a:pt x="19" y="2"/>
                  <a:pt x="19" y="2"/>
                  <a:pt x="20" y="2"/>
                </a:cubicBezTo>
                <a:cubicBezTo>
                  <a:pt x="20" y="2"/>
                  <a:pt x="20" y="3"/>
                  <a:pt x="21" y="3"/>
                </a:cubicBezTo>
                <a:cubicBezTo>
                  <a:pt x="22" y="3"/>
                  <a:pt x="21" y="3"/>
                  <a:pt x="21" y="3"/>
                </a:cubicBezTo>
                <a:cubicBezTo>
                  <a:pt x="21" y="3"/>
                  <a:pt x="20" y="4"/>
                  <a:pt x="21" y="4"/>
                </a:cubicBezTo>
                <a:cubicBezTo>
                  <a:pt x="22" y="4"/>
                  <a:pt x="22" y="4"/>
                  <a:pt x="23" y="4"/>
                </a:cubicBezTo>
                <a:cubicBezTo>
                  <a:pt x="23" y="5"/>
                  <a:pt x="24" y="5"/>
                  <a:pt x="24" y="5"/>
                </a:cubicBezTo>
                <a:cubicBezTo>
                  <a:pt x="24" y="5"/>
                  <a:pt x="24" y="4"/>
                  <a:pt x="24" y="4"/>
                </a:cubicBezTo>
                <a:cubicBezTo>
                  <a:pt x="23" y="3"/>
                  <a:pt x="23" y="3"/>
                  <a:pt x="24" y="3"/>
                </a:cubicBezTo>
                <a:cubicBezTo>
                  <a:pt x="25" y="4"/>
                  <a:pt x="26" y="4"/>
                  <a:pt x="26" y="4"/>
                </a:cubicBezTo>
                <a:cubicBezTo>
                  <a:pt x="27" y="4"/>
                  <a:pt x="28" y="4"/>
                  <a:pt x="28" y="4"/>
                </a:cubicBezTo>
                <a:cubicBezTo>
                  <a:pt x="29" y="5"/>
                  <a:pt x="29" y="5"/>
                  <a:pt x="30" y="5"/>
                </a:cubicBezTo>
                <a:cubicBezTo>
                  <a:pt x="30" y="5"/>
                  <a:pt x="31" y="5"/>
                  <a:pt x="31" y="5"/>
                </a:cubicBezTo>
                <a:cubicBezTo>
                  <a:pt x="32" y="5"/>
                  <a:pt x="32" y="6"/>
                  <a:pt x="33" y="6"/>
                </a:cubicBezTo>
                <a:cubicBezTo>
                  <a:pt x="33" y="6"/>
                  <a:pt x="32" y="6"/>
                  <a:pt x="33" y="6"/>
                </a:cubicBezTo>
                <a:cubicBezTo>
                  <a:pt x="34" y="7"/>
                  <a:pt x="34" y="7"/>
                  <a:pt x="34" y="7"/>
                </a:cubicBezTo>
                <a:cubicBezTo>
                  <a:pt x="35" y="7"/>
                  <a:pt x="35" y="7"/>
                  <a:pt x="35" y="7"/>
                </a:cubicBezTo>
                <a:cubicBezTo>
                  <a:pt x="35" y="7"/>
                  <a:pt x="36" y="7"/>
                  <a:pt x="36" y="8"/>
                </a:cubicBezTo>
                <a:cubicBezTo>
                  <a:pt x="36" y="9"/>
                  <a:pt x="36" y="8"/>
                  <a:pt x="37" y="9"/>
                </a:cubicBezTo>
                <a:cubicBezTo>
                  <a:pt x="38" y="9"/>
                  <a:pt x="39" y="9"/>
                  <a:pt x="39" y="9"/>
                </a:cubicBezTo>
                <a:cubicBezTo>
                  <a:pt x="40" y="9"/>
                  <a:pt x="40" y="10"/>
                  <a:pt x="41" y="10"/>
                </a:cubicBezTo>
                <a:cubicBezTo>
                  <a:pt x="41" y="10"/>
                  <a:pt x="41" y="9"/>
                  <a:pt x="42" y="10"/>
                </a:cubicBezTo>
                <a:cubicBezTo>
                  <a:pt x="42" y="10"/>
                  <a:pt x="42" y="10"/>
                  <a:pt x="42" y="10"/>
                </a:cubicBezTo>
                <a:cubicBezTo>
                  <a:pt x="42" y="11"/>
                  <a:pt x="42" y="11"/>
                  <a:pt x="42" y="11"/>
                </a:cubicBezTo>
                <a:cubicBezTo>
                  <a:pt x="43" y="11"/>
                  <a:pt x="43" y="11"/>
                  <a:pt x="43" y="11"/>
                </a:cubicBezTo>
                <a:cubicBezTo>
                  <a:pt x="44" y="11"/>
                  <a:pt x="44" y="10"/>
                  <a:pt x="44" y="11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13"/>
                  <a:pt x="44" y="13"/>
                  <a:pt x="44" y="13"/>
                </a:cubicBezTo>
                <a:cubicBezTo>
                  <a:pt x="45" y="13"/>
                  <a:pt x="45" y="12"/>
                  <a:pt x="46" y="12"/>
                </a:cubicBezTo>
                <a:cubicBezTo>
                  <a:pt x="46" y="13"/>
                  <a:pt x="46" y="12"/>
                  <a:pt x="47" y="13"/>
                </a:cubicBezTo>
                <a:cubicBezTo>
                  <a:pt x="47" y="13"/>
                  <a:pt x="47" y="13"/>
                  <a:pt x="47" y="13"/>
                </a:cubicBezTo>
                <a:cubicBezTo>
                  <a:pt x="47" y="13"/>
                  <a:pt x="48" y="13"/>
                  <a:pt x="48" y="14"/>
                </a:cubicBezTo>
                <a:cubicBezTo>
                  <a:pt x="47" y="15"/>
                  <a:pt x="48" y="15"/>
                  <a:pt x="47" y="15"/>
                </a:cubicBezTo>
                <a:cubicBezTo>
                  <a:pt x="47" y="15"/>
                  <a:pt x="46" y="15"/>
                  <a:pt x="46" y="16"/>
                </a:cubicBezTo>
                <a:cubicBezTo>
                  <a:pt x="47" y="16"/>
                  <a:pt x="47" y="16"/>
                  <a:pt x="48" y="16"/>
                </a:cubicBezTo>
                <a:cubicBezTo>
                  <a:pt x="48" y="15"/>
                  <a:pt x="48" y="15"/>
                  <a:pt x="49" y="15"/>
                </a:cubicBezTo>
                <a:cubicBezTo>
                  <a:pt x="49" y="14"/>
                  <a:pt x="50" y="14"/>
                  <a:pt x="50" y="14"/>
                </a:cubicBezTo>
                <a:cubicBezTo>
                  <a:pt x="50" y="15"/>
                  <a:pt x="49" y="15"/>
                  <a:pt x="50" y="15"/>
                </a:cubicBezTo>
                <a:cubicBezTo>
                  <a:pt x="50" y="15"/>
                  <a:pt x="50" y="14"/>
                  <a:pt x="51" y="15"/>
                </a:cubicBezTo>
                <a:cubicBezTo>
                  <a:pt x="51" y="15"/>
                  <a:pt x="51" y="15"/>
                  <a:pt x="50" y="16"/>
                </a:cubicBezTo>
                <a:cubicBezTo>
                  <a:pt x="50" y="16"/>
                  <a:pt x="50" y="16"/>
                  <a:pt x="50" y="16"/>
                </a:cubicBezTo>
                <a:cubicBezTo>
                  <a:pt x="50" y="16"/>
                  <a:pt x="50" y="16"/>
                  <a:pt x="49" y="17"/>
                </a:cubicBezTo>
                <a:cubicBezTo>
                  <a:pt x="49" y="17"/>
                  <a:pt x="48" y="18"/>
                  <a:pt x="49" y="18"/>
                </a:cubicBezTo>
                <a:cubicBezTo>
                  <a:pt x="50" y="18"/>
                  <a:pt x="50" y="18"/>
                  <a:pt x="50" y="18"/>
                </a:cubicBezTo>
                <a:cubicBezTo>
                  <a:pt x="51" y="17"/>
                  <a:pt x="50" y="18"/>
                  <a:pt x="51" y="17"/>
                </a:cubicBezTo>
                <a:cubicBezTo>
                  <a:pt x="51" y="17"/>
                  <a:pt x="51" y="17"/>
                  <a:pt x="51" y="17"/>
                </a:cubicBezTo>
                <a:cubicBezTo>
                  <a:pt x="52" y="16"/>
                  <a:pt x="52" y="17"/>
                  <a:pt x="52" y="16"/>
                </a:cubicBezTo>
                <a:cubicBezTo>
                  <a:pt x="52" y="15"/>
                  <a:pt x="52" y="15"/>
                  <a:pt x="52" y="15"/>
                </a:cubicBezTo>
                <a:cubicBezTo>
                  <a:pt x="52" y="14"/>
                  <a:pt x="52" y="14"/>
                  <a:pt x="52" y="14"/>
                </a:cubicBezTo>
                <a:cubicBezTo>
                  <a:pt x="52" y="13"/>
                  <a:pt x="52" y="13"/>
                  <a:pt x="51" y="13"/>
                </a:cubicBezTo>
                <a:cubicBezTo>
                  <a:pt x="51" y="13"/>
                  <a:pt x="51" y="12"/>
                  <a:pt x="50" y="12"/>
                </a:cubicBezTo>
                <a:cubicBezTo>
                  <a:pt x="50" y="12"/>
                  <a:pt x="49" y="12"/>
                  <a:pt x="50" y="12"/>
                </a:cubicBezTo>
                <a:cubicBezTo>
                  <a:pt x="50" y="11"/>
                  <a:pt x="50" y="11"/>
                  <a:pt x="50" y="11"/>
                </a:cubicBezTo>
                <a:cubicBezTo>
                  <a:pt x="51" y="11"/>
                  <a:pt x="51" y="11"/>
                  <a:pt x="51" y="11"/>
                </a:cubicBezTo>
                <a:cubicBezTo>
                  <a:pt x="52" y="10"/>
                  <a:pt x="52" y="10"/>
                  <a:pt x="52" y="11"/>
                </a:cubicBezTo>
                <a:cubicBezTo>
                  <a:pt x="52" y="11"/>
                  <a:pt x="53" y="11"/>
                  <a:pt x="53" y="11"/>
                </a:cubicBezTo>
                <a:cubicBezTo>
                  <a:pt x="53" y="11"/>
                  <a:pt x="54" y="11"/>
                  <a:pt x="53" y="10"/>
                </a:cubicBezTo>
                <a:cubicBezTo>
                  <a:pt x="53" y="9"/>
                  <a:pt x="52" y="9"/>
                  <a:pt x="53" y="9"/>
                </a:cubicBezTo>
                <a:cubicBezTo>
                  <a:pt x="53" y="8"/>
                  <a:pt x="53" y="8"/>
                  <a:pt x="54" y="8"/>
                </a:cubicBezTo>
                <a:cubicBezTo>
                  <a:pt x="54" y="8"/>
                  <a:pt x="54" y="9"/>
                  <a:pt x="54" y="8"/>
                </a:cubicBezTo>
                <a:cubicBezTo>
                  <a:pt x="55" y="8"/>
                  <a:pt x="55" y="8"/>
                  <a:pt x="55" y="7"/>
                </a:cubicBezTo>
                <a:cubicBezTo>
                  <a:pt x="55" y="7"/>
                  <a:pt x="55" y="6"/>
                  <a:pt x="55" y="6"/>
                </a:cubicBezTo>
                <a:cubicBezTo>
                  <a:pt x="56" y="6"/>
                  <a:pt x="55" y="5"/>
                  <a:pt x="56" y="6"/>
                </a:cubicBezTo>
                <a:cubicBezTo>
                  <a:pt x="57" y="6"/>
                  <a:pt x="57" y="6"/>
                  <a:pt x="57" y="6"/>
                </a:cubicBezTo>
                <a:cubicBezTo>
                  <a:pt x="58" y="7"/>
                  <a:pt x="59" y="7"/>
                  <a:pt x="59" y="7"/>
                </a:cubicBezTo>
                <a:cubicBezTo>
                  <a:pt x="60" y="7"/>
                  <a:pt x="61" y="7"/>
                  <a:pt x="61" y="7"/>
                </a:cubicBezTo>
                <a:cubicBezTo>
                  <a:pt x="61" y="8"/>
                  <a:pt x="61" y="8"/>
                  <a:pt x="61" y="8"/>
                </a:cubicBezTo>
                <a:cubicBezTo>
                  <a:pt x="61" y="9"/>
                  <a:pt x="61" y="9"/>
                  <a:pt x="61" y="9"/>
                </a:cubicBezTo>
                <a:cubicBezTo>
                  <a:pt x="61" y="10"/>
                  <a:pt x="62" y="10"/>
                  <a:pt x="61" y="10"/>
                </a:cubicBezTo>
                <a:cubicBezTo>
                  <a:pt x="61" y="10"/>
                  <a:pt x="61" y="11"/>
                  <a:pt x="61" y="11"/>
                </a:cubicBezTo>
                <a:cubicBezTo>
                  <a:pt x="61" y="11"/>
                  <a:pt x="61" y="12"/>
                  <a:pt x="61" y="12"/>
                </a:cubicBezTo>
                <a:cubicBezTo>
                  <a:pt x="61" y="12"/>
                  <a:pt x="61" y="12"/>
                  <a:pt x="61" y="13"/>
                </a:cubicBezTo>
                <a:cubicBezTo>
                  <a:pt x="61" y="13"/>
                  <a:pt x="61" y="13"/>
                  <a:pt x="61" y="14"/>
                </a:cubicBezTo>
                <a:cubicBezTo>
                  <a:pt x="61" y="14"/>
                  <a:pt x="61" y="15"/>
                  <a:pt x="61" y="15"/>
                </a:cubicBezTo>
                <a:cubicBezTo>
                  <a:pt x="62" y="16"/>
                  <a:pt x="62" y="16"/>
                  <a:pt x="63" y="17"/>
                </a:cubicBezTo>
                <a:cubicBezTo>
                  <a:pt x="63" y="17"/>
                  <a:pt x="63" y="17"/>
                  <a:pt x="63" y="18"/>
                </a:cubicBezTo>
                <a:cubicBezTo>
                  <a:pt x="63" y="20"/>
                  <a:pt x="63" y="20"/>
                  <a:pt x="63" y="21"/>
                </a:cubicBezTo>
                <a:cubicBezTo>
                  <a:pt x="64" y="22"/>
                  <a:pt x="64" y="21"/>
                  <a:pt x="64" y="22"/>
                </a:cubicBezTo>
                <a:cubicBezTo>
                  <a:pt x="64" y="23"/>
                  <a:pt x="64" y="23"/>
                  <a:pt x="65" y="23"/>
                </a:cubicBezTo>
                <a:cubicBezTo>
                  <a:pt x="65" y="23"/>
                  <a:pt x="65" y="23"/>
                  <a:pt x="66" y="24"/>
                </a:cubicBezTo>
                <a:cubicBezTo>
                  <a:pt x="66" y="24"/>
                  <a:pt x="66" y="24"/>
                  <a:pt x="66" y="25"/>
                </a:cubicBezTo>
                <a:cubicBezTo>
                  <a:pt x="66" y="25"/>
                  <a:pt x="66" y="26"/>
                  <a:pt x="66" y="26"/>
                </a:cubicBezTo>
                <a:cubicBezTo>
                  <a:pt x="66" y="27"/>
                  <a:pt x="65" y="27"/>
                  <a:pt x="65" y="28"/>
                </a:cubicBezTo>
                <a:cubicBezTo>
                  <a:pt x="66" y="28"/>
                  <a:pt x="66" y="29"/>
                  <a:pt x="66" y="29"/>
                </a:cubicBezTo>
                <a:cubicBezTo>
                  <a:pt x="66" y="29"/>
                  <a:pt x="66" y="30"/>
                  <a:pt x="65" y="30"/>
                </a:cubicBezTo>
                <a:cubicBezTo>
                  <a:pt x="65" y="31"/>
                  <a:pt x="64" y="31"/>
                  <a:pt x="64" y="32"/>
                </a:cubicBezTo>
                <a:cubicBezTo>
                  <a:pt x="64" y="32"/>
                  <a:pt x="64" y="33"/>
                  <a:pt x="64" y="33"/>
                </a:cubicBezTo>
                <a:cubicBezTo>
                  <a:pt x="65" y="33"/>
                  <a:pt x="65" y="32"/>
                  <a:pt x="65" y="32"/>
                </a:cubicBezTo>
                <a:cubicBezTo>
                  <a:pt x="66" y="32"/>
                  <a:pt x="66" y="32"/>
                  <a:pt x="67" y="33"/>
                </a:cubicBezTo>
                <a:cubicBezTo>
                  <a:pt x="67" y="33"/>
                  <a:pt x="67" y="34"/>
                  <a:pt x="67" y="33"/>
                </a:cubicBezTo>
                <a:cubicBezTo>
                  <a:pt x="68" y="33"/>
                  <a:pt x="67" y="32"/>
                  <a:pt x="68" y="32"/>
                </a:cubicBezTo>
                <a:cubicBezTo>
                  <a:pt x="68" y="32"/>
                  <a:pt x="68" y="31"/>
                  <a:pt x="68" y="31"/>
                </a:cubicBezTo>
                <a:cubicBezTo>
                  <a:pt x="68" y="31"/>
                  <a:pt x="69" y="31"/>
                  <a:pt x="69" y="32"/>
                </a:cubicBezTo>
                <a:cubicBezTo>
                  <a:pt x="69" y="32"/>
                  <a:pt x="69" y="33"/>
                  <a:pt x="69" y="33"/>
                </a:cubicBezTo>
                <a:cubicBezTo>
                  <a:pt x="69" y="33"/>
                  <a:pt x="69" y="34"/>
                  <a:pt x="69" y="34"/>
                </a:cubicBezTo>
                <a:cubicBezTo>
                  <a:pt x="69" y="34"/>
                  <a:pt x="69" y="34"/>
                  <a:pt x="68" y="35"/>
                </a:cubicBezTo>
                <a:cubicBezTo>
                  <a:pt x="67" y="35"/>
                  <a:pt x="67" y="35"/>
                  <a:pt x="67" y="35"/>
                </a:cubicBezTo>
                <a:cubicBezTo>
                  <a:pt x="66" y="35"/>
                  <a:pt x="66" y="35"/>
                  <a:pt x="66" y="35"/>
                </a:cubicBezTo>
                <a:cubicBezTo>
                  <a:pt x="65" y="34"/>
                  <a:pt x="66" y="34"/>
                  <a:pt x="65" y="34"/>
                </a:cubicBezTo>
                <a:cubicBezTo>
                  <a:pt x="64" y="34"/>
                  <a:pt x="64" y="34"/>
                  <a:pt x="64" y="34"/>
                </a:cubicBezTo>
                <a:cubicBezTo>
                  <a:pt x="63" y="34"/>
                  <a:pt x="63" y="34"/>
                  <a:pt x="62" y="35"/>
                </a:cubicBezTo>
                <a:cubicBezTo>
                  <a:pt x="62" y="35"/>
                  <a:pt x="61" y="35"/>
                  <a:pt x="62" y="35"/>
                </a:cubicBezTo>
                <a:cubicBezTo>
                  <a:pt x="62" y="36"/>
                  <a:pt x="62" y="35"/>
                  <a:pt x="62" y="36"/>
                </a:cubicBezTo>
                <a:cubicBezTo>
                  <a:pt x="63" y="36"/>
                  <a:pt x="63" y="36"/>
                  <a:pt x="63" y="36"/>
                </a:cubicBezTo>
                <a:cubicBezTo>
                  <a:pt x="64" y="36"/>
                  <a:pt x="64" y="36"/>
                  <a:pt x="65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7" y="37"/>
                  <a:pt x="67" y="37"/>
                  <a:pt x="68" y="37"/>
                </a:cubicBezTo>
                <a:cubicBezTo>
                  <a:pt x="68" y="37"/>
                  <a:pt x="68" y="38"/>
                  <a:pt x="67" y="38"/>
                </a:cubicBezTo>
                <a:cubicBezTo>
                  <a:pt x="67" y="37"/>
                  <a:pt x="67" y="37"/>
                  <a:pt x="66" y="37"/>
                </a:cubicBezTo>
                <a:cubicBezTo>
                  <a:pt x="66" y="37"/>
                  <a:pt x="66" y="37"/>
                  <a:pt x="65" y="38"/>
                </a:cubicBezTo>
                <a:cubicBezTo>
                  <a:pt x="65" y="38"/>
                  <a:pt x="65" y="37"/>
                  <a:pt x="65" y="38"/>
                </a:cubicBezTo>
                <a:cubicBezTo>
                  <a:pt x="65" y="38"/>
                  <a:pt x="65" y="38"/>
                  <a:pt x="65" y="39"/>
                </a:cubicBezTo>
                <a:cubicBezTo>
                  <a:pt x="65" y="39"/>
                  <a:pt x="66" y="39"/>
                  <a:pt x="66" y="39"/>
                </a:cubicBezTo>
                <a:cubicBezTo>
                  <a:pt x="66" y="39"/>
                  <a:pt x="67" y="39"/>
                  <a:pt x="67" y="39"/>
                </a:cubicBezTo>
                <a:cubicBezTo>
                  <a:pt x="67" y="40"/>
                  <a:pt x="67" y="40"/>
                  <a:pt x="67" y="40"/>
                </a:cubicBezTo>
                <a:cubicBezTo>
                  <a:pt x="67" y="40"/>
                  <a:pt x="67" y="40"/>
                  <a:pt x="67" y="40"/>
                </a:cubicBezTo>
                <a:cubicBezTo>
                  <a:pt x="67" y="40"/>
                  <a:pt x="67" y="41"/>
                  <a:pt x="66" y="41"/>
                </a:cubicBezTo>
                <a:cubicBezTo>
                  <a:pt x="65" y="41"/>
                  <a:pt x="65" y="41"/>
                  <a:pt x="65" y="41"/>
                </a:cubicBezTo>
                <a:cubicBezTo>
                  <a:pt x="64" y="41"/>
                  <a:pt x="64" y="41"/>
                  <a:pt x="64" y="41"/>
                </a:cubicBezTo>
                <a:cubicBezTo>
                  <a:pt x="63" y="41"/>
                  <a:pt x="63" y="40"/>
                  <a:pt x="63" y="40"/>
                </a:cubicBezTo>
                <a:cubicBezTo>
                  <a:pt x="62" y="41"/>
                  <a:pt x="63" y="40"/>
                  <a:pt x="62" y="41"/>
                </a:cubicBezTo>
                <a:cubicBezTo>
                  <a:pt x="62" y="41"/>
                  <a:pt x="63" y="42"/>
                  <a:pt x="63" y="42"/>
                </a:cubicBezTo>
                <a:cubicBezTo>
                  <a:pt x="64" y="42"/>
                  <a:pt x="64" y="42"/>
                  <a:pt x="64" y="43"/>
                </a:cubicBezTo>
                <a:cubicBezTo>
                  <a:pt x="65" y="43"/>
                  <a:pt x="65" y="44"/>
                  <a:pt x="66" y="44"/>
                </a:cubicBezTo>
                <a:cubicBezTo>
                  <a:pt x="66" y="44"/>
                  <a:pt x="66" y="44"/>
                  <a:pt x="67" y="44"/>
                </a:cubicBezTo>
                <a:cubicBezTo>
                  <a:pt x="67" y="44"/>
                  <a:pt x="68" y="45"/>
                  <a:pt x="67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4" y="46"/>
                  <a:pt x="65" y="46"/>
                </a:cubicBezTo>
                <a:cubicBezTo>
                  <a:pt x="66" y="46"/>
                  <a:pt x="66" y="46"/>
                  <a:pt x="66" y="46"/>
                </a:cubicBezTo>
                <a:cubicBezTo>
                  <a:pt x="66" y="47"/>
                  <a:pt x="65" y="47"/>
                  <a:pt x="65" y="47"/>
                </a:cubicBezTo>
                <a:cubicBezTo>
                  <a:pt x="65" y="47"/>
                  <a:pt x="65" y="47"/>
                  <a:pt x="66" y="48"/>
                </a:cubicBezTo>
                <a:cubicBezTo>
                  <a:pt x="66" y="48"/>
                  <a:pt x="65" y="48"/>
                  <a:pt x="66" y="49"/>
                </a:cubicBezTo>
                <a:cubicBezTo>
                  <a:pt x="66" y="49"/>
                  <a:pt x="66" y="49"/>
                  <a:pt x="66" y="50"/>
                </a:cubicBezTo>
                <a:cubicBezTo>
                  <a:pt x="66" y="50"/>
                  <a:pt x="67" y="50"/>
                  <a:pt x="66" y="51"/>
                </a:cubicBezTo>
                <a:cubicBezTo>
                  <a:pt x="66" y="51"/>
                  <a:pt x="66" y="51"/>
                  <a:pt x="66" y="51"/>
                </a:cubicBezTo>
                <a:cubicBezTo>
                  <a:pt x="66" y="52"/>
                  <a:pt x="66" y="52"/>
                  <a:pt x="66" y="52"/>
                </a:cubicBezTo>
                <a:cubicBezTo>
                  <a:pt x="65" y="53"/>
                  <a:pt x="65" y="53"/>
                  <a:pt x="65" y="53"/>
                </a:cubicBezTo>
                <a:cubicBezTo>
                  <a:pt x="65" y="53"/>
                  <a:pt x="65" y="54"/>
                  <a:pt x="65" y="54"/>
                </a:cubicBezTo>
                <a:cubicBezTo>
                  <a:pt x="65" y="54"/>
                  <a:pt x="64" y="55"/>
                  <a:pt x="64" y="55"/>
                </a:cubicBezTo>
                <a:cubicBezTo>
                  <a:pt x="64" y="55"/>
                  <a:pt x="64" y="56"/>
                  <a:pt x="64" y="56"/>
                </a:cubicBezTo>
                <a:cubicBezTo>
                  <a:pt x="63" y="56"/>
                  <a:pt x="63" y="57"/>
                  <a:pt x="63" y="57"/>
                </a:cubicBezTo>
                <a:cubicBezTo>
                  <a:pt x="63" y="57"/>
                  <a:pt x="63" y="57"/>
                  <a:pt x="62" y="57"/>
                </a:cubicBezTo>
                <a:cubicBezTo>
                  <a:pt x="62" y="57"/>
                  <a:pt x="62" y="57"/>
                  <a:pt x="61" y="57"/>
                </a:cubicBezTo>
                <a:cubicBezTo>
                  <a:pt x="60" y="57"/>
                  <a:pt x="61" y="56"/>
                  <a:pt x="60" y="56"/>
                </a:cubicBezTo>
                <a:cubicBezTo>
                  <a:pt x="60" y="57"/>
                  <a:pt x="60" y="57"/>
                  <a:pt x="60" y="58"/>
                </a:cubicBezTo>
                <a:cubicBezTo>
                  <a:pt x="60" y="58"/>
                  <a:pt x="59" y="59"/>
                  <a:pt x="59" y="59"/>
                </a:cubicBezTo>
                <a:cubicBezTo>
                  <a:pt x="59" y="59"/>
                  <a:pt x="59" y="59"/>
                  <a:pt x="59" y="60"/>
                </a:cubicBezTo>
                <a:cubicBezTo>
                  <a:pt x="59" y="60"/>
                  <a:pt x="59" y="60"/>
                  <a:pt x="59" y="61"/>
                </a:cubicBezTo>
                <a:cubicBezTo>
                  <a:pt x="59" y="61"/>
                  <a:pt x="59" y="61"/>
                  <a:pt x="59" y="62"/>
                </a:cubicBezTo>
                <a:cubicBezTo>
                  <a:pt x="59" y="62"/>
                  <a:pt x="59" y="62"/>
                  <a:pt x="59" y="62"/>
                </a:cubicBezTo>
                <a:cubicBezTo>
                  <a:pt x="59" y="63"/>
                  <a:pt x="59" y="63"/>
                  <a:pt x="60" y="63"/>
                </a:cubicBezTo>
                <a:cubicBezTo>
                  <a:pt x="60" y="63"/>
                  <a:pt x="60" y="63"/>
                  <a:pt x="60" y="63"/>
                </a:cubicBezTo>
                <a:cubicBezTo>
                  <a:pt x="60" y="64"/>
                  <a:pt x="60" y="64"/>
                  <a:pt x="60" y="64"/>
                </a:cubicBezTo>
                <a:cubicBezTo>
                  <a:pt x="60" y="65"/>
                  <a:pt x="60" y="65"/>
                  <a:pt x="61" y="66"/>
                </a:cubicBezTo>
                <a:cubicBezTo>
                  <a:pt x="61" y="66"/>
                  <a:pt x="61" y="67"/>
                  <a:pt x="61" y="68"/>
                </a:cubicBezTo>
                <a:cubicBezTo>
                  <a:pt x="61" y="68"/>
                  <a:pt x="62" y="68"/>
                  <a:pt x="62" y="68"/>
                </a:cubicBezTo>
                <a:cubicBezTo>
                  <a:pt x="61" y="69"/>
                  <a:pt x="61" y="68"/>
                  <a:pt x="61" y="69"/>
                </a:cubicBezTo>
                <a:cubicBezTo>
                  <a:pt x="61" y="69"/>
                  <a:pt x="60" y="69"/>
                  <a:pt x="60" y="70"/>
                </a:cubicBezTo>
                <a:cubicBezTo>
                  <a:pt x="61" y="70"/>
                  <a:pt x="61" y="70"/>
                  <a:pt x="62" y="70"/>
                </a:cubicBezTo>
                <a:cubicBezTo>
                  <a:pt x="62" y="70"/>
                  <a:pt x="62" y="71"/>
                  <a:pt x="63" y="71"/>
                </a:cubicBezTo>
                <a:cubicBezTo>
                  <a:pt x="63" y="71"/>
                  <a:pt x="63" y="71"/>
                  <a:pt x="63" y="70"/>
                </a:cubicBezTo>
                <a:cubicBezTo>
                  <a:pt x="64" y="69"/>
                  <a:pt x="64" y="68"/>
                  <a:pt x="64" y="67"/>
                </a:cubicBezTo>
                <a:cubicBezTo>
                  <a:pt x="64" y="67"/>
                  <a:pt x="64" y="66"/>
                  <a:pt x="64" y="65"/>
                </a:cubicBezTo>
                <a:cubicBezTo>
                  <a:pt x="64" y="64"/>
                  <a:pt x="64" y="62"/>
                  <a:pt x="64" y="61"/>
                </a:cubicBezTo>
                <a:cubicBezTo>
                  <a:pt x="65" y="61"/>
                  <a:pt x="65" y="60"/>
                  <a:pt x="65" y="58"/>
                </a:cubicBezTo>
                <a:cubicBezTo>
                  <a:pt x="66" y="57"/>
                  <a:pt x="66" y="56"/>
                  <a:pt x="66" y="55"/>
                </a:cubicBezTo>
                <a:cubicBezTo>
                  <a:pt x="66" y="55"/>
                  <a:pt x="66" y="55"/>
                  <a:pt x="67" y="54"/>
                </a:cubicBezTo>
                <a:cubicBezTo>
                  <a:pt x="67" y="52"/>
                  <a:pt x="67" y="52"/>
                  <a:pt x="67" y="51"/>
                </a:cubicBezTo>
                <a:cubicBezTo>
                  <a:pt x="68" y="51"/>
                  <a:pt x="68" y="51"/>
                  <a:pt x="68" y="50"/>
                </a:cubicBezTo>
                <a:cubicBezTo>
                  <a:pt x="68" y="50"/>
                  <a:pt x="68" y="50"/>
                  <a:pt x="68" y="49"/>
                </a:cubicBezTo>
                <a:cubicBezTo>
                  <a:pt x="68" y="48"/>
                  <a:pt x="69" y="47"/>
                  <a:pt x="69" y="46"/>
                </a:cubicBezTo>
                <a:cubicBezTo>
                  <a:pt x="70" y="44"/>
                  <a:pt x="70" y="45"/>
                  <a:pt x="70" y="44"/>
                </a:cubicBezTo>
                <a:cubicBezTo>
                  <a:pt x="70" y="42"/>
                  <a:pt x="71" y="42"/>
                  <a:pt x="71" y="42"/>
                </a:cubicBezTo>
                <a:cubicBezTo>
                  <a:pt x="70" y="42"/>
                  <a:pt x="70" y="42"/>
                  <a:pt x="69" y="42"/>
                </a:cubicBezTo>
                <a:cubicBezTo>
                  <a:pt x="69" y="42"/>
                  <a:pt x="68" y="41"/>
                  <a:pt x="69" y="41"/>
                </a:cubicBezTo>
                <a:cubicBezTo>
                  <a:pt x="70" y="40"/>
                  <a:pt x="70" y="40"/>
                  <a:pt x="71" y="40"/>
                </a:cubicBezTo>
                <a:cubicBezTo>
                  <a:pt x="71" y="40"/>
                  <a:pt x="71" y="40"/>
                  <a:pt x="72" y="39"/>
                </a:cubicBezTo>
                <a:cubicBezTo>
                  <a:pt x="72" y="39"/>
                  <a:pt x="72" y="38"/>
                  <a:pt x="72" y="38"/>
                </a:cubicBezTo>
                <a:cubicBezTo>
                  <a:pt x="73" y="38"/>
                  <a:pt x="73" y="38"/>
                  <a:pt x="73" y="37"/>
                </a:cubicBezTo>
                <a:cubicBezTo>
                  <a:pt x="73" y="37"/>
                  <a:pt x="74" y="37"/>
                  <a:pt x="74" y="36"/>
                </a:cubicBezTo>
                <a:cubicBezTo>
                  <a:pt x="75" y="35"/>
                  <a:pt x="75" y="35"/>
                  <a:pt x="75" y="34"/>
                </a:cubicBezTo>
                <a:cubicBezTo>
                  <a:pt x="76" y="34"/>
                  <a:pt x="76" y="33"/>
                  <a:pt x="77" y="33"/>
                </a:cubicBezTo>
                <a:cubicBezTo>
                  <a:pt x="78" y="32"/>
                  <a:pt x="78" y="31"/>
                  <a:pt x="78" y="32"/>
                </a:cubicBezTo>
                <a:cubicBezTo>
                  <a:pt x="78" y="33"/>
                  <a:pt x="79" y="33"/>
                  <a:pt x="78" y="33"/>
                </a:cubicBezTo>
                <a:cubicBezTo>
                  <a:pt x="78" y="34"/>
                  <a:pt x="77" y="34"/>
                  <a:pt x="77" y="34"/>
                </a:cubicBezTo>
                <a:cubicBezTo>
                  <a:pt x="76" y="35"/>
                  <a:pt x="76" y="36"/>
                  <a:pt x="75" y="36"/>
                </a:cubicBezTo>
                <a:cubicBezTo>
                  <a:pt x="75" y="36"/>
                  <a:pt x="75" y="37"/>
                  <a:pt x="75" y="37"/>
                </a:cubicBezTo>
                <a:cubicBezTo>
                  <a:pt x="75" y="37"/>
                  <a:pt x="74" y="37"/>
                  <a:pt x="74" y="38"/>
                </a:cubicBezTo>
                <a:cubicBezTo>
                  <a:pt x="73" y="39"/>
                  <a:pt x="73" y="39"/>
                  <a:pt x="73" y="39"/>
                </a:cubicBezTo>
                <a:cubicBezTo>
                  <a:pt x="73" y="40"/>
                  <a:pt x="72" y="40"/>
                  <a:pt x="72" y="41"/>
                </a:cubicBezTo>
                <a:cubicBezTo>
                  <a:pt x="72" y="41"/>
                  <a:pt x="72" y="41"/>
                  <a:pt x="72" y="42"/>
                </a:cubicBezTo>
                <a:cubicBezTo>
                  <a:pt x="72" y="42"/>
                  <a:pt x="72" y="43"/>
                  <a:pt x="71" y="43"/>
                </a:cubicBezTo>
                <a:cubicBezTo>
                  <a:pt x="71" y="44"/>
                  <a:pt x="71" y="44"/>
                  <a:pt x="71" y="44"/>
                </a:cubicBezTo>
                <a:cubicBezTo>
                  <a:pt x="70" y="45"/>
                  <a:pt x="70" y="45"/>
                  <a:pt x="70" y="46"/>
                </a:cubicBezTo>
                <a:cubicBezTo>
                  <a:pt x="70" y="46"/>
                  <a:pt x="70" y="46"/>
                  <a:pt x="69" y="47"/>
                </a:cubicBezTo>
                <a:cubicBezTo>
                  <a:pt x="69" y="47"/>
                  <a:pt x="69" y="48"/>
                  <a:pt x="69" y="48"/>
                </a:cubicBezTo>
                <a:cubicBezTo>
                  <a:pt x="69" y="48"/>
                  <a:pt x="69" y="48"/>
                  <a:pt x="69" y="49"/>
                </a:cubicBezTo>
                <a:cubicBezTo>
                  <a:pt x="68" y="49"/>
                  <a:pt x="68" y="49"/>
                  <a:pt x="68" y="50"/>
                </a:cubicBezTo>
                <a:cubicBezTo>
                  <a:pt x="68" y="50"/>
                  <a:pt x="68" y="51"/>
                  <a:pt x="68" y="51"/>
                </a:cubicBezTo>
                <a:cubicBezTo>
                  <a:pt x="68" y="51"/>
                  <a:pt x="68" y="52"/>
                  <a:pt x="68" y="52"/>
                </a:cubicBezTo>
                <a:cubicBezTo>
                  <a:pt x="68" y="52"/>
                  <a:pt x="68" y="52"/>
                  <a:pt x="68" y="53"/>
                </a:cubicBezTo>
                <a:cubicBezTo>
                  <a:pt x="67" y="53"/>
                  <a:pt x="68" y="53"/>
                  <a:pt x="67" y="54"/>
                </a:cubicBezTo>
                <a:cubicBezTo>
                  <a:pt x="67" y="54"/>
                  <a:pt x="67" y="56"/>
                  <a:pt x="67" y="56"/>
                </a:cubicBezTo>
                <a:cubicBezTo>
                  <a:pt x="67" y="57"/>
                  <a:pt x="67" y="57"/>
                  <a:pt x="66" y="58"/>
                </a:cubicBezTo>
                <a:cubicBezTo>
                  <a:pt x="66" y="58"/>
                  <a:pt x="66" y="59"/>
                  <a:pt x="66" y="59"/>
                </a:cubicBezTo>
                <a:cubicBezTo>
                  <a:pt x="66" y="60"/>
                  <a:pt x="66" y="60"/>
                  <a:pt x="66" y="60"/>
                </a:cubicBezTo>
                <a:cubicBezTo>
                  <a:pt x="65" y="61"/>
                  <a:pt x="66" y="61"/>
                  <a:pt x="65" y="62"/>
                </a:cubicBezTo>
                <a:cubicBezTo>
                  <a:pt x="65" y="63"/>
                  <a:pt x="65" y="64"/>
                  <a:pt x="65" y="65"/>
                </a:cubicBezTo>
                <a:cubicBezTo>
                  <a:pt x="65" y="65"/>
                  <a:pt x="65" y="66"/>
                  <a:pt x="65" y="66"/>
                </a:cubicBezTo>
                <a:cubicBezTo>
                  <a:pt x="65" y="67"/>
                  <a:pt x="65" y="67"/>
                  <a:pt x="65" y="68"/>
                </a:cubicBezTo>
                <a:cubicBezTo>
                  <a:pt x="65" y="69"/>
                  <a:pt x="65" y="69"/>
                  <a:pt x="65" y="69"/>
                </a:cubicBezTo>
                <a:cubicBezTo>
                  <a:pt x="65" y="70"/>
                  <a:pt x="65" y="70"/>
                  <a:pt x="65" y="70"/>
                </a:cubicBezTo>
                <a:cubicBezTo>
                  <a:pt x="64" y="71"/>
                  <a:pt x="64" y="71"/>
                  <a:pt x="65" y="71"/>
                </a:cubicBezTo>
                <a:cubicBezTo>
                  <a:pt x="65" y="72"/>
                  <a:pt x="64" y="71"/>
                  <a:pt x="65" y="72"/>
                </a:cubicBezTo>
                <a:cubicBezTo>
                  <a:pt x="65" y="72"/>
                  <a:pt x="65" y="72"/>
                  <a:pt x="66" y="72"/>
                </a:cubicBezTo>
                <a:cubicBezTo>
                  <a:pt x="67" y="73"/>
                  <a:pt x="66" y="72"/>
                  <a:pt x="67" y="73"/>
                </a:cubicBezTo>
                <a:cubicBezTo>
                  <a:pt x="67" y="73"/>
                  <a:pt x="68" y="73"/>
                  <a:pt x="69" y="73"/>
                </a:cubicBezTo>
                <a:cubicBezTo>
                  <a:pt x="70" y="74"/>
                  <a:pt x="70" y="74"/>
                  <a:pt x="71" y="75"/>
                </a:cubicBezTo>
                <a:cubicBezTo>
                  <a:pt x="71" y="75"/>
                  <a:pt x="72" y="75"/>
                  <a:pt x="72" y="75"/>
                </a:cubicBezTo>
                <a:cubicBezTo>
                  <a:pt x="72" y="75"/>
                  <a:pt x="73" y="75"/>
                  <a:pt x="73" y="75"/>
                </a:cubicBezTo>
                <a:cubicBezTo>
                  <a:pt x="73" y="74"/>
                  <a:pt x="73" y="74"/>
                  <a:pt x="73" y="74"/>
                </a:cubicBezTo>
                <a:cubicBezTo>
                  <a:pt x="74" y="74"/>
                  <a:pt x="74" y="74"/>
                  <a:pt x="75" y="74"/>
                </a:cubicBezTo>
                <a:cubicBezTo>
                  <a:pt x="75" y="74"/>
                  <a:pt x="75" y="74"/>
                  <a:pt x="76" y="74"/>
                </a:cubicBezTo>
                <a:cubicBezTo>
                  <a:pt x="76" y="74"/>
                  <a:pt x="76" y="74"/>
                  <a:pt x="76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8" y="74"/>
                  <a:pt x="78" y="74"/>
                  <a:pt x="78" y="74"/>
                </a:cubicBezTo>
                <a:cubicBezTo>
                  <a:pt x="77" y="75"/>
                  <a:pt x="78" y="74"/>
                  <a:pt x="77" y="75"/>
                </a:cubicBezTo>
                <a:cubicBezTo>
                  <a:pt x="76" y="75"/>
                  <a:pt x="76" y="75"/>
                  <a:pt x="76" y="75"/>
                </a:cubicBezTo>
                <a:cubicBezTo>
                  <a:pt x="76" y="76"/>
                  <a:pt x="76" y="76"/>
                  <a:pt x="76" y="76"/>
                </a:cubicBezTo>
                <a:cubicBezTo>
                  <a:pt x="76" y="76"/>
                  <a:pt x="77" y="76"/>
                  <a:pt x="76" y="77"/>
                </a:cubicBezTo>
                <a:cubicBezTo>
                  <a:pt x="76" y="77"/>
                  <a:pt x="76" y="78"/>
                  <a:pt x="76" y="78"/>
                </a:cubicBezTo>
                <a:cubicBezTo>
                  <a:pt x="76" y="78"/>
                  <a:pt x="76" y="78"/>
                  <a:pt x="76" y="79"/>
                </a:cubicBezTo>
                <a:cubicBezTo>
                  <a:pt x="77" y="79"/>
                  <a:pt x="77" y="79"/>
                  <a:pt x="77" y="80"/>
                </a:cubicBezTo>
                <a:cubicBezTo>
                  <a:pt x="77" y="80"/>
                  <a:pt x="77" y="80"/>
                  <a:pt x="77" y="80"/>
                </a:cubicBezTo>
                <a:cubicBezTo>
                  <a:pt x="78" y="80"/>
                  <a:pt x="79" y="81"/>
                  <a:pt x="79" y="81"/>
                </a:cubicBezTo>
                <a:cubicBezTo>
                  <a:pt x="79" y="81"/>
                  <a:pt x="79" y="81"/>
                  <a:pt x="79" y="81"/>
                </a:cubicBezTo>
                <a:cubicBezTo>
                  <a:pt x="79" y="81"/>
                  <a:pt x="79" y="81"/>
                  <a:pt x="80" y="80"/>
                </a:cubicBezTo>
                <a:cubicBezTo>
                  <a:pt x="80" y="80"/>
                  <a:pt x="80" y="80"/>
                  <a:pt x="80" y="80"/>
                </a:cubicBezTo>
                <a:cubicBezTo>
                  <a:pt x="81" y="80"/>
                  <a:pt x="81" y="80"/>
                  <a:pt x="81" y="80"/>
                </a:cubicBezTo>
                <a:cubicBezTo>
                  <a:pt x="81" y="80"/>
                  <a:pt x="82" y="80"/>
                  <a:pt x="82" y="80"/>
                </a:cubicBezTo>
                <a:cubicBezTo>
                  <a:pt x="82" y="80"/>
                  <a:pt x="83" y="80"/>
                  <a:pt x="83" y="81"/>
                </a:cubicBezTo>
                <a:cubicBezTo>
                  <a:pt x="84" y="81"/>
                  <a:pt x="84" y="82"/>
                  <a:pt x="84" y="82"/>
                </a:cubicBezTo>
                <a:cubicBezTo>
                  <a:pt x="85" y="82"/>
                  <a:pt x="85" y="83"/>
                  <a:pt x="85" y="83"/>
                </a:cubicBezTo>
                <a:cubicBezTo>
                  <a:pt x="85" y="83"/>
                  <a:pt x="86" y="83"/>
                  <a:pt x="86" y="83"/>
                </a:cubicBezTo>
                <a:cubicBezTo>
                  <a:pt x="86" y="83"/>
                  <a:pt x="86" y="83"/>
                  <a:pt x="86" y="84"/>
                </a:cubicBezTo>
                <a:cubicBezTo>
                  <a:pt x="86" y="84"/>
                  <a:pt x="87" y="85"/>
                  <a:pt x="87" y="85"/>
                </a:cubicBezTo>
                <a:cubicBezTo>
                  <a:pt x="87" y="85"/>
                  <a:pt x="87" y="85"/>
                  <a:pt x="87" y="86"/>
                </a:cubicBezTo>
                <a:cubicBezTo>
                  <a:pt x="87" y="86"/>
                  <a:pt x="88" y="86"/>
                  <a:pt x="88" y="87"/>
                </a:cubicBezTo>
                <a:cubicBezTo>
                  <a:pt x="88" y="87"/>
                  <a:pt x="88" y="87"/>
                  <a:pt x="88" y="88"/>
                </a:cubicBezTo>
                <a:cubicBezTo>
                  <a:pt x="89" y="88"/>
                  <a:pt x="89" y="87"/>
                  <a:pt x="89" y="88"/>
                </a:cubicBezTo>
                <a:cubicBezTo>
                  <a:pt x="89" y="89"/>
                  <a:pt x="89" y="89"/>
                  <a:pt x="89" y="89"/>
                </a:cubicBezTo>
                <a:cubicBezTo>
                  <a:pt x="89" y="90"/>
                  <a:pt x="90" y="90"/>
                  <a:pt x="90" y="90"/>
                </a:cubicBezTo>
                <a:cubicBezTo>
                  <a:pt x="90" y="91"/>
                  <a:pt x="90" y="91"/>
                  <a:pt x="91" y="91"/>
                </a:cubicBezTo>
                <a:cubicBezTo>
                  <a:pt x="91" y="91"/>
                  <a:pt x="92" y="92"/>
                  <a:pt x="92" y="92"/>
                </a:cubicBezTo>
                <a:cubicBezTo>
                  <a:pt x="91" y="92"/>
                  <a:pt x="91" y="92"/>
                  <a:pt x="91" y="92"/>
                </a:cubicBezTo>
                <a:cubicBezTo>
                  <a:pt x="91" y="92"/>
                  <a:pt x="90" y="92"/>
                  <a:pt x="90" y="93"/>
                </a:cubicBezTo>
                <a:cubicBezTo>
                  <a:pt x="90" y="93"/>
                  <a:pt x="89" y="94"/>
                  <a:pt x="89" y="94"/>
                </a:cubicBezTo>
                <a:cubicBezTo>
                  <a:pt x="89" y="94"/>
                  <a:pt x="88" y="94"/>
                  <a:pt x="88" y="93"/>
                </a:cubicBezTo>
                <a:cubicBezTo>
                  <a:pt x="88" y="93"/>
                  <a:pt x="87" y="92"/>
                  <a:pt x="87" y="92"/>
                </a:cubicBezTo>
                <a:cubicBezTo>
                  <a:pt x="87" y="92"/>
                  <a:pt x="87" y="91"/>
                  <a:pt x="87" y="91"/>
                </a:cubicBezTo>
                <a:cubicBezTo>
                  <a:pt x="87" y="91"/>
                  <a:pt x="87" y="90"/>
                  <a:pt x="87" y="90"/>
                </a:cubicBezTo>
                <a:cubicBezTo>
                  <a:pt x="87" y="90"/>
                  <a:pt x="87" y="90"/>
                  <a:pt x="86" y="90"/>
                </a:cubicBezTo>
                <a:cubicBezTo>
                  <a:pt x="86" y="90"/>
                  <a:pt x="86" y="90"/>
                  <a:pt x="86" y="90"/>
                </a:cubicBezTo>
                <a:cubicBezTo>
                  <a:pt x="86" y="90"/>
                  <a:pt x="85" y="91"/>
                  <a:pt x="85" y="91"/>
                </a:cubicBezTo>
                <a:cubicBezTo>
                  <a:pt x="85" y="91"/>
                  <a:pt x="85" y="91"/>
                  <a:pt x="85" y="91"/>
                </a:cubicBezTo>
                <a:cubicBezTo>
                  <a:pt x="85" y="92"/>
                  <a:pt x="85" y="92"/>
                  <a:pt x="85" y="92"/>
                </a:cubicBezTo>
                <a:cubicBezTo>
                  <a:pt x="85" y="93"/>
                  <a:pt x="85" y="93"/>
                  <a:pt x="85" y="93"/>
                </a:cubicBezTo>
                <a:cubicBezTo>
                  <a:pt x="85" y="93"/>
                  <a:pt x="85" y="93"/>
                  <a:pt x="84" y="93"/>
                </a:cubicBezTo>
                <a:cubicBezTo>
                  <a:pt x="84" y="92"/>
                  <a:pt x="83" y="92"/>
                  <a:pt x="83" y="92"/>
                </a:cubicBezTo>
                <a:cubicBezTo>
                  <a:pt x="83" y="92"/>
                  <a:pt x="82" y="92"/>
                  <a:pt x="82" y="93"/>
                </a:cubicBezTo>
                <a:cubicBezTo>
                  <a:pt x="82" y="93"/>
                  <a:pt x="82" y="93"/>
                  <a:pt x="82" y="93"/>
                </a:cubicBezTo>
                <a:cubicBezTo>
                  <a:pt x="82" y="93"/>
                  <a:pt x="81" y="93"/>
                  <a:pt x="81" y="93"/>
                </a:cubicBezTo>
                <a:cubicBezTo>
                  <a:pt x="81" y="93"/>
                  <a:pt x="81" y="92"/>
                  <a:pt x="81" y="93"/>
                </a:cubicBezTo>
                <a:cubicBezTo>
                  <a:pt x="80" y="93"/>
                  <a:pt x="80" y="93"/>
                  <a:pt x="80" y="94"/>
                </a:cubicBezTo>
                <a:cubicBezTo>
                  <a:pt x="79" y="94"/>
                  <a:pt x="79" y="94"/>
                  <a:pt x="79" y="94"/>
                </a:cubicBezTo>
                <a:cubicBezTo>
                  <a:pt x="79" y="94"/>
                  <a:pt x="79" y="94"/>
                  <a:pt x="79" y="94"/>
                </a:cubicBezTo>
                <a:cubicBezTo>
                  <a:pt x="79" y="94"/>
                  <a:pt x="79" y="93"/>
                  <a:pt x="78" y="93"/>
                </a:cubicBezTo>
                <a:cubicBezTo>
                  <a:pt x="78" y="93"/>
                  <a:pt x="78" y="92"/>
                  <a:pt x="78" y="92"/>
                </a:cubicBezTo>
                <a:cubicBezTo>
                  <a:pt x="78" y="92"/>
                  <a:pt x="78" y="92"/>
                  <a:pt x="77" y="92"/>
                </a:cubicBezTo>
                <a:cubicBezTo>
                  <a:pt x="77" y="92"/>
                  <a:pt x="77" y="92"/>
                  <a:pt x="77" y="92"/>
                </a:cubicBezTo>
                <a:cubicBezTo>
                  <a:pt x="77" y="93"/>
                  <a:pt x="77" y="93"/>
                  <a:pt x="77" y="93"/>
                </a:cubicBezTo>
                <a:cubicBezTo>
                  <a:pt x="77" y="93"/>
                  <a:pt x="78" y="94"/>
                  <a:pt x="78" y="94"/>
                </a:cubicBezTo>
                <a:cubicBezTo>
                  <a:pt x="78" y="94"/>
                  <a:pt x="78" y="94"/>
                  <a:pt x="78" y="94"/>
                </a:cubicBezTo>
                <a:cubicBezTo>
                  <a:pt x="78" y="94"/>
                  <a:pt x="78" y="94"/>
                  <a:pt x="78" y="95"/>
                </a:cubicBezTo>
                <a:cubicBezTo>
                  <a:pt x="78" y="95"/>
                  <a:pt x="79" y="95"/>
                  <a:pt x="79" y="95"/>
                </a:cubicBezTo>
                <a:cubicBezTo>
                  <a:pt x="79" y="95"/>
                  <a:pt x="79" y="95"/>
                  <a:pt x="79" y="95"/>
                </a:cubicBezTo>
                <a:cubicBezTo>
                  <a:pt x="79" y="95"/>
                  <a:pt x="78" y="96"/>
                  <a:pt x="78" y="96"/>
                </a:cubicBezTo>
                <a:cubicBezTo>
                  <a:pt x="78" y="96"/>
                  <a:pt x="78" y="96"/>
                  <a:pt x="78" y="96"/>
                </a:cubicBezTo>
                <a:cubicBezTo>
                  <a:pt x="78" y="96"/>
                  <a:pt x="78" y="96"/>
                  <a:pt x="78" y="97"/>
                </a:cubicBezTo>
                <a:cubicBezTo>
                  <a:pt x="78" y="97"/>
                  <a:pt x="78" y="98"/>
                  <a:pt x="78" y="98"/>
                </a:cubicBezTo>
                <a:cubicBezTo>
                  <a:pt x="77" y="98"/>
                  <a:pt x="77" y="98"/>
                  <a:pt x="77" y="98"/>
                </a:cubicBezTo>
                <a:cubicBezTo>
                  <a:pt x="76" y="98"/>
                  <a:pt x="76" y="97"/>
                  <a:pt x="76" y="97"/>
                </a:cubicBezTo>
                <a:cubicBezTo>
                  <a:pt x="76" y="97"/>
                  <a:pt x="75" y="97"/>
                  <a:pt x="75" y="97"/>
                </a:cubicBezTo>
                <a:cubicBezTo>
                  <a:pt x="75" y="97"/>
                  <a:pt x="75" y="97"/>
                  <a:pt x="75" y="97"/>
                </a:cubicBezTo>
                <a:cubicBezTo>
                  <a:pt x="75" y="97"/>
                  <a:pt x="74" y="97"/>
                  <a:pt x="74" y="96"/>
                </a:cubicBezTo>
                <a:cubicBezTo>
                  <a:pt x="73" y="96"/>
                  <a:pt x="73" y="95"/>
                  <a:pt x="73" y="95"/>
                </a:cubicBezTo>
                <a:cubicBezTo>
                  <a:pt x="72" y="95"/>
                  <a:pt x="72" y="95"/>
                  <a:pt x="71" y="95"/>
                </a:cubicBezTo>
                <a:cubicBezTo>
                  <a:pt x="71" y="95"/>
                  <a:pt x="71" y="95"/>
                  <a:pt x="70" y="94"/>
                </a:cubicBezTo>
                <a:cubicBezTo>
                  <a:pt x="70" y="93"/>
                  <a:pt x="71" y="93"/>
                  <a:pt x="70" y="93"/>
                </a:cubicBezTo>
                <a:cubicBezTo>
                  <a:pt x="70" y="92"/>
                  <a:pt x="70" y="93"/>
                  <a:pt x="70" y="92"/>
                </a:cubicBezTo>
                <a:cubicBezTo>
                  <a:pt x="70" y="92"/>
                  <a:pt x="70" y="92"/>
                  <a:pt x="70" y="92"/>
                </a:cubicBezTo>
                <a:cubicBezTo>
                  <a:pt x="70" y="91"/>
                  <a:pt x="71" y="92"/>
                  <a:pt x="70" y="91"/>
                </a:cubicBezTo>
                <a:cubicBezTo>
                  <a:pt x="70" y="91"/>
                  <a:pt x="70" y="92"/>
                  <a:pt x="70" y="91"/>
                </a:cubicBezTo>
                <a:cubicBezTo>
                  <a:pt x="70" y="91"/>
                  <a:pt x="70" y="91"/>
                  <a:pt x="70" y="91"/>
                </a:cubicBezTo>
                <a:cubicBezTo>
                  <a:pt x="70" y="90"/>
                  <a:pt x="71" y="90"/>
                  <a:pt x="71" y="90"/>
                </a:cubicBezTo>
                <a:cubicBezTo>
                  <a:pt x="71" y="90"/>
                  <a:pt x="71" y="90"/>
                  <a:pt x="71" y="90"/>
                </a:cubicBezTo>
                <a:cubicBezTo>
                  <a:pt x="70" y="90"/>
                  <a:pt x="70" y="90"/>
                  <a:pt x="70" y="90"/>
                </a:cubicBezTo>
                <a:cubicBezTo>
                  <a:pt x="70" y="90"/>
                  <a:pt x="70" y="90"/>
                  <a:pt x="70" y="90"/>
                </a:cubicBezTo>
                <a:cubicBezTo>
                  <a:pt x="69" y="91"/>
                  <a:pt x="69" y="91"/>
                  <a:pt x="69" y="91"/>
                </a:cubicBezTo>
                <a:cubicBezTo>
                  <a:pt x="68" y="90"/>
                  <a:pt x="68" y="90"/>
                  <a:pt x="68" y="90"/>
                </a:cubicBezTo>
                <a:cubicBezTo>
                  <a:pt x="68" y="90"/>
                  <a:pt x="68" y="90"/>
                  <a:pt x="68" y="90"/>
                </a:cubicBezTo>
                <a:cubicBezTo>
                  <a:pt x="67" y="89"/>
                  <a:pt x="67" y="89"/>
                  <a:pt x="67" y="89"/>
                </a:cubicBezTo>
                <a:cubicBezTo>
                  <a:pt x="66" y="89"/>
                  <a:pt x="67" y="89"/>
                  <a:pt x="66" y="89"/>
                </a:cubicBezTo>
                <a:cubicBezTo>
                  <a:pt x="66" y="90"/>
                  <a:pt x="66" y="90"/>
                  <a:pt x="66" y="90"/>
                </a:cubicBezTo>
                <a:cubicBezTo>
                  <a:pt x="65" y="89"/>
                  <a:pt x="66" y="90"/>
                  <a:pt x="65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8"/>
                  <a:pt x="65" y="88"/>
                  <a:pt x="65" y="88"/>
                </a:cubicBezTo>
                <a:cubicBezTo>
                  <a:pt x="64" y="88"/>
                  <a:pt x="64" y="88"/>
                  <a:pt x="64" y="88"/>
                </a:cubicBezTo>
                <a:cubicBezTo>
                  <a:pt x="63" y="88"/>
                  <a:pt x="63" y="88"/>
                  <a:pt x="63" y="87"/>
                </a:cubicBezTo>
                <a:cubicBezTo>
                  <a:pt x="63" y="87"/>
                  <a:pt x="63" y="88"/>
                  <a:pt x="63" y="87"/>
                </a:cubicBezTo>
                <a:cubicBezTo>
                  <a:pt x="63" y="87"/>
                  <a:pt x="63" y="88"/>
                  <a:pt x="63" y="87"/>
                </a:cubicBezTo>
                <a:cubicBezTo>
                  <a:pt x="63" y="86"/>
                  <a:pt x="63" y="86"/>
                  <a:pt x="63" y="86"/>
                </a:cubicBezTo>
                <a:cubicBezTo>
                  <a:pt x="63" y="86"/>
                  <a:pt x="63" y="86"/>
                  <a:pt x="63" y="85"/>
                </a:cubicBezTo>
                <a:cubicBezTo>
                  <a:pt x="63" y="85"/>
                  <a:pt x="64" y="84"/>
                  <a:pt x="63" y="84"/>
                </a:cubicBezTo>
                <a:cubicBezTo>
                  <a:pt x="63" y="83"/>
                  <a:pt x="63" y="81"/>
                  <a:pt x="63" y="81"/>
                </a:cubicBezTo>
                <a:cubicBezTo>
                  <a:pt x="63" y="81"/>
                  <a:pt x="62" y="79"/>
                  <a:pt x="62" y="79"/>
                </a:cubicBezTo>
                <a:cubicBezTo>
                  <a:pt x="62" y="78"/>
                  <a:pt x="60" y="76"/>
                  <a:pt x="60" y="76"/>
                </a:cubicBezTo>
                <a:cubicBezTo>
                  <a:pt x="60" y="76"/>
                  <a:pt x="59" y="75"/>
                  <a:pt x="59" y="75"/>
                </a:cubicBezTo>
                <a:cubicBezTo>
                  <a:pt x="58" y="75"/>
                  <a:pt x="57" y="75"/>
                  <a:pt x="57" y="75"/>
                </a:cubicBezTo>
                <a:cubicBezTo>
                  <a:pt x="56" y="75"/>
                  <a:pt x="56" y="75"/>
                  <a:pt x="55" y="75"/>
                </a:cubicBezTo>
                <a:cubicBezTo>
                  <a:pt x="55" y="75"/>
                  <a:pt x="55" y="75"/>
                  <a:pt x="54" y="75"/>
                </a:cubicBezTo>
                <a:cubicBezTo>
                  <a:pt x="54" y="75"/>
                  <a:pt x="54" y="75"/>
                  <a:pt x="54" y="75"/>
                </a:cubicBezTo>
                <a:cubicBezTo>
                  <a:pt x="54" y="76"/>
                  <a:pt x="54" y="76"/>
                  <a:pt x="54" y="76"/>
                </a:cubicBezTo>
                <a:cubicBezTo>
                  <a:pt x="55" y="77"/>
                  <a:pt x="55" y="77"/>
                  <a:pt x="54" y="77"/>
                </a:cubicBezTo>
                <a:cubicBezTo>
                  <a:pt x="54" y="77"/>
                  <a:pt x="53" y="77"/>
                  <a:pt x="53" y="77"/>
                </a:cubicBezTo>
                <a:cubicBezTo>
                  <a:pt x="52" y="77"/>
                  <a:pt x="52" y="77"/>
                  <a:pt x="52" y="77"/>
                </a:cubicBezTo>
                <a:cubicBezTo>
                  <a:pt x="52" y="77"/>
                  <a:pt x="52" y="77"/>
                  <a:pt x="52" y="78"/>
                </a:cubicBezTo>
                <a:cubicBezTo>
                  <a:pt x="52" y="78"/>
                  <a:pt x="51" y="78"/>
                  <a:pt x="51" y="78"/>
                </a:cubicBezTo>
                <a:cubicBezTo>
                  <a:pt x="51" y="77"/>
                  <a:pt x="51" y="77"/>
                  <a:pt x="51" y="77"/>
                </a:cubicBezTo>
                <a:cubicBezTo>
                  <a:pt x="51" y="76"/>
                  <a:pt x="51" y="76"/>
                  <a:pt x="51" y="76"/>
                </a:cubicBezTo>
                <a:cubicBezTo>
                  <a:pt x="50" y="75"/>
                  <a:pt x="50" y="75"/>
                  <a:pt x="50" y="75"/>
                </a:cubicBezTo>
                <a:cubicBezTo>
                  <a:pt x="50" y="75"/>
                  <a:pt x="50" y="75"/>
                  <a:pt x="50" y="75"/>
                </a:cubicBezTo>
                <a:cubicBezTo>
                  <a:pt x="50" y="74"/>
                  <a:pt x="50" y="74"/>
                  <a:pt x="50" y="74"/>
                </a:cubicBezTo>
                <a:cubicBezTo>
                  <a:pt x="49" y="74"/>
                  <a:pt x="49" y="74"/>
                  <a:pt x="49" y="74"/>
                </a:cubicBezTo>
                <a:cubicBezTo>
                  <a:pt x="49" y="74"/>
                  <a:pt x="49" y="74"/>
                  <a:pt x="49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48" y="76"/>
                  <a:pt x="49" y="76"/>
                  <a:pt x="48" y="76"/>
                </a:cubicBezTo>
                <a:cubicBezTo>
                  <a:pt x="48" y="75"/>
                  <a:pt x="48" y="75"/>
                  <a:pt x="48" y="75"/>
                </a:cubicBezTo>
                <a:cubicBezTo>
                  <a:pt x="47" y="75"/>
                  <a:pt x="47" y="75"/>
                  <a:pt x="47" y="75"/>
                </a:cubicBezTo>
                <a:cubicBezTo>
                  <a:pt x="47" y="75"/>
                  <a:pt x="45" y="74"/>
                  <a:pt x="44" y="75"/>
                </a:cubicBezTo>
                <a:cubicBezTo>
                  <a:pt x="43" y="75"/>
                  <a:pt x="43" y="76"/>
                  <a:pt x="43" y="76"/>
                </a:cubicBezTo>
                <a:cubicBezTo>
                  <a:pt x="42" y="75"/>
                  <a:pt x="41" y="75"/>
                  <a:pt x="41" y="75"/>
                </a:cubicBezTo>
                <a:cubicBezTo>
                  <a:pt x="41" y="75"/>
                  <a:pt x="41" y="75"/>
                  <a:pt x="41" y="75"/>
                </a:cubicBezTo>
                <a:cubicBezTo>
                  <a:pt x="41" y="74"/>
                  <a:pt x="41" y="74"/>
                  <a:pt x="41" y="74"/>
                </a:cubicBezTo>
                <a:cubicBezTo>
                  <a:pt x="41" y="74"/>
                  <a:pt x="41" y="74"/>
                  <a:pt x="41" y="73"/>
                </a:cubicBezTo>
                <a:cubicBezTo>
                  <a:pt x="41" y="73"/>
                  <a:pt x="41" y="73"/>
                  <a:pt x="41" y="73"/>
                </a:cubicBezTo>
                <a:cubicBezTo>
                  <a:pt x="41" y="73"/>
                  <a:pt x="41" y="72"/>
                  <a:pt x="41" y="72"/>
                </a:cubicBezTo>
                <a:cubicBezTo>
                  <a:pt x="41" y="72"/>
                  <a:pt x="41" y="72"/>
                  <a:pt x="41" y="72"/>
                </a:cubicBezTo>
                <a:cubicBezTo>
                  <a:pt x="41" y="72"/>
                  <a:pt x="41" y="71"/>
                  <a:pt x="40" y="71"/>
                </a:cubicBezTo>
                <a:cubicBezTo>
                  <a:pt x="40" y="71"/>
                  <a:pt x="40" y="71"/>
                  <a:pt x="40" y="71"/>
                </a:cubicBezTo>
                <a:cubicBezTo>
                  <a:pt x="39" y="71"/>
                  <a:pt x="39" y="71"/>
                  <a:pt x="39" y="71"/>
                </a:cubicBezTo>
                <a:cubicBezTo>
                  <a:pt x="39" y="71"/>
                  <a:pt x="39" y="71"/>
                  <a:pt x="38" y="71"/>
                </a:cubicBezTo>
                <a:cubicBezTo>
                  <a:pt x="38" y="71"/>
                  <a:pt x="38" y="71"/>
                  <a:pt x="38" y="71"/>
                </a:cubicBezTo>
                <a:cubicBezTo>
                  <a:pt x="38" y="70"/>
                  <a:pt x="37" y="70"/>
                  <a:pt x="37" y="70"/>
                </a:cubicBezTo>
                <a:cubicBezTo>
                  <a:pt x="37" y="69"/>
                  <a:pt x="37" y="69"/>
                  <a:pt x="37" y="69"/>
                </a:cubicBezTo>
                <a:cubicBezTo>
                  <a:pt x="37" y="69"/>
                  <a:pt x="37" y="69"/>
                  <a:pt x="37" y="69"/>
                </a:cubicBezTo>
                <a:cubicBezTo>
                  <a:pt x="37" y="69"/>
                  <a:pt x="37" y="69"/>
                  <a:pt x="37" y="69"/>
                </a:cubicBezTo>
                <a:cubicBezTo>
                  <a:pt x="36" y="68"/>
                  <a:pt x="37" y="69"/>
                  <a:pt x="36" y="68"/>
                </a:cubicBezTo>
                <a:cubicBezTo>
                  <a:pt x="36" y="68"/>
                  <a:pt x="36" y="68"/>
                  <a:pt x="36" y="68"/>
                </a:cubicBezTo>
                <a:cubicBezTo>
                  <a:pt x="35" y="68"/>
                  <a:pt x="35" y="67"/>
                  <a:pt x="35" y="67"/>
                </a:cubicBezTo>
                <a:cubicBezTo>
                  <a:pt x="35" y="67"/>
                  <a:pt x="35" y="67"/>
                  <a:pt x="35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7"/>
                  <a:pt x="33" y="67"/>
                  <a:pt x="33" y="66"/>
                </a:cubicBezTo>
                <a:cubicBezTo>
                  <a:pt x="33" y="66"/>
                  <a:pt x="31" y="65"/>
                  <a:pt x="31" y="65"/>
                </a:cubicBezTo>
                <a:cubicBezTo>
                  <a:pt x="29" y="65"/>
                  <a:pt x="29" y="65"/>
                  <a:pt x="29" y="65"/>
                </a:cubicBezTo>
                <a:cubicBezTo>
                  <a:pt x="28" y="64"/>
                  <a:pt x="28" y="64"/>
                  <a:pt x="28" y="64"/>
                </a:cubicBezTo>
                <a:cubicBezTo>
                  <a:pt x="27" y="64"/>
                  <a:pt x="27" y="64"/>
                  <a:pt x="27" y="64"/>
                </a:cubicBezTo>
                <a:cubicBezTo>
                  <a:pt x="27" y="64"/>
                  <a:pt x="26" y="64"/>
                  <a:pt x="26" y="64"/>
                </a:cubicBezTo>
                <a:cubicBezTo>
                  <a:pt x="25" y="64"/>
                  <a:pt x="24" y="64"/>
                  <a:pt x="24" y="64"/>
                </a:cubicBezTo>
                <a:cubicBezTo>
                  <a:pt x="24" y="64"/>
                  <a:pt x="23" y="64"/>
                  <a:pt x="23" y="64"/>
                </a:cubicBezTo>
                <a:cubicBezTo>
                  <a:pt x="22" y="64"/>
                  <a:pt x="22" y="64"/>
                  <a:pt x="22" y="64"/>
                </a:cubicBezTo>
                <a:cubicBezTo>
                  <a:pt x="22" y="64"/>
                  <a:pt x="22" y="64"/>
                  <a:pt x="21" y="64"/>
                </a:cubicBezTo>
                <a:cubicBezTo>
                  <a:pt x="21" y="65"/>
                  <a:pt x="21" y="65"/>
                  <a:pt x="21" y="65"/>
                </a:cubicBezTo>
                <a:cubicBezTo>
                  <a:pt x="20" y="65"/>
                  <a:pt x="20" y="65"/>
                  <a:pt x="20" y="65"/>
                </a:cubicBezTo>
                <a:cubicBezTo>
                  <a:pt x="19" y="65"/>
                  <a:pt x="19" y="65"/>
                  <a:pt x="19" y="65"/>
                </a:cubicBezTo>
                <a:cubicBezTo>
                  <a:pt x="18" y="65"/>
                  <a:pt x="18" y="65"/>
                  <a:pt x="18" y="65"/>
                </a:cubicBezTo>
                <a:cubicBezTo>
                  <a:pt x="18" y="65"/>
                  <a:pt x="18" y="65"/>
                  <a:pt x="18" y="65"/>
                </a:cubicBezTo>
                <a:cubicBezTo>
                  <a:pt x="17" y="65"/>
                  <a:pt x="17" y="65"/>
                  <a:pt x="17" y="65"/>
                </a:cubicBezTo>
                <a:cubicBezTo>
                  <a:pt x="16" y="65"/>
                  <a:pt x="16" y="65"/>
                  <a:pt x="16" y="65"/>
                </a:cubicBezTo>
                <a:cubicBezTo>
                  <a:pt x="16" y="65"/>
                  <a:pt x="16" y="65"/>
                  <a:pt x="15" y="65"/>
                </a:cubicBezTo>
                <a:cubicBezTo>
                  <a:pt x="15" y="64"/>
                  <a:pt x="15" y="64"/>
                  <a:pt x="14" y="63"/>
                </a:cubicBezTo>
                <a:cubicBezTo>
                  <a:pt x="14" y="63"/>
                  <a:pt x="14" y="62"/>
                  <a:pt x="14" y="62"/>
                </a:cubicBezTo>
                <a:cubicBezTo>
                  <a:pt x="13" y="63"/>
                  <a:pt x="13" y="62"/>
                  <a:pt x="13" y="63"/>
                </a:cubicBezTo>
                <a:cubicBezTo>
                  <a:pt x="12" y="63"/>
                  <a:pt x="12" y="63"/>
                  <a:pt x="12" y="63"/>
                </a:cubicBezTo>
                <a:cubicBezTo>
                  <a:pt x="12" y="63"/>
                  <a:pt x="12" y="64"/>
                  <a:pt x="11" y="64"/>
                </a:cubicBezTo>
                <a:cubicBezTo>
                  <a:pt x="11" y="63"/>
                  <a:pt x="11" y="64"/>
                  <a:pt x="10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9" y="63"/>
                  <a:pt x="9" y="62"/>
                  <a:pt x="9" y="62"/>
                </a:cubicBezTo>
                <a:cubicBezTo>
                  <a:pt x="9" y="62"/>
                  <a:pt x="8" y="62"/>
                  <a:pt x="8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7" y="62"/>
                  <a:pt x="6" y="61"/>
                  <a:pt x="6" y="60"/>
                </a:cubicBezTo>
                <a:cubicBezTo>
                  <a:pt x="6" y="60"/>
                  <a:pt x="5" y="60"/>
                  <a:pt x="5" y="59"/>
                </a:cubicBezTo>
                <a:cubicBezTo>
                  <a:pt x="5" y="59"/>
                  <a:pt x="5" y="59"/>
                  <a:pt x="5" y="58"/>
                </a:cubicBezTo>
                <a:cubicBezTo>
                  <a:pt x="5" y="58"/>
                  <a:pt x="5" y="58"/>
                  <a:pt x="4" y="58"/>
                </a:cubicBezTo>
                <a:cubicBezTo>
                  <a:pt x="4" y="58"/>
                  <a:pt x="4" y="58"/>
                  <a:pt x="3" y="58"/>
                </a:cubicBezTo>
                <a:cubicBezTo>
                  <a:pt x="2" y="57"/>
                  <a:pt x="3" y="58"/>
                  <a:pt x="2" y="57"/>
                </a:cubicBezTo>
                <a:cubicBezTo>
                  <a:pt x="2" y="57"/>
                  <a:pt x="1" y="57"/>
                  <a:pt x="1" y="56"/>
                </a:cubicBezTo>
                <a:cubicBezTo>
                  <a:pt x="1" y="56"/>
                  <a:pt x="1" y="56"/>
                  <a:pt x="1" y="55"/>
                </a:cubicBezTo>
                <a:cubicBezTo>
                  <a:pt x="2" y="55"/>
                  <a:pt x="2" y="55"/>
                  <a:pt x="2" y="54"/>
                </a:cubicBezTo>
                <a:cubicBezTo>
                  <a:pt x="2" y="54"/>
                  <a:pt x="2" y="54"/>
                  <a:pt x="2" y="54"/>
                </a:cubicBezTo>
                <a:cubicBezTo>
                  <a:pt x="2" y="54"/>
                  <a:pt x="1" y="54"/>
                  <a:pt x="2" y="53"/>
                </a:cubicBezTo>
                <a:cubicBezTo>
                  <a:pt x="2" y="53"/>
                  <a:pt x="1" y="53"/>
                  <a:pt x="2" y="53"/>
                </a:cubicBezTo>
                <a:cubicBezTo>
                  <a:pt x="2" y="53"/>
                  <a:pt x="2" y="52"/>
                  <a:pt x="2" y="52"/>
                </a:cubicBezTo>
                <a:cubicBezTo>
                  <a:pt x="2" y="52"/>
                  <a:pt x="3" y="52"/>
                  <a:pt x="3" y="52"/>
                </a:cubicBezTo>
                <a:cubicBezTo>
                  <a:pt x="3" y="52"/>
                  <a:pt x="3" y="51"/>
                  <a:pt x="3" y="51"/>
                </a:cubicBezTo>
                <a:cubicBezTo>
                  <a:pt x="3" y="51"/>
                  <a:pt x="3" y="51"/>
                  <a:pt x="3" y="50"/>
                </a:cubicBezTo>
                <a:cubicBezTo>
                  <a:pt x="2" y="50"/>
                  <a:pt x="2" y="50"/>
                  <a:pt x="2" y="50"/>
                </a:cubicBezTo>
                <a:cubicBezTo>
                  <a:pt x="2" y="50"/>
                  <a:pt x="2" y="50"/>
                  <a:pt x="2" y="50"/>
                </a:cubicBezTo>
                <a:cubicBezTo>
                  <a:pt x="2" y="49"/>
                  <a:pt x="1" y="49"/>
                  <a:pt x="1" y="49"/>
                </a:cubicBezTo>
                <a:cubicBezTo>
                  <a:pt x="1" y="48"/>
                  <a:pt x="1" y="48"/>
                  <a:pt x="1" y="48"/>
                </a:cubicBezTo>
                <a:cubicBezTo>
                  <a:pt x="1" y="48"/>
                  <a:pt x="1" y="48"/>
                  <a:pt x="1" y="48"/>
                </a:cubicBezTo>
                <a:cubicBezTo>
                  <a:pt x="0" y="47"/>
                  <a:pt x="1" y="47"/>
                  <a:pt x="1" y="47"/>
                </a:cubicBezTo>
                <a:cubicBezTo>
                  <a:pt x="1" y="46"/>
                  <a:pt x="1" y="46"/>
                  <a:pt x="1" y="46"/>
                </a:cubicBezTo>
                <a:cubicBezTo>
                  <a:pt x="1" y="45"/>
                  <a:pt x="1" y="44"/>
                  <a:pt x="1" y="44"/>
                </a:cubicBezTo>
                <a:cubicBezTo>
                  <a:pt x="1" y="43"/>
                  <a:pt x="1" y="43"/>
                  <a:pt x="1" y="43"/>
                </a:cubicBezTo>
                <a:cubicBezTo>
                  <a:pt x="1" y="43"/>
                  <a:pt x="2" y="43"/>
                  <a:pt x="2" y="43"/>
                </a:cubicBezTo>
                <a:cubicBezTo>
                  <a:pt x="2" y="44"/>
                  <a:pt x="2" y="44"/>
                  <a:pt x="2" y="44"/>
                </a:cubicBezTo>
                <a:cubicBezTo>
                  <a:pt x="3" y="44"/>
                  <a:pt x="2" y="43"/>
                  <a:pt x="3" y="44"/>
                </a:cubicBezTo>
                <a:cubicBezTo>
                  <a:pt x="4" y="44"/>
                  <a:pt x="4" y="44"/>
                  <a:pt x="4" y="44"/>
                </a:cubicBezTo>
                <a:cubicBezTo>
                  <a:pt x="4" y="44"/>
                  <a:pt x="4" y="44"/>
                  <a:pt x="4" y="45"/>
                </a:cubicBezTo>
                <a:cubicBezTo>
                  <a:pt x="4" y="45"/>
                  <a:pt x="4" y="46"/>
                  <a:pt x="4" y="46"/>
                </a:cubicBezTo>
                <a:cubicBezTo>
                  <a:pt x="4" y="46"/>
                  <a:pt x="4" y="46"/>
                  <a:pt x="5" y="46"/>
                </a:cubicBezTo>
                <a:cubicBezTo>
                  <a:pt x="5" y="46"/>
                  <a:pt x="5" y="46"/>
                  <a:pt x="5" y="46"/>
                </a:cubicBezTo>
                <a:cubicBezTo>
                  <a:pt x="5" y="46"/>
                  <a:pt x="5" y="47"/>
                  <a:pt x="5" y="47"/>
                </a:cubicBezTo>
                <a:cubicBezTo>
                  <a:pt x="5" y="47"/>
                  <a:pt x="6" y="47"/>
                  <a:pt x="6" y="47"/>
                </a:cubicBezTo>
                <a:cubicBezTo>
                  <a:pt x="6" y="47"/>
                  <a:pt x="6" y="47"/>
                  <a:pt x="6" y="47"/>
                </a:cubicBezTo>
                <a:cubicBezTo>
                  <a:pt x="6" y="47"/>
                  <a:pt x="6" y="46"/>
                  <a:pt x="6" y="46"/>
                </a:cubicBezTo>
                <a:cubicBezTo>
                  <a:pt x="6" y="46"/>
                  <a:pt x="5" y="45"/>
                  <a:pt x="5" y="45"/>
                </a:cubicBezTo>
                <a:cubicBezTo>
                  <a:pt x="5" y="45"/>
                  <a:pt x="5" y="45"/>
                  <a:pt x="5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6" y="45"/>
                  <a:pt x="6" y="44"/>
                  <a:pt x="7" y="44"/>
                </a:cubicBezTo>
                <a:cubicBezTo>
                  <a:pt x="7" y="45"/>
                  <a:pt x="7" y="44"/>
                  <a:pt x="7" y="44"/>
                </a:cubicBezTo>
                <a:cubicBezTo>
                  <a:pt x="7" y="44"/>
                  <a:pt x="8" y="44"/>
                  <a:pt x="8" y="43"/>
                </a:cubicBezTo>
                <a:cubicBezTo>
                  <a:pt x="8" y="43"/>
                  <a:pt x="8" y="43"/>
                  <a:pt x="9" y="43"/>
                </a:cubicBezTo>
                <a:cubicBezTo>
                  <a:pt x="9" y="43"/>
                  <a:pt x="9" y="42"/>
                  <a:pt x="9" y="42"/>
                </a:cubicBezTo>
                <a:cubicBezTo>
                  <a:pt x="9" y="42"/>
                  <a:pt x="10" y="42"/>
                  <a:pt x="10" y="42"/>
                </a:cubicBezTo>
                <a:cubicBezTo>
                  <a:pt x="10" y="41"/>
                  <a:pt x="10" y="41"/>
                  <a:pt x="11" y="41"/>
                </a:cubicBezTo>
                <a:cubicBezTo>
                  <a:pt x="11" y="41"/>
                  <a:pt x="11" y="41"/>
                  <a:pt x="11" y="41"/>
                </a:cubicBezTo>
                <a:cubicBezTo>
                  <a:pt x="11" y="40"/>
                  <a:pt x="12" y="40"/>
                  <a:pt x="12" y="40"/>
                </a:cubicBezTo>
                <a:cubicBezTo>
                  <a:pt x="13" y="40"/>
                  <a:pt x="13" y="40"/>
                  <a:pt x="13" y="40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40"/>
                  <a:pt x="14" y="40"/>
                  <a:pt x="14" y="40"/>
                </a:cubicBezTo>
                <a:cubicBezTo>
                  <a:pt x="14" y="40"/>
                  <a:pt x="16" y="39"/>
                  <a:pt x="16" y="39"/>
                </a:cubicBezTo>
                <a:cubicBezTo>
                  <a:pt x="16" y="39"/>
                  <a:pt x="17" y="39"/>
                  <a:pt x="17" y="38"/>
                </a:cubicBezTo>
                <a:cubicBezTo>
                  <a:pt x="17" y="38"/>
                  <a:pt x="17" y="37"/>
                  <a:pt x="18" y="37"/>
                </a:cubicBezTo>
                <a:cubicBezTo>
                  <a:pt x="18" y="37"/>
                  <a:pt x="18" y="37"/>
                  <a:pt x="18" y="37"/>
                </a:cubicBezTo>
                <a:cubicBezTo>
                  <a:pt x="19" y="37"/>
                  <a:pt x="19" y="36"/>
                  <a:pt x="19" y="36"/>
                </a:cubicBezTo>
                <a:cubicBezTo>
                  <a:pt x="19" y="36"/>
                  <a:pt x="20" y="36"/>
                  <a:pt x="20" y="36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5"/>
                  <a:pt x="20" y="35"/>
                  <a:pt x="21" y="36"/>
                </a:cubicBezTo>
                <a:cubicBezTo>
                  <a:pt x="21" y="36"/>
                  <a:pt x="22" y="37"/>
                  <a:pt x="22" y="36"/>
                </a:cubicBezTo>
                <a:cubicBezTo>
                  <a:pt x="22" y="36"/>
                  <a:pt x="22" y="35"/>
                  <a:pt x="21" y="35"/>
                </a:cubicBezTo>
                <a:cubicBezTo>
                  <a:pt x="21" y="35"/>
                  <a:pt x="21" y="35"/>
                  <a:pt x="21" y="34"/>
                </a:cubicBezTo>
                <a:cubicBezTo>
                  <a:pt x="21" y="34"/>
                  <a:pt x="21" y="34"/>
                  <a:pt x="21" y="34"/>
                </a:cubicBezTo>
                <a:cubicBezTo>
                  <a:pt x="21" y="34"/>
                  <a:pt x="21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1" y="33"/>
                  <a:pt x="21" y="32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4"/>
                  <a:pt x="23" y="34"/>
                  <a:pt x="23" y="34"/>
                </a:cubicBezTo>
                <a:cubicBezTo>
                  <a:pt x="23" y="34"/>
                  <a:pt x="23" y="33"/>
                  <a:pt x="23" y="33"/>
                </a:cubicBezTo>
                <a:cubicBezTo>
                  <a:pt x="23" y="33"/>
                  <a:pt x="23" y="32"/>
                  <a:pt x="23" y="32"/>
                </a:cubicBezTo>
                <a:cubicBezTo>
                  <a:pt x="23" y="32"/>
                  <a:pt x="23" y="32"/>
                  <a:pt x="22" y="32"/>
                </a:cubicBezTo>
                <a:cubicBezTo>
                  <a:pt x="22" y="32"/>
                  <a:pt x="22" y="32"/>
                  <a:pt x="22" y="32"/>
                </a:cubicBezTo>
                <a:cubicBezTo>
                  <a:pt x="22" y="32"/>
                  <a:pt x="21" y="32"/>
                  <a:pt x="21" y="31"/>
                </a:cubicBezTo>
                <a:cubicBezTo>
                  <a:pt x="21" y="31"/>
                  <a:pt x="21" y="31"/>
                  <a:pt x="21" y="31"/>
                </a:cubicBezTo>
                <a:cubicBezTo>
                  <a:pt x="22" y="31"/>
                  <a:pt x="22" y="30"/>
                  <a:pt x="22" y="30"/>
                </a:cubicBezTo>
                <a:cubicBezTo>
                  <a:pt x="22" y="31"/>
                  <a:pt x="22" y="31"/>
                  <a:pt x="22" y="31"/>
                </a:cubicBezTo>
                <a:cubicBezTo>
                  <a:pt x="22" y="31"/>
                  <a:pt x="23" y="31"/>
                  <a:pt x="23" y="31"/>
                </a:cubicBezTo>
                <a:cubicBezTo>
                  <a:pt x="23" y="30"/>
                  <a:pt x="24" y="30"/>
                  <a:pt x="24" y="30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30"/>
                  <a:pt x="24" y="30"/>
                  <a:pt x="24" y="30"/>
                </a:cubicBezTo>
                <a:cubicBezTo>
                  <a:pt x="25" y="29"/>
                  <a:pt x="24" y="29"/>
                  <a:pt x="25" y="29"/>
                </a:cubicBezTo>
                <a:cubicBezTo>
                  <a:pt x="25" y="29"/>
                  <a:pt x="26" y="29"/>
                  <a:pt x="26" y="29"/>
                </a:cubicBezTo>
                <a:cubicBezTo>
                  <a:pt x="26" y="29"/>
                  <a:pt x="26" y="29"/>
                  <a:pt x="26" y="29"/>
                </a:cubicBezTo>
                <a:cubicBezTo>
                  <a:pt x="26" y="29"/>
                  <a:pt x="26" y="29"/>
                  <a:pt x="26" y="28"/>
                </a:cubicBezTo>
                <a:cubicBezTo>
                  <a:pt x="25" y="28"/>
                  <a:pt x="25" y="28"/>
                  <a:pt x="25" y="28"/>
                </a:cubicBezTo>
                <a:cubicBezTo>
                  <a:pt x="25" y="28"/>
                  <a:pt x="24" y="27"/>
                  <a:pt x="24" y="27"/>
                </a:cubicBezTo>
                <a:cubicBezTo>
                  <a:pt x="23" y="27"/>
                  <a:pt x="23" y="27"/>
                  <a:pt x="23" y="27"/>
                </a:cubicBezTo>
                <a:cubicBezTo>
                  <a:pt x="23" y="27"/>
                  <a:pt x="22" y="26"/>
                  <a:pt x="22" y="26"/>
                </a:cubicBezTo>
                <a:cubicBezTo>
                  <a:pt x="22" y="26"/>
                  <a:pt x="22" y="26"/>
                  <a:pt x="22" y="26"/>
                </a:cubicBezTo>
                <a:cubicBezTo>
                  <a:pt x="22" y="26"/>
                  <a:pt x="22" y="26"/>
                  <a:pt x="22" y="25"/>
                </a:cubicBezTo>
                <a:cubicBezTo>
                  <a:pt x="22" y="25"/>
                  <a:pt x="22" y="25"/>
                  <a:pt x="22" y="25"/>
                </a:cubicBezTo>
                <a:cubicBezTo>
                  <a:pt x="21" y="25"/>
                  <a:pt x="21" y="25"/>
                  <a:pt x="21" y="25"/>
                </a:cubicBezTo>
                <a:cubicBezTo>
                  <a:pt x="20" y="25"/>
                  <a:pt x="20" y="25"/>
                  <a:pt x="20" y="25"/>
                </a:cubicBezTo>
                <a:cubicBezTo>
                  <a:pt x="20" y="26"/>
                  <a:pt x="20" y="26"/>
                  <a:pt x="20" y="26"/>
                </a:cubicBezTo>
                <a:cubicBezTo>
                  <a:pt x="19" y="26"/>
                  <a:pt x="19" y="26"/>
                  <a:pt x="19" y="25"/>
                </a:cubicBezTo>
                <a:cubicBezTo>
                  <a:pt x="19" y="25"/>
                  <a:pt x="19" y="25"/>
                  <a:pt x="18" y="25"/>
                </a:cubicBezTo>
                <a:cubicBezTo>
                  <a:pt x="17" y="25"/>
                  <a:pt x="17" y="25"/>
                  <a:pt x="17" y="25"/>
                </a:cubicBezTo>
                <a:cubicBezTo>
                  <a:pt x="17" y="25"/>
                  <a:pt x="17" y="25"/>
                  <a:pt x="17" y="25"/>
                </a:cubicBezTo>
                <a:cubicBezTo>
                  <a:pt x="17" y="24"/>
                  <a:pt x="17" y="24"/>
                  <a:pt x="17" y="24"/>
                </a:cubicBezTo>
                <a:cubicBezTo>
                  <a:pt x="17" y="24"/>
                  <a:pt x="17" y="23"/>
                  <a:pt x="17" y="23"/>
                </a:cubicBezTo>
                <a:cubicBezTo>
                  <a:pt x="17" y="23"/>
                  <a:pt x="17" y="22"/>
                  <a:pt x="17" y="22"/>
                </a:cubicBezTo>
                <a:cubicBezTo>
                  <a:pt x="17" y="22"/>
                  <a:pt x="17" y="21"/>
                  <a:pt x="17" y="21"/>
                </a:cubicBezTo>
                <a:cubicBezTo>
                  <a:pt x="17" y="21"/>
                  <a:pt x="17" y="20"/>
                  <a:pt x="17" y="20"/>
                </a:cubicBezTo>
                <a:cubicBezTo>
                  <a:pt x="17" y="19"/>
                  <a:pt x="17" y="19"/>
                  <a:pt x="17" y="19"/>
                </a:cubicBezTo>
                <a:cubicBezTo>
                  <a:pt x="17" y="19"/>
                  <a:pt x="17" y="18"/>
                  <a:pt x="18" y="18"/>
                </a:cubicBezTo>
                <a:cubicBezTo>
                  <a:pt x="18" y="18"/>
                  <a:pt x="18" y="18"/>
                  <a:pt x="18" y="17"/>
                </a:cubicBezTo>
                <a:cubicBezTo>
                  <a:pt x="18" y="17"/>
                  <a:pt x="19" y="16"/>
                  <a:pt x="18" y="16"/>
                </a:cubicBezTo>
                <a:cubicBezTo>
                  <a:pt x="18" y="16"/>
                  <a:pt x="18" y="16"/>
                  <a:pt x="18" y="16"/>
                </a:cubicBezTo>
                <a:cubicBezTo>
                  <a:pt x="17" y="16"/>
                  <a:pt x="17" y="16"/>
                  <a:pt x="17" y="16"/>
                </a:cubicBezTo>
                <a:cubicBezTo>
                  <a:pt x="17" y="15"/>
                  <a:pt x="17" y="15"/>
                  <a:pt x="18" y="15"/>
                </a:cubicBezTo>
                <a:cubicBezTo>
                  <a:pt x="18" y="15"/>
                  <a:pt x="18" y="15"/>
                  <a:pt x="19" y="15"/>
                </a:cubicBezTo>
                <a:lnTo>
                  <a:pt x="20" y="15"/>
                </a:lnTo>
                <a:close/>
              </a:path>
            </a:pathLst>
          </a:custGeom>
          <a:solidFill>
            <a:srgbClr val="BEBEBE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2" name="Полилиния 81"/>
          <p:cNvSpPr/>
          <p:nvPr/>
        </p:nvSpPr>
        <p:spPr>
          <a:xfrm>
            <a:off x="4131780" y="4973807"/>
            <a:ext cx="252086" cy="378913"/>
          </a:xfrm>
          <a:custGeom>
            <a:avLst/>
            <a:gdLst>
              <a:gd name="connsiteX0" fmla="*/ 99350 w 127925"/>
              <a:gd name="connsiteY0" fmla="*/ 131838 h 192285"/>
              <a:gd name="connsiteX1" fmla="*/ 112050 w 127925"/>
              <a:gd name="connsiteY1" fmla="*/ 147713 h 192285"/>
              <a:gd name="connsiteX2" fmla="*/ 115225 w 127925"/>
              <a:gd name="connsiteY2" fmla="*/ 157238 h 192285"/>
              <a:gd name="connsiteX3" fmla="*/ 127925 w 127925"/>
              <a:gd name="connsiteY3" fmla="*/ 154063 h 192285"/>
              <a:gd name="connsiteX4" fmla="*/ 124750 w 127925"/>
              <a:gd name="connsiteY4" fmla="*/ 141363 h 192285"/>
              <a:gd name="connsiteX5" fmla="*/ 118400 w 127925"/>
              <a:gd name="connsiteY5" fmla="*/ 131838 h 192285"/>
              <a:gd name="connsiteX6" fmla="*/ 124750 w 127925"/>
              <a:gd name="connsiteY6" fmla="*/ 112788 h 192285"/>
              <a:gd name="connsiteX7" fmla="*/ 118400 w 127925"/>
              <a:gd name="connsiteY7" fmla="*/ 84213 h 192285"/>
              <a:gd name="connsiteX8" fmla="*/ 99350 w 127925"/>
              <a:gd name="connsiteY8" fmla="*/ 68338 h 192285"/>
              <a:gd name="connsiteX9" fmla="*/ 86650 w 127925"/>
              <a:gd name="connsiteY9" fmla="*/ 49288 h 192285"/>
              <a:gd name="connsiteX10" fmla="*/ 73950 w 127925"/>
              <a:gd name="connsiteY10" fmla="*/ 33413 h 192285"/>
              <a:gd name="connsiteX11" fmla="*/ 32675 w 127925"/>
              <a:gd name="connsiteY11" fmla="*/ 30238 h 192285"/>
              <a:gd name="connsiteX12" fmla="*/ 7275 w 127925"/>
              <a:gd name="connsiteY12" fmla="*/ 8013 h 192285"/>
              <a:gd name="connsiteX13" fmla="*/ 10450 w 127925"/>
              <a:gd name="connsiteY13" fmla="*/ 20713 h 192285"/>
              <a:gd name="connsiteX14" fmla="*/ 23150 w 127925"/>
              <a:gd name="connsiteY14" fmla="*/ 36588 h 192285"/>
              <a:gd name="connsiteX15" fmla="*/ 42200 w 127925"/>
              <a:gd name="connsiteY15" fmla="*/ 52463 h 192285"/>
              <a:gd name="connsiteX16" fmla="*/ 48550 w 127925"/>
              <a:gd name="connsiteY16" fmla="*/ 61988 h 192285"/>
              <a:gd name="connsiteX17" fmla="*/ 77125 w 127925"/>
              <a:gd name="connsiteY17" fmla="*/ 68338 h 192285"/>
              <a:gd name="connsiteX18" fmla="*/ 77125 w 127925"/>
              <a:gd name="connsiteY18" fmla="*/ 90563 h 192285"/>
              <a:gd name="connsiteX19" fmla="*/ 67600 w 127925"/>
              <a:gd name="connsiteY19" fmla="*/ 96913 h 192285"/>
              <a:gd name="connsiteX20" fmla="*/ 48550 w 127925"/>
              <a:gd name="connsiteY20" fmla="*/ 103263 h 192285"/>
              <a:gd name="connsiteX21" fmla="*/ 42200 w 127925"/>
              <a:gd name="connsiteY21" fmla="*/ 112788 h 192285"/>
              <a:gd name="connsiteX22" fmla="*/ 39025 w 127925"/>
              <a:gd name="connsiteY22" fmla="*/ 135013 h 192285"/>
              <a:gd name="connsiteX23" fmla="*/ 35850 w 127925"/>
              <a:gd name="connsiteY23" fmla="*/ 147713 h 192285"/>
              <a:gd name="connsiteX24" fmla="*/ 26325 w 127925"/>
              <a:gd name="connsiteY24" fmla="*/ 154063 h 192285"/>
              <a:gd name="connsiteX25" fmla="*/ 13625 w 127925"/>
              <a:gd name="connsiteY25" fmla="*/ 150888 h 192285"/>
              <a:gd name="connsiteX26" fmla="*/ 925 w 127925"/>
              <a:gd name="connsiteY26" fmla="*/ 147713 h 192285"/>
              <a:gd name="connsiteX27" fmla="*/ 13625 w 127925"/>
              <a:gd name="connsiteY27" fmla="*/ 192163 h 192285"/>
              <a:gd name="connsiteX28" fmla="*/ 35850 w 127925"/>
              <a:gd name="connsiteY28" fmla="*/ 188988 h 192285"/>
              <a:gd name="connsiteX29" fmla="*/ 54900 w 127925"/>
              <a:gd name="connsiteY29" fmla="*/ 179463 h 192285"/>
              <a:gd name="connsiteX30" fmla="*/ 61250 w 127925"/>
              <a:gd name="connsiteY30" fmla="*/ 169938 h 192285"/>
              <a:gd name="connsiteX31" fmla="*/ 64425 w 127925"/>
              <a:gd name="connsiteY31" fmla="*/ 160413 h 192285"/>
              <a:gd name="connsiteX32" fmla="*/ 73950 w 127925"/>
              <a:gd name="connsiteY32" fmla="*/ 154063 h 192285"/>
              <a:gd name="connsiteX33" fmla="*/ 93000 w 127925"/>
              <a:gd name="connsiteY33" fmla="*/ 147713 h 192285"/>
              <a:gd name="connsiteX34" fmla="*/ 99350 w 127925"/>
              <a:gd name="connsiteY34" fmla="*/ 131838 h 192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27925" h="192285">
                <a:moveTo>
                  <a:pt x="99350" y="131838"/>
                </a:moveTo>
                <a:cubicBezTo>
                  <a:pt x="102525" y="131838"/>
                  <a:pt x="108458" y="141966"/>
                  <a:pt x="112050" y="147713"/>
                </a:cubicBezTo>
                <a:cubicBezTo>
                  <a:pt x="113824" y="150551"/>
                  <a:pt x="112118" y="155995"/>
                  <a:pt x="115225" y="157238"/>
                </a:cubicBezTo>
                <a:cubicBezTo>
                  <a:pt x="119277" y="158859"/>
                  <a:pt x="123692" y="155121"/>
                  <a:pt x="127925" y="154063"/>
                </a:cubicBezTo>
                <a:cubicBezTo>
                  <a:pt x="126867" y="149830"/>
                  <a:pt x="126469" y="145374"/>
                  <a:pt x="124750" y="141363"/>
                </a:cubicBezTo>
                <a:cubicBezTo>
                  <a:pt x="123247" y="137856"/>
                  <a:pt x="118400" y="135654"/>
                  <a:pt x="118400" y="131838"/>
                </a:cubicBezTo>
                <a:cubicBezTo>
                  <a:pt x="118400" y="125145"/>
                  <a:pt x="124750" y="112788"/>
                  <a:pt x="124750" y="112788"/>
                </a:cubicBezTo>
                <a:cubicBezTo>
                  <a:pt x="122633" y="103263"/>
                  <a:pt x="122153" y="93220"/>
                  <a:pt x="118400" y="84213"/>
                </a:cubicBezTo>
                <a:cubicBezTo>
                  <a:pt x="116049" y="78572"/>
                  <a:pt x="104221" y="71585"/>
                  <a:pt x="99350" y="68338"/>
                </a:cubicBezTo>
                <a:cubicBezTo>
                  <a:pt x="91801" y="45690"/>
                  <a:pt x="102505" y="73071"/>
                  <a:pt x="86650" y="49288"/>
                </a:cubicBezTo>
                <a:cubicBezTo>
                  <a:pt x="81202" y="41116"/>
                  <a:pt x="87475" y="35949"/>
                  <a:pt x="73950" y="33413"/>
                </a:cubicBezTo>
                <a:cubicBezTo>
                  <a:pt x="60387" y="30870"/>
                  <a:pt x="46433" y="31296"/>
                  <a:pt x="32675" y="30238"/>
                </a:cubicBezTo>
                <a:cubicBezTo>
                  <a:pt x="31305" y="19281"/>
                  <a:pt x="35549" y="-15549"/>
                  <a:pt x="7275" y="8013"/>
                </a:cubicBezTo>
                <a:cubicBezTo>
                  <a:pt x="3923" y="10807"/>
                  <a:pt x="9251" y="16517"/>
                  <a:pt x="10450" y="20713"/>
                </a:cubicBezTo>
                <a:cubicBezTo>
                  <a:pt x="14685" y="35535"/>
                  <a:pt x="11008" y="26469"/>
                  <a:pt x="23150" y="36588"/>
                </a:cubicBezTo>
                <a:cubicBezTo>
                  <a:pt x="47596" y="56960"/>
                  <a:pt x="18551" y="36697"/>
                  <a:pt x="42200" y="52463"/>
                </a:cubicBezTo>
                <a:cubicBezTo>
                  <a:pt x="44317" y="55638"/>
                  <a:pt x="45570" y="59604"/>
                  <a:pt x="48550" y="61988"/>
                </a:cubicBezTo>
                <a:cubicBezTo>
                  <a:pt x="52664" y="65279"/>
                  <a:pt x="76930" y="68306"/>
                  <a:pt x="77125" y="68338"/>
                </a:cubicBezTo>
                <a:cubicBezTo>
                  <a:pt x="84176" y="78914"/>
                  <a:pt x="87569" y="78031"/>
                  <a:pt x="77125" y="90563"/>
                </a:cubicBezTo>
                <a:cubicBezTo>
                  <a:pt x="74682" y="93494"/>
                  <a:pt x="71087" y="95363"/>
                  <a:pt x="67600" y="96913"/>
                </a:cubicBezTo>
                <a:cubicBezTo>
                  <a:pt x="61483" y="99631"/>
                  <a:pt x="48550" y="103263"/>
                  <a:pt x="48550" y="103263"/>
                </a:cubicBezTo>
                <a:cubicBezTo>
                  <a:pt x="46433" y="106438"/>
                  <a:pt x="43296" y="109133"/>
                  <a:pt x="42200" y="112788"/>
                </a:cubicBezTo>
                <a:cubicBezTo>
                  <a:pt x="40050" y="119956"/>
                  <a:pt x="40364" y="127650"/>
                  <a:pt x="39025" y="135013"/>
                </a:cubicBezTo>
                <a:cubicBezTo>
                  <a:pt x="38244" y="139306"/>
                  <a:pt x="38271" y="144082"/>
                  <a:pt x="35850" y="147713"/>
                </a:cubicBezTo>
                <a:cubicBezTo>
                  <a:pt x="33733" y="150888"/>
                  <a:pt x="29500" y="151946"/>
                  <a:pt x="26325" y="154063"/>
                </a:cubicBezTo>
                <a:cubicBezTo>
                  <a:pt x="22092" y="153005"/>
                  <a:pt x="17032" y="153614"/>
                  <a:pt x="13625" y="150888"/>
                </a:cubicBezTo>
                <a:cubicBezTo>
                  <a:pt x="2671" y="142125"/>
                  <a:pt x="20728" y="134511"/>
                  <a:pt x="925" y="147713"/>
                </a:cubicBezTo>
                <a:cubicBezTo>
                  <a:pt x="1216" y="151202"/>
                  <a:pt x="-5545" y="190246"/>
                  <a:pt x="13625" y="192163"/>
                </a:cubicBezTo>
                <a:cubicBezTo>
                  <a:pt x="21071" y="192908"/>
                  <a:pt x="28442" y="190046"/>
                  <a:pt x="35850" y="188988"/>
                </a:cubicBezTo>
                <a:cubicBezTo>
                  <a:pt x="43597" y="186406"/>
                  <a:pt x="48745" y="185618"/>
                  <a:pt x="54900" y="179463"/>
                </a:cubicBezTo>
                <a:cubicBezTo>
                  <a:pt x="57598" y="176765"/>
                  <a:pt x="59543" y="173351"/>
                  <a:pt x="61250" y="169938"/>
                </a:cubicBezTo>
                <a:cubicBezTo>
                  <a:pt x="62747" y="166945"/>
                  <a:pt x="62334" y="163026"/>
                  <a:pt x="64425" y="160413"/>
                </a:cubicBezTo>
                <a:cubicBezTo>
                  <a:pt x="66809" y="157433"/>
                  <a:pt x="70463" y="155613"/>
                  <a:pt x="73950" y="154063"/>
                </a:cubicBezTo>
                <a:cubicBezTo>
                  <a:pt x="80067" y="151345"/>
                  <a:pt x="86650" y="149830"/>
                  <a:pt x="93000" y="147713"/>
                </a:cubicBezTo>
                <a:cubicBezTo>
                  <a:pt x="104533" y="143869"/>
                  <a:pt x="96175" y="131838"/>
                  <a:pt x="99350" y="131838"/>
                </a:cubicBezTo>
                <a:close/>
              </a:path>
            </a:pathLst>
          </a:custGeom>
          <a:solidFill>
            <a:srgbClr val="C9C9C9"/>
          </a:solidFill>
          <a:ln w="12700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83" name="Госпрограмма"/>
          <p:cNvGrpSpPr/>
          <p:nvPr/>
        </p:nvGrpSpPr>
        <p:grpSpPr>
          <a:xfrm>
            <a:off x="3970932" y="1515631"/>
            <a:ext cx="4343246" cy="4156212"/>
            <a:chOff x="1454264" y="1740758"/>
            <a:chExt cx="4343246" cy="4156212"/>
          </a:xfrm>
        </p:grpSpPr>
        <p:grpSp>
          <p:nvGrpSpPr>
            <p:cNvPr id="84" name="Госпрограмма. Дороги"/>
            <p:cNvGrpSpPr/>
            <p:nvPr/>
          </p:nvGrpSpPr>
          <p:grpSpPr>
            <a:xfrm>
              <a:off x="1454264" y="1740758"/>
              <a:ext cx="4343246" cy="4156212"/>
              <a:chOff x="996950" y="3104358"/>
              <a:chExt cx="2204046" cy="2109133"/>
            </a:xfrm>
          </p:grpSpPr>
          <p:sp>
            <p:nvSpPr>
              <p:cNvPr id="86" name="М-11"/>
              <p:cNvSpPr/>
              <p:nvPr/>
            </p:nvSpPr>
            <p:spPr>
              <a:xfrm>
                <a:off x="1853989" y="3104358"/>
                <a:ext cx="76805" cy="755243"/>
              </a:xfrm>
              <a:custGeom>
                <a:avLst/>
                <a:gdLst>
                  <a:gd name="connsiteX0" fmla="*/ 211 w 76805"/>
                  <a:gd name="connsiteY0" fmla="*/ 0 h 795867"/>
                  <a:gd name="connsiteX1" fmla="*/ 67944 w 76805"/>
                  <a:gd name="connsiteY1" fmla="*/ 84667 h 795867"/>
                  <a:gd name="connsiteX2" fmla="*/ 59478 w 76805"/>
                  <a:gd name="connsiteY2" fmla="*/ 169333 h 795867"/>
                  <a:gd name="connsiteX3" fmla="*/ 25611 w 76805"/>
                  <a:gd name="connsiteY3" fmla="*/ 254000 h 795867"/>
                  <a:gd name="connsiteX4" fmla="*/ 211 w 76805"/>
                  <a:gd name="connsiteY4" fmla="*/ 355600 h 795867"/>
                  <a:gd name="connsiteX5" fmla="*/ 17144 w 76805"/>
                  <a:gd name="connsiteY5" fmla="*/ 465667 h 795867"/>
                  <a:gd name="connsiteX6" fmla="*/ 76411 w 76805"/>
                  <a:gd name="connsiteY6" fmla="*/ 575733 h 795867"/>
                  <a:gd name="connsiteX7" fmla="*/ 42544 w 76805"/>
                  <a:gd name="connsiteY7" fmla="*/ 677333 h 795867"/>
                  <a:gd name="connsiteX8" fmla="*/ 34078 w 76805"/>
                  <a:gd name="connsiteY8" fmla="*/ 795867 h 795867"/>
                  <a:gd name="connsiteX0" fmla="*/ 9736 w 76805"/>
                  <a:gd name="connsiteY0" fmla="*/ 0 h 764910"/>
                  <a:gd name="connsiteX1" fmla="*/ 67944 w 76805"/>
                  <a:gd name="connsiteY1" fmla="*/ 53710 h 764910"/>
                  <a:gd name="connsiteX2" fmla="*/ 59478 w 76805"/>
                  <a:gd name="connsiteY2" fmla="*/ 138376 h 764910"/>
                  <a:gd name="connsiteX3" fmla="*/ 25611 w 76805"/>
                  <a:gd name="connsiteY3" fmla="*/ 223043 h 764910"/>
                  <a:gd name="connsiteX4" fmla="*/ 211 w 76805"/>
                  <a:gd name="connsiteY4" fmla="*/ 324643 h 764910"/>
                  <a:gd name="connsiteX5" fmla="*/ 17144 w 76805"/>
                  <a:gd name="connsiteY5" fmla="*/ 434710 h 764910"/>
                  <a:gd name="connsiteX6" fmla="*/ 76411 w 76805"/>
                  <a:gd name="connsiteY6" fmla="*/ 544776 h 764910"/>
                  <a:gd name="connsiteX7" fmla="*/ 42544 w 76805"/>
                  <a:gd name="connsiteY7" fmla="*/ 646376 h 764910"/>
                  <a:gd name="connsiteX8" fmla="*/ 34078 w 76805"/>
                  <a:gd name="connsiteY8" fmla="*/ 764910 h 764910"/>
                  <a:gd name="connsiteX0" fmla="*/ 9736 w 76805"/>
                  <a:gd name="connsiteY0" fmla="*/ 0 h 764910"/>
                  <a:gd name="connsiteX1" fmla="*/ 67944 w 76805"/>
                  <a:gd name="connsiteY1" fmla="*/ 53710 h 764910"/>
                  <a:gd name="connsiteX2" fmla="*/ 59478 w 76805"/>
                  <a:gd name="connsiteY2" fmla="*/ 138376 h 764910"/>
                  <a:gd name="connsiteX3" fmla="*/ 25611 w 76805"/>
                  <a:gd name="connsiteY3" fmla="*/ 223043 h 764910"/>
                  <a:gd name="connsiteX4" fmla="*/ 211 w 76805"/>
                  <a:gd name="connsiteY4" fmla="*/ 324643 h 764910"/>
                  <a:gd name="connsiteX5" fmla="*/ 17144 w 76805"/>
                  <a:gd name="connsiteY5" fmla="*/ 434710 h 764910"/>
                  <a:gd name="connsiteX6" fmla="*/ 76411 w 76805"/>
                  <a:gd name="connsiteY6" fmla="*/ 544776 h 764910"/>
                  <a:gd name="connsiteX7" fmla="*/ 42544 w 76805"/>
                  <a:gd name="connsiteY7" fmla="*/ 646376 h 764910"/>
                  <a:gd name="connsiteX8" fmla="*/ 34078 w 76805"/>
                  <a:gd name="connsiteY8" fmla="*/ 764910 h 764910"/>
                  <a:gd name="connsiteX0" fmla="*/ 9736 w 76805"/>
                  <a:gd name="connsiteY0" fmla="*/ 0 h 764910"/>
                  <a:gd name="connsiteX1" fmla="*/ 53656 w 76805"/>
                  <a:gd name="connsiteY1" fmla="*/ 56091 h 764910"/>
                  <a:gd name="connsiteX2" fmla="*/ 59478 w 76805"/>
                  <a:gd name="connsiteY2" fmla="*/ 138376 h 764910"/>
                  <a:gd name="connsiteX3" fmla="*/ 25611 w 76805"/>
                  <a:gd name="connsiteY3" fmla="*/ 223043 h 764910"/>
                  <a:gd name="connsiteX4" fmla="*/ 211 w 76805"/>
                  <a:gd name="connsiteY4" fmla="*/ 324643 h 764910"/>
                  <a:gd name="connsiteX5" fmla="*/ 17144 w 76805"/>
                  <a:gd name="connsiteY5" fmla="*/ 434710 h 764910"/>
                  <a:gd name="connsiteX6" fmla="*/ 76411 w 76805"/>
                  <a:gd name="connsiteY6" fmla="*/ 544776 h 764910"/>
                  <a:gd name="connsiteX7" fmla="*/ 42544 w 76805"/>
                  <a:gd name="connsiteY7" fmla="*/ 646376 h 764910"/>
                  <a:gd name="connsiteX8" fmla="*/ 34078 w 76805"/>
                  <a:gd name="connsiteY8" fmla="*/ 764910 h 764910"/>
                  <a:gd name="connsiteX0" fmla="*/ 9736 w 76805"/>
                  <a:gd name="connsiteY0" fmla="*/ 0 h 755243"/>
                  <a:gd name="connsiteX1" fmla="*/ 53656 w 76805"/>
                  <a:gd name="connsiteY1" fmla="*/ 56091 h 755243"/>
                  <a:gd name="connsiteX2" fmla="*/ 59478 w 76805"/>
                  <a:gd name="connsiteY2" fmla="*/ 138376 h 755243"/>
                  <a:gd name="connsiteX3" fmla="*/ 25611 w 76805"/>
                  <a:gd name="connsiteY3" fmla="*/ 223043 h 755243"/>
                  <a:gd name="connsiteX4" fmla="*/ 211 w 76805"/>
                  <a:gd name="connsiteY4" fmla="*/ 324643 h 755243"/>
                  <a:gd name="connsiteX5" fmla="*/ 17144 w 76805"/>
                  <a:gd name="connsiteY5" fmla="*/ 434710 h 755243"/>
                  <a:gd name="connsiteX6" fmla="*/ 76411 w 76805"/>
                  <a:gd name="connsiteY6" fmla="*/ 544776 h 755243"/>
                  <a:gd name="connsiteX7" fmla="*/ 42544 w 76805"/>
                  <a:gd name="connsiteY7" fmla="*/ 646376 h 755243"/>
                  <a:gd name="connsiteX8" fmla="*/ 31661 w 76805"/>
                  <a:gd name="connsiteY8" fmla="*/ 755243 h 755243"/>
                  <a:gd name="connsiteX0" fmla="*/ 9736 w 76805"/>
                  <a:gd name="connsiteY0" fmla="*/ 0 h 755243"/>
                  <a:gd name="connsiteX1" fmla="*/ 53656 w 76805"/>
                  <a:gd name="connsiteY1" fmla="*/ 56091 h 755243"/>
                  <a:gd name="connsiteX2" fmla="*/ 59478 w 76805"/>
                  <a:gd name="connsiteY2" fmla="*/ 138376 h 755243"/>
                  <a:gd name="connsiteX3" fmla="*/ 25611 w 76805"/>
                  <a:gd name="connsiteY3" fmla="*/ 223043 h 755243"/>
                  <a:gd name="connsiteX4" fmla="*/ 211 w 76805"/>
                  <a:gd name="connsiteY4" fmla="*/ 324643 h 755243"/>
                  <a:gd name="connsiteX5" fmla="*/ 17144 w 76805"/>
                  <a:gd name="connsiteY5" fmla="*/ 434710 h 755243"/>
                  <a:gd name="connsiteX6" fmla="*/ 76411 w 76805"/>
                  <a:gd name="connsiteY6" fmla="*/ 544776 h 755243"/>
                  <a:gd name="connsiteX7" fmla="*/ 42544 w 76805"/>
                  <a:gd name="connsiteY7" fmla="*/ 646376 h 755243"/>
                  <a:gd name="connsiteX8" fmla="*/ 31661 w 76805"/>
                  <a:gd name="connsiteY8" fmla="*/ 755243 h 755243"/>
                  <a:gd name="connsiteX0" fmla="*/ 9736 w 76805"/>
                  <a:gd name="connsiteY0" fmla="*/ 0 h 755243"/>
                  <a:gd name="connsiteX1" fmla="*/ 53656 w 76805"/>
                  <a:gd name="connsiteY1" fmla="*/ 56091 h 755243"/>
                  <a:gd name="connsiteX2" fmla="*/ 59478 w 76805"/>
                  <a:gd name="connsiteY2" fmla="*/ 138376 h 755243"/>
                  <a:gd name="connsiteX3" fmla="*/ 25611 w 76805"/>
                  <a:gd name="connsiteY3" fmla="*/ 223043 h 755243"/>
                  <a:gd name="connsiteX4" fmla="*/ 211 w 76805"/>
                  <a:gd name="connsiteY4" fmla="*/ 324643 h 755243"/>
                  <a:gd name="connsiteX5" fmla="*/ 17144 w 76805"/>
                  <a:gd name="connsiteY5" fmla="*/ 434710 h 755243"/>
                  <a:gd name="connsiteX6" fmla="*/ 76411 w 76805"/>
                  <a:gd name="connsiteY6" fmla="*/ 544776 h 755243"/>
                  <a:gd name="connsiteX7" fmla="*/ 42544 w 76805"/>
                  <a:gd name="connsiteY7" fmla="*/ 646376 h 755243"/>
                  <a:gd name="connsiteX8" fmla="*/ 34077 w 76805"/>
                  <a:gd name="connsiteY8" fmla="*/ 755243 h 75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805" h="755243">
                    <a:moveTo>
                      <a:pt x="9736" y="0"/>
                    </a:moveTo>
                    <a:cubicBezTo>
                      <a:pt x="41045" y="18697"/>
                      <a:pt x="45366" y="33028"/>
                      <a:pt x="53656" y="56091"/>
                    </a:cubicBezTo>
                    <a:cubicBezTo>
                      <a:pt x="61946" y="79154"/>
                      <a:pt x="64152" y="110551"/>
                      <a:pt x="59478" y="138376"/>
                    </a:cubicBezTo>
                    <a:cubicBezTo>
                      <a:pt x="54804" y="166201"/>
                      <a:pt x="35489" y="191999"/>
                      <a:pt x="25611" y="223043"/>
                    </a:cubicBezTo>
                    <a:cubicBezTo>
                      <a:pt x="15733" y="254087"/>
                      <a:pt x="1622" y="289365"/>
                      <a:pt x="211" y="324643"/>
                    </a:cubicBezTo>
                    <a:cubicBezTo>
                      <a:pt x="-1200" y="359921"/>
                      <a:pt x="4444" y="398021"/>
                      <a:pt x="17144" y="434710"/>
                    </a:cubicBezTo>
                    <a:cubicBezTo>
                      <a:pt x="29844" y="471399"/>
                      <a:pt x="72178" y="509498"/>
                      <a:pt x="76411" y="544776"/>
                    </a:cubicBezTo>
                    <a:cubicBezTo>
                      <a:pt x="80644" y="580054"/>
                      <a:pt x="49600" y="609687"/>
                      <a:pt x="42544" y="646376"/>
                    </a:cubicBezTo>
                    <a:cubicBezTo>
                      <a:pt x="35489" y="683065"/>
                      <a:pt x="37199" y="719154"/>
                      <a:pt x="34077" y="75524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87" name="ЦКАД"/>
              <p:cNvSpPr/>
              <p:nvPr/>
            </p:nvSpPr>
            <p:spPr>
              <a:xfrm>
                <a:off x="1789247" y="3866251"/>
                <a:ext cx="154447" cy="139547"/>
              </a:xfrm>
              <a:custGeom>
                <a:avLst/>
                <a:gdLst>
                  <a:gd name="connsiteX0" fmla="*/ 87177 w 154447"/>
                  <a:gd name="connsiteY0" fmla="*/ 898 h 139547"/>
                  <a:gd name="connsiteX1" fmla="*/ 10977 w 154447"/>
                  <a:gd name="connsiteY1" fmla="*/ 24711 h 139547"/>
                  <a:gd name="connsiteX2" fmla="*/ 1452 w 154447"/>
                  <a:gd name="connsiteY2" fmla="*/ 81861 h 139547"/>
                  <a:gd name="connsiteX3" fmla="*/ 20502 w 154447"/>
                  <a:gd name="connsiteY3" fmla="*/ 129486 h 139547"/>
                  <a:gd name="connsiteX4" fmla="*/ 82415 w 154447"/>
                  <a:gd name="connsiteY4" fmla="*/ 139011 h 139547"/>
                  <a:gd name="connsiteX5" fmla="*/ 139565 w 154447"/>
                  <a:gd name="connsiteY5" fmla="*/ 119961 h 139547"/>
                  <a:gd name="connsiteX6" fmla="*/ 153852 w 154447"/>
                  <a:gd name="connsiteY6" fmla="*/ 53286 h 139547"/>
                  <a:gd name="connsiteX7" fmla="*/ 87177 w 154447"/>
                  <a:gd name="connsiteY7" fmla="*/ 898 h 139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4447" h="139547">
                    <a:moveTo>
                      <a:pt x="87177" y="898"/>
                    </a:moveTo>
                    <a:cubicBezTo>
                      <a:pt x="63365" y="-3864"/>
                      <a:pt x="25264" y="11217"/>
                      <a:pt x="10977" y="24711"/>
                    </a:cubicBezTo>
                    <a:cubicBezTo>
                      <a:pt x="-3310" y="38205"/>
                      <a:pt x="-135" y="64399"/>
                      <a:pt x="1452" y="81861"/>
                    </a:cubicBezTo>
                    <a:cubicBezTo>
                      <a:pt x="3039" y="99323"/>
                      <a:pt x="7008" y="119961"/>
                      <a:pt x="20502" y="129486"/>
                    </a:cubicBezTo>
                    <a:cubicBezTo>
                      <a:pt x="33996" y="139011"/>
                      <a:pt x="62571" y="140599"/>
                      <a:pt x="82415" y="139011"/>
                    </a:cubicBezTo>
                    <a:cubicBezTo>
                      <a:pt x="102259" y="137424"/>
                      <a:pt x="127659" y="134248"/>
                      <a:pt x="139565" y="119961"/>
                    </a:cubicBezTo>
                    <a:cubicBezTo>
                      <a:pt x="151471" y="105674"/>
                      <a:pt x="156233" y="69161"/>
                      <a:pt x="153852" y="53286"/>
                    </a:cubicBezTo>
                    <a:cubicBezTo>
                      <a:pt x="151471" y="37411"/>
                      <a:pt x="110989" y="5660"/>
                      <a:pt x="87177" y="898"/>
                    </a:cubicBezTo>
                    <a:close/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/>
              </a:p>
            </p:txBody>
          </p:sp>
          <p:sp>
            <p:nvSpPr>
              <p:cNvPr id="88" name="М-1"/>
              <p:cNvSpPr/>
              <p:nvPr/>
            </p:nvSpPr>
            <p:spPr>
              <a:xfrm>
                <a:off x="1471613" y="3662363"/>
                <a:ext cx="414337" cy="277649"/>
              </a:xfrm>
              <a:custGeom>
                <a:avLst/>
                <a:gdLst>
                  <a:gd name="connsiteX0" fmla="*/ 414337 w 414337"/>
                  <a:gd name="connsiteY0" fmla="*/ 219075 h 277649"/>
                  <a:gd name="connsiteX1" fmla="*/ 395287 w 414337"/>
                  <a:gd name="connsiteY1" fmla="*/ 276225 h 277649"/>
                  <a:gd name="connsiteX2" fmla="*/ 323850 w 414337"/>
                  <a:gd name="connsiteY2" fmla="*/ 166687 h 277649"/>
                  <a:gd name="connsiteX3" fmla="*/ 190500 w 414337"/>
                  <a:gd name="connsiteY3" fmla="*/ 109537 h 277649"/>
                  <a:gd name="connsiteX4" fmla="*/ 100012 w 414337"/>
                  <a:gd name="connsiteY4" fmla="*/ 66675 h 277649"/>
                  <a:gd name="connsiteX5" fmla="*/ 0 w 414337"/>
                  <a:gd name="connsiteY5" fmla="*/ 0 h 277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4337" h="277649">
                    <a:moveTo>
                      <a:pt x="414337" y="219075"/>
                    </a:moveTo>
                    <a:cubicBezTo>
                      <a:pt x="412352" y="252015"/>
                      <a:pt x="410368" y="284956"/>
                      <a:pt x="395287" y="276225"/>
                    </a:cubicBezTo>
                    <a:cubicBezTo>
                      <a:pt x="380206" y="267494"/>
                      <a:pt x="357981" y="194468"/>
                      <a:pt x="323850" y="166687"/>
                    </a:cubicBezTo>
                    <a:cubicBezTo>
                      <a:pt x="289719" y="138906"/>
                      <a:pt x="227806" y="126206"/>
                      <a:pt x="190500" y="109537"/>
                    </a:cubicBezTo>
                    <a:cubicBezTo>
                      <a:pt x="153194" y="92868"/>
                      <a:pt x="131762" y="84931"/>
                      <a:pt x="100012" y="66675"/>
                    </a:cubicBezTo>
                    <a:cubicBezTo>
                      <a:pt x="68262" y="48419"/>
                      <a:pt x="34131" y="24209"/>
                      <a:pt x="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89" name="М-3"/>
              <p:cNvSpPr/>
              <p:nvPr/>
            </p:nvSpPr>
            <p:spPr>
              <a:xfrm>
                <a:off x="1395413" y="3909745"/>
                <a:ext cx="466725" cy="133884"/>
              </a:xfrm>
              <a:custGeom>
                <a:avLst/>
                <a:gdLst>
                  <a:gd name="connsiteX0" fmla="*/ 466725 w 466725"/>
                  <a:gd name="connsiteY0" fmla="*/ 35461 h 135474"/>
                  <a:gd name="connsiteX1" fmla="*/ 338137 w 466725"/>
                  <a:gd name="connsiteY1" fmla="*/ 6886 h 135474"/>
                  <a:gd name="connsiteX2" fmla="*/ 209550 w 466725"/>
                  <a:gd name="connsiteY2" fmla="*/ 2124 h 135474"/>
                  <a:gd name="connsiteX3" fmla="*/ 123825 w 466725"/>
                  <a:gd name="connsiteY3" fmla="*/ 35461 h 135474"/>
                  <a:gd name="connsiteX4" fmla="*/ 0 w 466725"/>
                  <a:gd name="connsiteY4" fmla="*/ 135474 h 135474"/>
                  <a:gd name="connsiteX0" fmla="*/ 466725 w 466725"/>
                  <a:gd name="connsiteY0" fmla="*/ 35461 h 135739"/>
                  <a:gd name="connsiteX1" fmla="*/ 338137 w 466725"/>
                  <a:gd name="connsiteY1" fmla="*/ 6886 h 135739"/>
                  <a:gd name="connsiteX2" fmla="*/ 209550 w 466725"/>
                  <a:gd name="connsiteY2" fmla="*/ 2124 h 135739"/>
                  <a:gd name="connsiteX3" fmla="*/ 123825 w 466725"/>
                  <a:gd name="connsiteY3" fmla="*/ 35461 h 135739"/>
                  <a:gd name="connsiteX4" fmla="*/ 0 w 466725"/>
                  <a:gd name="connsiteY4" fmla="*/ 135474 h 135739"/>
                  <a:gd name="connsiteX0" fmla="*/ 466725 w 466725"/>
                  <a:gd name="connsiteY0" fmla="*/ 33656 h 133934"/>
                  <a:gd name="connsiteX1" fmla="*/ 338137 w 466725"/>
                  <a:gd name="connsiteY1" fmla="*/ 17781 h 133934"/>
                  <a:gd name="connsiteX2" fmla="*/ 209550 w 466725"/>
                  <a:gd name="connsiteY2" fmla="*/ 319 h 133934"/>
                  <a:gd name="connsiteX3" fmla="*/ 123825 w 466725"/>
                  <a:gd name="connsiteY3" fmla="*/ 33656 h 133934"/>
                  <a:gd name="connsiteX4" fmla="*/ 0 w 466725"/>
                  <a:gd name="connsiteY4" fmla="*/ 133669 h 133934"/>
                  <a:gd name="connsiteX0" fmla="*/ 466725 w 466725"/>
                  <a:gd name="connsiteY0" fmla="*/ 33541 h 133819"/>
                  <a:gd name="connsiteX1" fmla="*/ 338137 w 466725"/>
                  <a:gd name="connsiteY1" fmla="*/ 17666 h 133819"/>
                  <a:gd name="connsiteX2" fmla="*/ 209550 w 466725"/>
                  <a:gd name="connsiteY2" fmla="*/ 204 h 133819"/>
                  <a:gd name="connsiteX3" fmla="*/ 123825 w 466725"/>
                  <a:gd name="connsiteY3" fmla="*/ 33541 h 133819"/>
                  <a:gd name="connsiteX4" fmla="*/ 0 w 466725"/>
                  <a:gd name="connsiteY4" fmla="*/ 133554 h 133819"/>
                  <a:gd name="connsiteX0" fmla="*/ 466725 w 466725"/>
                  <a:gd name="connsiteY0" fmla="*/ 33726 h 134004"/>
                  <a:gd name="connsiteX1" fmla="*/ 338137 w 466725"/>
                  <a:gd name="connsiteY1" fmla="*/ 17851 h 134004"/>
                  <a:gd name="connsiteX2" fmla="*/ 209550 w 466725"/>
                  <a:gd name="connsiteY2" fmla="*/ 389 h 134004"/>
                  <a:gd name="connsiteX3" fmla="*/ 123825 w 466725"/>
                  <a:gd name="connsiteY3" fmla="*/ 33726 h 134004"/>
                  <a:gd name="connsiteX4" fmla="*/ 0 w 466725"/>
                  <a:gd name="connsiteY4" fmla="*/ 133739 h 134004"/>
                  <a:gd name="connsiteX0" fmla="*/ 466725 w 466725"/>
                  <a:gd name="connsiteY0" fmla="*/ 33726 h 134004"/>
                  <a:gd name="connsiteX1" fmla="*/ 338137 w 466725"/>
                  <a:gd name="connsiteY1" fmla="*/ 17851 h 134004"/>
                  <a:gd name="connsiteX2" fmla="*/ 209550 w 466725"/>
                  <a:gd name="connsiteY2" fmla="*/ 389 h 134004"/>
                  <a:gd name="connsiteX3" fmla="*/ 123825 w 466725"/>
                  <a:gd name="connsiteY3" fmla="*/ 33726 h 134004"/>
                  <a:gd name="connsiteX4" fmla="*/ 0 w 466725"/>
                  <a:gd name="connsiteY4" fmla="*/ 133739 h 134004"/>
                  <a:gd name="connsiteX0" fmla="*/ 466725 w 466725"/>
                  <a:gd name="connsiteY0" fmla="*/ 33606 h 133884"/>
                  <a:gd name="connsiteX1" fmla="*/ 338137 w 466725"/>
                  <a:gd name="connsiteY1" fmla="*/ 17731 h 133884"/>
                  <a:gd name="connsiteX2" fmla="*/ 209550 w 466725"/>
                  <a:gd name="connsiteY2" fmla="*/ 269 h 133884"/>
                  <a:gd name="connsiteX3" fmla="*/ 123825 w 466725"/>
                  <a:gd name="connsiteY3" fmla="*/ 33606 h 133884"/>
                  <a:gd name="connsiteX4" fmla="*/ 0 w 466725"/>
                  <a:gd name="connsiteY4" fmla="*/ 133619 h 133884"/>
                  <a:gd name="connsiteX0" fmla="*/ 466725 w 466725"/>
                  <a:gd name="connsiteY0" fmla="*/ 33606 h 133884"/>
                  <a:gd name="connsiteX1" fmla="*/ 331787 w 466725"/>
                  <a:gd name="connsiteY1" fmla="*/ 17731 h 133884"/>
                  <a:gd name="connsiteX2" fmla="*/ 209550 w 466725"/>
                  <a:gd name="connsiteY2" fmla="*/ 269 h 133884"/>
                  <a:gd name="connsiteX3" fmla="*/ 123825 w 466725"/>
                  <a:gd name="connsiteY3" fmla="*/ 33606 h 133884"/>
                  <a:gd name="connsiteX4" fmla="*/ 0 w 466725"/>
                  <a:gd name="connsiteY4" fmla="*/ 133619 h 133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725" h="133884">
                    <a:moveTo>
                      <a:pt x="466725" y="33606"/>
                    </a:moveTo>
                    <a:cubicBezTo>
                      <a:pt x="423862" y="22096"/>
                      <a:pt x="368299" y="20112"/>
                      <a:pt x="331787" y="17731"/>
                    </a:cubicBezTo>
                    <a:cubicBezTo>
                      <a:pt x="295275" y="15350"/>
                      <a:pt x="244210" y="-2377"/>
                      <a:pt x="209550" y="269"/>
                    </a:cubicBezTo>
                    <a:cubicBezTo>
                      <a:pt x="174890" y="2915"/>
                      <a:pt x="158750" y="11381"/>
                      <a:pt x="123825" y="33606"/>
                    </a:cubicBezTo>
                    <a:cubicBezTo>
                      <a:pt x="88900" y="55831"/>
                      <a:pt x="47625" y="139175"/>
                      <a:pt x="0" y="133619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0" name="М-4"/>
              <p:cNvSpPr/>
              <p:nvPr/>
            </p:nvSpPr>
            <p:spPr>
              <a:xfrm>
                <a:off x="1025524" y="3948114"/>
                <a:ext cx="836613" cy="1015011"/>
              </a:xfrm>
              <a:custGeom>
                <a:avLst/>
                <a:gdLst>
                  <a:gd name="connsiteX0" fmla="*/ 914400 w 914400"/>
                  <a:gd name="connsiteY0" fmla="*/ 0 h 887283"/>
                  <a:gd name="connsiteX1" fmla="*/ 838200 w 914400"/>
                  <a:gd name="connsiteY1" fmla="*/ 57150 h 887283"/>
                  <a:gd name="connsiteX2" fmla="*/ 762000 w 914400"/>
                  <a:gd name="connsiteY2" fmla="*/ 114300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38200 w 914400"/>
                  <a:gd name="connsiteY1" fmla="*/ 57150 h 887283"/>
                  <a:gd name="connsiteX2" fmla="*/ 819150 w 914400"/>
                  <a:gd name="connsiteY2" fmla="*/ 136525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50900 w 914400"/>
                  <a:gd name="connsiteY1" fmla="*/ 60325 h 887283"/>
                  <a:gd name="connsiteX2" fmla="*/ 819150 w 914400"/>
                  <a:gd name="connsiteY2" fmla="*/ 136525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50900 w 914400"/>
                  <a:gd name="connsiteY1" fmla="*/ 60325 h 887283"/>
                  <a:gd name="connsiteX2" fmla="*/ 835025 w 914400"/>
                  <a:gd name="connsiteY2" fmla="*/ 139700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63600 w 914400"/>
                  <a:gd name="connsiteY1" fmla="*/ 60325 h 887283"/>
                  <a:gd name="connsiteX2" fmla="*/ 835025 w 914400"/>
                  <a:gd name="connsiteY2" fmla="*/ 139700 h 887283"/>
                  <a:gd name="connsiteX3" fmla="*/ 738187 w 914400"/>
                  <a:gd name="connsiteY3" fmla="*/ 252412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887283"/>
                  <a:gd name="connsiteX1" fmla="*/ 863600 w 914400"/>
                  <a:gd name="connsiteY1" fmla="*/ 60325 h 887283"/>
                  <a:gd name="connsiteX2" fmla="*/ 835025 w 914400"/>
                  <a:gd name="connsiteY2" fmla="*/ 139700 h 887283"/>
                  <a:gd name="connsiteX3" fmla="*/ 738187 w 914400"/>
                  <a:gd name="connsiteY3" fmla="*/ 223837 h 887283"/>
                  <a:gd name="connsiteX4" fmla="*/ 723900 w 914400"/>
                  <a:gd name="connsiteY4" fmla="*/ 323850 h 887283"/>
                  <a:gd name="connsiteX5" fmla="*/ 690562 w 914400"/>
                  <a:gd name="connsiteY5" fmla="*/ 457200 h 887283"/>
                  <a:gd name="connsiteX6" fmla="*/ 619125 w 914400"/>
                  <a:gd name="connsiteY6" fmla="*/ 557212 h 887283"/>
                  <a:gd name="connsiteX7" fmla="*/ 576262 w 914400"/>
                  <a:gd name="connsiteY7" fmla="*/ 619125 h 887283"/>
                  <a:gd name="connsiteX8" fmla="*/ 490537 w 914400"/>
                  <a:gd name="connsiteY8" fmla="*/ 728662 h 887283"/>
                  <a:gd name="connsiteX9" fmla="*/ 390525 w 914400"/>
                  <a:gd name="connsiteY9" fmla="*/ 785812 h 887283"/>
                  <a:gd name="connsiteX10" fmla="*/ 319087 w 914400"/>
                  <a:gd name="connsiteY10" fmla="*/ 795337 h 887283"/>
                  <a:gd name="connsiteX11" fmla="*/ 271462 w 914400"/>
                  <a:gd name="connsiteY11" fmla="*/ 857250 h 887283"/>
                  <a:gd name="connsiteX12" fmla="*/ 152400 w 914400"/>
                  <a:gd name="connsiteY12" fmla="*/ 885825 h 887283"/>
                  <a:gd name="connsiteX13" fmla="*/ 42862 w 914400"/>
                  <a:gd name="connsiteY13" fmla="*/ 814387 h 887283"/>
                  <a:gd name="connsiteX14" fmla="*/ 0 w 914400"/>
                  <a:gd name="connsiteY14" fmla="*/ 733425 h 887283"/>
                  <a:gd name="connsiteX0" fmla="*/ 914400 w 914400"/>
                  <a:gd name="connsiteY0" fmla="*/ 0 h 927734"/>
                  <a:gd name="connsiteX1" fmla="*/ 863600 w 914400"/>
                  <a:gd name="connsiteY1" fmla="*/ 60325 h 927734"/>
                  <a:gd name="connsiteX2" fmla="*/ 835025 w 914400"/>
                  <a:gd name="connsiteY2" fmla="*/ 139700 h 927734"/>
                  <a:gd name="connsiteX3" fmla="*/ 738187 w 914400"/>
                  <a:gd name="connsiteY3" fmla="*/ 223837 h 927734"/>
                  <a:gd name="connsiteX4" fmla="*/ 723900 w 914400"/>
                  <a:gd name="connsiteY4" fmla="*/ 323850 h 927734"/>
                  <a:gd name="connsiteX5" fmla="*/ 690562 w 914400"/>
                  <a:gd name="connsiteY5" fmla="*/ 457200 h 927734"/>
                  <a:gd name="connsiteX6" fmla="*/ 619125 w 914400"/>
                  <a:gd name="connsiteY6" fmla="*/ 557212 h 927734"/>
                  <a:gd name="connsiteX7" fmla="*/ 576262 w 914400"/>
                  <a:gd name="connsiteY7" fmla="*/ 619125 h 927734"/>
                  <a:gd name="connsiteX8" fmla="*/ 490537 w 914400"/>
                  <a:gd name="connsiteY8" fmla="*/ 728662 h 927734"/>
                  <a:gd name="connsiteX9" fmla="*/ 390525 w 914400"/>
                  <a:gd name="connsiteY9" fmla="*/ 785812 h 927734"/>
                  <a:gd name="connsiteX10" fmla="*/ 319087 w 914400"/>
                  <a:gd name="connsiteY10" fmla="*/ 795337 h 927734"/>
                  <a:gd name="connsiteX11" fmla="*/ 271462 w 914400"/>
                  <a:gd name="connsiteY11" fmla="*/ 857250 h 927734"/>
                  <a:gd name="connsiteX12" fmla="*/ 155575 w 914400"/>
                  <a:gd name="connsiteY12" fmla="*/ 927100 h 927734"/>
                  <a:gd name="connsiteX13" fmla="*/ 42862 w 914400"/>
                  <a:gd name="connsiteY13" fmla="*/ 814387 h 927734"/>
                  <a:gd name="connsiteX14" fmla="*/ 0 w 914400"/>
                  <a:gd name="connsiteY14" fmla="*/ 733425 h 927734"/>
                  <a:gd name="connsiteX0" fmla="*/ 914400 w 914400"/>
                  <a:gd name="connsiteY0" fmla="*/ 0 h 949623"/>
                  <a:gd name="connsiteX1" fmla="*/ 863600 w 914400"/>
                  <a:gd name="connsiteY1" fmla="*/ 60325 h 949623"/>
                  <a:gd name="connsiteX2" fmla="*/ 835025 w 914400"/>
                  <a:gd name="connsiteY2" fmla="*/ 139700 h 949623"/>
                  <a:gd name="connsiteX3" fmla="*/ 738187 w 914400"/>
                  <a:gd name="connsiteY3" fmla="*/ 223837 h 949623"/>
                  <a:gd name="connsiteX4" fmla="*/ 723900 w 914400"/>
                  <a:gd name="connsiteY4" fmla="*/ 323850 h 949623"/>
                  <a:gd name="connsiteX5" fmla="*/ 690562 w 914400"/>
                  <a:gd name="connsiteY5" fmla="*/ 457200 h 949623"/>
                  <a:gd name="connsiteX6" fmla="*/ 619125 w 914400"/>
                  <a:gd name="connsiteY6" fmla="*/ 557212 h 949623"/>
                  <a:gd name="connsiteX7" fmla="*/ 576262 w 914400"/>
                  <a:gd name="connsiteY7" fmla="*/ 619125 h 949623"/>
                  <a:gd name="connsiteX8" fmla="*/ 490537 w 914400"/>
                  <a:gd name="connsiteY8" fmla="*/ 728662 h 949623"/>
                  <a:gd name="connsiteX9" fmla="*/ 390525 w 914400"/>
                  <a:gd name="connsiteY9" fmla="*/ 785812 h 949623"/>
                  <a:gd name="connsiteX10" fmla="*/ 319087 w 914400"/>
                  <a:gd name="connsiteY10" fmla="*/ 795337 h 949623"/>
                  <a:gd name="connsiteX11" fmla="*/ 271462 w 914400"/>
                  <a:gd name="connsiteY11" fmla="*/ 857250 h 949623"/>
                  <a:gd name="connsiteX12" fmla="*/ 155575 w 914400"/>
                  <a:gd name="connsiteY12" fmla="*/ 927100 h 949623"/>
                  <a:gd name="connsiteX13" fmla="*/ 125412 w 914400"/>
                  <a:gd name="connsiteY13" fmla="*/ 938212 h 949623"/>
                  <a:gd name="connsiteX14" fmla="*/ 0 w 914400"/>
                  <a:gd name="connsiteY14" fmla="*/ 733425 h 949623"/>
                  <a:gd name="connsiteX0" fmla="*/ 796438 w 796438"/>
                  <a:gd name="connsiteY0" fmla="*/ 0 h 992248"/>
                  <a:gd name="connsiteX1" fmla="*/ 745638 w 796438"/>
                  <a:gd name="connsiteY1" fmla="*/ 60325 h 992248"/>
                  <a:gd name="connsiteX2" fmla="*/ 717063 w 796438"/>
                  <a:gd name="connsiteY2" fmla="*/ 139700 h 992248"/>
                  <a:gd name="connsiteX3" fmla="*/ 620225 w 796438"/>
                  <a:gd name="connsiteY3" fmla="*/ 223837 h 992248"/>
                  <a:gd name="connsiteX4" fmla="*/ 605938 w 796438"/>
                  <a:gd name="connsiteY4" fmla="*/ 323850 h 992248"/>
                  <a:gd name="connsiteX5" fmla="*/ 572600 w 796438"/>
                  <a:gd name="connsiteY5" fmla="*/ 457200 h 992248"/>
                  <a:gd name="connsiteX6" fmla="*/ 501163 w 796438"/>
                  <a:gd name="connsiteY6" fmla="*/ 557212 h 992248"/>
                  <a:gd name="connsiteX7" fmla="*/ 458300 w 796438"/>
                  <a:gd name="connsiteY7" fmla="*/ 619125 h 992248"/>
                  <a:gd name="connsiteX8" fmla="*/ 372575 w 796438"/>
                  <a:gd name="connsiteY8" fmla="*/ 728662 h 992248"/>
                  <a:gd name="connsiteX9" fmla="*/ 272563 w 796438"/>
                  <a:gd name="connsiteY9" fmla="*/ 785812 h 992248"/>
                  <a:gd name="connsiteX10" fmla="*/ 201125 w 796438"/>
                  <a:gd name="connsiteY10" fmla="*/ 795337 h 992248"/>
                  <a:gd name="connsiteX11" fmla="*/ 153500 w 796438"/>
                  <a:gd name="connsiteY11" fmla="*/ 857250 h 992248"/>
                  <a:gd name="connsiteX12" fmla="*/ 37613 w 796438"/>
                  <a:gd name="connsiteY12" fmla="*/ 927100 h 992248"/>
                  <a:gd name="connsiteX13" fmla="*/ 7450 w 796438"/>
                  <a:gd name="connsiteY13" fmla="*/ 938212 h 992248"/>
                  <a:gd name="connsiteX14" fmla="*/ 21738 w 796438"/>
                  <a:gd name="connsiteY14" fmla="*/ 987425 h 992248"/>
                  <a:gd name="connsiteX0" fmla="*/ 796438 w 796438"/>
                  <a:gd name="connsiteY0" fmla="*/ 0 h 992248"/>
                  <a:gd name="connsiteX1" fmla="*/ 745638 w 796438"/>
                  <a:gd name="connsiteY1" fmla="*/ 60325 h 992248"/>
                  <a:gd name="connsiteX2" fmla="*/ 717063 w 796438"/>
                  <a:gd name="connsiteY2" fmla="*/ 139700 h 992248"/>
                  <a:gd name="connsiteX3" fmla="*/ 620225 w 796438"/>
                  <a:gd name="connsiteY3" fmla="*/ 223837 h 992248"/>
                  <a:gd name="connsiteX4" fmla="*/ 605938 w 796438"/>
                  <a:gd name="connsiteY4" fmla="*/ 323850 h 992248"/>
                  <a:gd name="connsiteX5" fmla="*/ 572600 w 796438"/>
                  <a:gd name="connsiteY5" fmla="*/ 457200 h 992248"/>
                  <a:gd name="connsiteX6" fmla="*/ 501163 w 796438"/>
                  <a:gd name="connsiteY6" fmla="*/ 557212 h 992248"/>
                  <a:gd name="connsiteX7" fmla="*/ 458300 w 796438"/>
                  <a:gd name="connsiteY7" fmla="*/ 619125 h 992248"/>
                  <a:gd name="connsiteX8" fmla="*/ 372575 w 796438"/>
                  <a:gd name="connsiteY8" fmla="*/ 728662 h 992248"/>
                  <a:gd name="connsiteX9" fmla="*/ 272563 w 796438"/>
                  <a:gd name="connsiteY9" fmla="*/ 785812 h 992248"/>
                  <a:gd name="connsiteX10" fmla="*/ 201125 w 796438"/>
                  <a:gd name="connsiteY10" fmla="*/ 795337 h 992248"/>
                  <a:gd name="connsiteX11" fmla="*/ 153500 w 796438"/>
                  <a:gd name="connsiteY11" fmla="*/ 857250 h 992248"/>
                  <a:gd name="connsiteX12" fmla="*/ 37613 w 796438"/>
                  <a:gd name="connsiteY12" fmla="*/ 927100 h 992248"/>
                  <a:gd name="connsiteX13" fmla="*/ 7450 w 796438"/>
                  <a:gd name="connsiteY13" fmla="*/ 938212 h 992248"/>
                  <a:gd name="connsiteX14" fmla="*/ 21738 w 796438"/>
                  <a:gd name="connsiteY14" fmla="*/ 987425 h 992248"/>
                  <a:gd name="connsiteX0" fmla="*/ 796438 w 796438"/>
                  <a:gd name="connsiteY0" fmla="*/ 0 h 995360"/>
                  <a:gd name="connsiteX1" fmla="*/ 745638 w 796438"/>
                  <a:gd name="connsiteY1" fmla="*/ 60325 h 995360"/>
                  <a:gd name="connsiteX2" fmla="*/ 717063 w 796438"/>
                  <a:gd name="connsiteY2" fmla="*/ 139700 h 995360"/>
                  <a:gd name="connsiteX3" fmla="*/ 620225 w 796438"/>
                  <a:gd name="connsiteY3" fmla="*/ 223837 h 995360"/>
                  <a:gd name="connsiteX4" fmla="*/ 605938 w 796438"/>
                  <a:gd name="connsiteY4" fmla="*/ 323850 h 995360"/>
                  <a:gd name="connsiteX5" fmla="*/ 572600 w 796438"/>
                  <a:gd name="connsiteY5" fmla="*/ 457200 h 995360"/>
                  <a:gd name="connsiteX6" fmla="*/ 501163 w 796438"/>
                  <a:gd name="connsiteY6" fmla="*/ 557212 h 995360"/>
                  <a:gd name="connsiteX7" fmla="*/ 458300 w 796438"/>
                  <a:gd name="connsiteY7" fmla="*/ 619125 h 995360"/>
                  <a:gd name="connsiteX8" fmla="*/ 372575 w 796438"/>
                  <a:gd name="connsiteY8" fmla="*/ 728662 h 995360"/>
                  <a:gd name="connsiteX9" fmla="*/ 272563 w 796438"/>
                  <a:gd name="connsiteY9" fmla="*/ 785812 h 995360"/>
                  <a:gd name="connsiteX10" fmla="*/ 201125 w 796438"/>
                  <a:gd name="connsiteY10" fmla="*/ 795337 h 995360"/>
                  <a:gd name="connsiteX11" fmla="*/ 153500 w 796438"/>
                  <a:gd name="connsiteY11" fmla="*/ 857250 h 995360"/>
                  <a:gd name="connsiteX12" fmla="*/ 37613 w 796438"/>
                  <a:gd name="connsiteY12" fmla="*/ 927100 h 995360"/>
                  <a:gd name="connsiteX13" fmla="*/ 7450 w 796438"/>
                  <a:gd name="connsiteY13" fmla="*/ 938212 h 995360"/>
                  <a:gd name="connsiteX14" fmla="*/ 21738 w 796438"/>
                  <a:gd name="connsiteY14" fmla="*/ 987425 h 995360"/>
                  <a:gd name="connsiteX15" fmla="*/ 23325 w 796438"/>
                  <a:gd name="connsiteY15" fmla="*/ 995360 h 995360"/>
                  <a:gd name="connsiteX0" fmla="*/ 830264 w 830264"/>
                  <a:gd name="connsiteY0" fmla="*/ 0 h 992786"/>
                  <a:gd name="connsiteX1" fmla="*/ 779464 w 830264"/>
                  <a:gd name="connsiteY1" fmla="*/ 60325 h 992786"/>
                  <a:gd name="connsiteX2" fmla="*/ 750889 w 830264"/>
                  <a:gd name="connsiteY2" fmla="*/ 139700 h 992786"/>
                  <a:gd name="connsiteX3" fmla="*/ 654051 w 830264"/>
                  <a:gd name="connsiteY3" fmla="*/ 223837 h 992786"/>
                  <a:gd name="connsiteX4" fmla="*/ 639764 w 830264"/>
                  <a:gd name="connsiteY4" fmla="*/ 323850 h 992786"/>
                  <a:gd name="connsiteX5" fmla="*/ 606426 w 830264"/>
                  <a:gd name="connsiteY5" fmla="*/ 457200 h 992786"/>
                  <a:gd name="connsiteX6" fmla="*/ 534989 w 830264"/>
                  <a:gd name="connsiteY6" fmla="*/ 557212 h 992786"/>
                  <a:gd name="connsiteX7" fmla="*/ 492126 w 830264"/>
                  <a:gd name="connsiteY7" fmla="*/ 619125 h 992786"/>
                  <a:gd name="connsiteX8" fmla="*/ 406401 w 830264"/>
                  <a:gd name="connsiteY8" fmla="*/ 728662 h 992786"/>
                  <a:gd name="connsiteX9" fmla="*/ 306389 w 830264"/>
                  <a:gd name="connsiteY9" fmla="*/ 785812 h 992786"/>
                  <a:gd name="connsiteX10" fmla="*/ 234951 w 830264"/>
                  <a:gd name="connsiteY10" fmla="*/ 795337 h 992786"/>
                  <a:gd name="connsiteX11" fmla="*/ 187326 w 830264"/>
                  <a:gd name="connsiteY11" fmla="*/ 857250 h 992786"/>
                  <a:gd name="connsiteX12" fmla="*/ 71439 w 830264"/>
                  <a:gd name="connsiteY12" fmla="*/ 927100 h 992786"/>
                  <a:gd name="connsiteX13" fmla="*/ 41276 w 830264"/>
                  <a:gd name="connsiteY13" fmla="*/ 938212 h 992786"/>
                  <a:gd name="connsiteX14" fmla="*/ 55564 w 830264"/>
                  <a:gd name="connsiteY14" fmla="*/ 987425 h 992786"/>
                  <a:gd name="connsiteX15" fmla="*/ 1 w 830264"/>
                  <a:gd name="connsiteY15" fmla="*/ 992185 h 992786"/>
                  <a:gd name="connsiteX0" fmla="*/ 830264 w 830264"/>
                  <a:gd name="connsiteY0" fmla="*/ 0 h 992786"/>
                  <a:gd name="connsiteX1" fmla="*/ 779464 w 830264"/>
                  <a:gd name="connsiteY1" fmla="*/ 60325 h 992786"/>
                  <a:gd name="connsiteX2" fmla="*/ 750889 w 830264"/>
                  <a:gd name="connsiteY2" fmla="*/ 139700 h 992786"/>
                  <a:gd name="connsiteX3" fmla="*/ 654051 w 830264"/>
                  <a:gd name="connsiteY3" fmla="*/ 223837 h 992786"/>
                  <a:gd name="connsiteX4" fmla="*/ 639764 w 830264"/>
                  <a:gd name="connsiteY4" fmla="*/ 323850 h 992786"/>
                  <a:gd name="connsiteX5" fmla="*/ 606426 w 830264"/>
                  <a:gd name="connsiteY5" fmla="*/ 457200 h 992786"/>
                  <a:gd name="connsiteX6" fmla="*/ 534989 w 830264"/>
                  <a:gd name="connsiteY6" fmla="*/ 557212 h 992786"/>
                  <a:gd name="connsiteX7" fmla="*/ 492126 w 830264"/>
                  <a:gd name="connsiteY7" fmla="*/ 619125 h 992786"/>
                  <a:gd name="connsiteX8" fmla="*/ 406401 w 830264"/>
                  <a:gd name="connsiteY8" fmla="*/ 728662 h 992786"/>
                  <a:gd name="connsiteX9" fmla="*/ 306389 w 830264"/>
                  <a:gd name="connsiteY9" fmla="*/ 785812 h 992786"/>
                  <a:gd name="connsiteX10" fmla="*/ 234951 w 830264"/>
                  <a:gd name="connsiteY10" fmla="*/ 795337 h 992786"/>
                  <a:gd name="connsiteX11" fmla="*/ 187326 w 830264"/>
                  <a:gd name="connsiteY11" fmla="*/ 857250 h 992786"/>
                  <a:gd name="connsiteX12" fmla="*/ 71439 w 830264"/>
                  <a:gd name="connsiteY12" fmla="*/ 927100 h 992786"/>
                  <a:gd name="connsiteX13" fmla="*/ 41276 w 830264"/>
                  <a:gd name="connsiteY13" fmla="*/ 938212 h 992786"/>
                  <a:gd name="connsiteX14" fmla="*/ 55564 w 830264"/>
                  <a:gd name="connsiteY14" fmla="*/ 987425 h 992786"/>
                  <a:gd name="connsiteX15" fmla="*/ 1 w 830264"/>
                  <a:gd name="connsiteY15" fmla="*/ 992185 h 992786"/>
                  <a:gd name="connsiteX0" fmla="*/ 830264 w 830264"/>
                  <a:gd name="connsiteY0" fmla="*/ 0 h 992786"/>
                  <a:gd name="connsiteX1" fmla="*/ 779464 w 830264"/>
                  <a:gd name="connsiteY1" fmla="*/ 60325 h 992786"/>
                  <a:gd name="connsiteX2" fmla="*/ 750889 w 830264"/>
                  <a:gd name="connsiteY2" fmla="*/ 139700 h 992786"/>
                  <a:gd name="connsiteX3" fmla="*/ 654051 w 830264"/>
                  <a:gd name="connsiteY3" fmla="*/ 223837 h 992786"/>
                  <a:gd name="connsiteX4" fmla="*/ 639764 w 830264"/>
                  <a:gd name="connsiteY4" fmla="*/ 323850 h 992786"/>
                  <a:gd name="connsiteX5" fmla="*/ 606426 w 830264"/>
                  <a:gd name="connsiteY5" fmla="*/ 457200 h 992786"/>
                  <a:gd name="connsiteX6" fmla="*/ 534989 w 830264"/>
                  <a:gd name="connsiteY6" fmla="*/ 557212 h 992786"/>
                  <a:gd name="connsiteX7" fmla="*/ 492126 w 830264"/>
                  <a:gd name="connsiteY7" fmla="*/ 619125 h 992786"/>
                  <a:gd name="connsiteX8" fmla="*/ 406401 w 830264"/>
                  <a:gd name="connsiteY8" fmla="*/ 728662 h 992786"/>
                  <a:gd name="connsiteX9" fmla="*/ 306389 w 830264"/>
                  <a:gd name="connsiteY9" fmla="*/ 785812 h 992786"/>
                  <a:gd name="connsiteX10" fmla="*/ 234951 w 830264"/>
                  <a:gd name="connsiteY10" fmla="*/ 795337 h 992786"/>
                  <a:gd name="connsiteX11" fmla="*/ 187326 w 830264"/>
                  <a:gd name="connsiteY11" fmla="*/ 857250 h 992786"/>
                  <a:gd name="connsiteX12" fmla="*/ 71439 w 830264"/>
                  <a:gd name="connsiteY12" fmla="*/ 927100 h 992786"/>
                  <a:gd name="connsiteX13" fmla="*/ 41276 w 830264"/>
                  <a:gd name="connsiteY13" fmla="*/ 938212 h 992786"/>
                  <a:gd name="connsiteX14" fmla="*/ 55564 w 830264"/>
                  <a:gd name="connsiteY14" fmla="*/ 987425 h 992786"/>
                  <a:gd name="connsiteX15" fmla="*/ 1 w 830264"/>
                  <a:gd name="connsiteY15" fmla="*/ 992185 h 992786"/>
                  <a:gd name="connsiteX16" fmla="*/ 1 w 830264"/>
                  <a:gd name="connsiteY16" fmla="*/ 992185 h 992786"/>
                  <a:gd name="connsiteX0" fmla="*/ 836613 w 836613"/>
                  <a:gd name="connsiteY0" fmla="*/ 0 h 992786"/>
                  <a:gd name="connsiteX1" fmla="*/ 785813 w 836613"/>
                  <a:gd name="connsiteY1" fmla="*/ 60325 h 992786"/>
                  <a:gd name="connsiteX2" fmla="*/ 757238 w 836613"/>
                  <a:gd name="connsiteY2" fmla="*/ 139700 h 992786"/>
                  <a:gd name="connsiteX3" fmla="*/ 660400 w 836613"/>
                  <a:gd name="connsiteY3" fmla="*/ 223837 h 992786"/>
                  <a:gd name="connsiteX4" fmla="*/ 646113 w 836613"/>
                  <a:gd name="connsiteY4" fmla="*/ 323850 h 992786"/>
                  <a:gd name="connsiteX5" fmla="*/ 612775 w 836613"/>
                  <a:gd name="connsiteY5" fmla="*/ 457200 h 992786"/>
                  <a:gd name="connsiteX6" fmla="*/ 541338 w 836613"/>
                  <a:gd name="connsiteY6" fmla="*/ 557212 h 992786"/>
                  <a:gd name="connsiteX7" fmla="*/ 498475 w 836613"/>
                  <a:gd name="connsiteY7" fmla="*/ 619125 h 992786"/>
                  <a:gd name="connsiteX8" fmla="*/ 412750 w 836613"/>
                  <a:gd name="connsiteY8" fmla="*/ 728662 h 992786"/>
                  <a:gd name="connsiteX9" fmla="*/ 312738 w 836613"/>
                  <a:gd name="connsiteY9" fmla="*/ 785812 h 992786"/>
                  <a:gd name="connsiteX10" fmla="*/ 241300 w 836613"/>
                  <a:gd name="connsiteY10" fmla="*/ 795337 h 992786"/>
                  <a:gd name="connsiteX11" fmla="*/ 193675 w 836613"/>
                  <a:gd name="connsiteY11" fmla="*/ 857250 h 992786"/>
                  <a:gd name="connsiteX12" fmla="*/ 77788 w 836613"/>
                  <a:gd name="connsiteY12" fmla="*/ 927100 h 992786"/>
                  <a:gd name="connsiteX13" fmla="*/ 47625 w 836613"/>
                  <a:gd name="connsiteY13" fmla="*/ 938212 h 992786"/>
                  <a:gd name="connsiteX14" fmla="*/ 61913 w 836613"/>
                  <a:gd name="connsiteY14" fmla="*/ 987425 h 992786"/>
                  <a:gd name="connsiteX15" fmla="*/ 6350 w 836613"/>
                  <a:gd name="connsiteY15" fmla="*/ 992185 h 992786"/>
                  <a:gd name="connsiteX16" fmla="*/ 0 w 836613"/>
                  <a:gd name="connsiteY16" fmla="*/ 954085 h 992786"/>
                  <a:gd name="connsiteX0" fmla="*/ 836613 w 836613"/>
                  <a:gd name="connsiteY0" fmla="*/ 0 h 1033460"/>
                  <a:gd name="connsiteX1" fmla="*/ 785813 w 836613"/>
                  <a:gd name="connsiteY1" fmla="*/ 60325 h 1033460"/>
                  <a:gd name="connsiteX2" fmla="*/ 757238 w 836613"/>
                  <a:gd name="connsiteY2" fmla="*/ 139700 h 1033460"/>
                  <a:gd name="connsiteX3" fmla="*/ 660400 w 836613"/>
                  <a:gd name="connsiteY3" fmla="*/ 223837 h 1033460"/>
                  <a:gd name="connsiteX4" fmla="*/ 646113 w 836613"/>
                  <a:gd name="connsiteY4" fmla="*/ 323850 h 1033460"/>
                  <a:gd name="connsiteX5" fmla="*/ 612775 w 836613"/>
                  <a:gd name="connsiteY5" fmla="*/ 457200 h 1033460"/>
                  <a:gd name="connsiteX6" fmla="*/ 541338 w 836613"/>
                  <a:gd name="connsiteY6" fmla="*/ 557212 h 1033460"/>
                  <a:gd name="connsiteX7" fmla="*/ 498475 w 836613"/>
                  <a:gd name="connsiteY7" fmla="*/ 619125 h 1033460"/>
                  <a:gd name="connsiteX8" fmla="*/ 412750 w 836613"/>
                  <a:gd name="connsiteY8" fmla="*/ 728662 h 1033460"/>
                  <a:gd name="connsiteX9" fmla="*/ 312738 w 836613"/>
                  <a:gd name="connsiteY9" fmla="*/ 785812 h 1033460"/>
                  <a:gd name="connsiteX10" fmla="*/ 241300 w 836613"/>
                  <a:gd name="connsiteY10" fmla="*/ 795337 h 1033460"/>
                  <a:gd name="connsiteX11" fmla="*/ 193675 w 836613"/>
                  <a:gd name="connsiteY11" fmla="*/ 857250 h 1033460"/>
                  <a:gd name="connsiteX12" fmla="*/ 77788 w 836613"/>
                  <a:gd name="connsiteY12" fmla="*/ 927100 h 1033460"/>
                  <a:gd name="connsiteX13" fmla="*/ 47625 w 836613"/>
                  <a:gd name="connsiteY13" fmla="*/ 938212 h 1033460"/>
                  <a:gd name="connsiteX14" fmla="*/ 61913 w 836613"/>
                  <a:gd name="connsiteY14" fmla="*/ 987425 h 1033460"/>
                  <a:gd name="connsiteX15" fmla="*/ 12700 w 836613"/>
                  <a:gd name="connsiteY15" fmla="*/ 1033460 h 1033460"/>
                  <a:gd name="connsiteX16" fmla="*/ 0 w 836613"/>
                  <a:gd name="connsiteY16" fmla="*/ 954085 h 1033460"/>
                  <a:gd name="connsiteX0" fmla="*/ 836613 w 836613"/>
                  <a:gd name="connsiteY0" fmla="*/ 0 h 1040398"/>
                  <a:gd name="connsiteX1" fmla="*/ 785813 w 836613"/>
                  <a:gd name="connsiteY1" fmla="*/ 60325 h 1040398"/>
                  <a:gd name="connsiteX2" fmla="*/ 757238 w 836613"/>
                  <a:gd name="connsiteY2" fmla="*/ 139700 h 1040398"/>
                  <a:gd name="connsiteX3" fmla="*/ 660400 w 836613"/>
                  <a:gd name="connsiteY3" fmla="*/ 223837 h 1040398"/>
                  <a:gd name="connsiteX4" fmla="*/ 646113 w 836613"/>
                  <a:gd name="connsiteY4" fmla="*/ 323850 h 1040398"/>
                  <a:gd name="connsiteX5" fmla="*/ 612775 w 836613"/>
                  <a:gd name="connsiteY5" fmla="*/ 457200 h 1040398"/>
                  <a:gd name="connsiteX6" fmla="*/ 541338 w 836613"/>
                  <a:gd name="connsiteY6" fmla="*/ 557212 h 1040398"/>
                  <a:gd name="connsiteX7" fmla="*/ 498475 w 836613"/>
                  <a:gd name="connsiteY7" fmla="*/ 619125 h 1040398"/>
                  <a:gd name="connsiteX8" fmla="*/ 412750 w 836613"/>
                  <a:gd name="connsiteY8" fmla="*/ 728662 h 1040398"/>
                  <a:gd name="connsiteX9" fmla="*/ 312738 w 836613"/>
                  <a:gd name="connsiteY9" fmla="*/ 785812 h 1040398"/>
                  <a:gd name="connsiteX10" fmla="*/ 241300 w 836613"/>
                  <a:gd name="connsiteY10" fmla="*/ 795337 h 1040398"/>
                  <a:gd name="connsiteX11" fmla="*/ 193675 w 836613"/>
                  <a:gd name="connsiteY11" fmla="*/ 857250 h 1040398"/>
                  <a:gd name="connsiteX12" fmla="*/ 77788 w 836613"/>
                  <a:gd name="connsiteY12" fmla="*/ 927100 h 1040398"/>
                  <a:gd name="connsiteX13" fmla="*/ 47625 w 836613"/>
                  <a:gd name="connsiteY13" fmla="*/ 938212 h 1040398"/>
                  <a:gd name="connsiteX14" fmla="*/ 61913 w 836613"/>
                  <a:gd name="connsiteY14" fmla="*/ 987425 h 1040398"/>
                  <a:gd name="connsiteX15" fmla="*/ 12700 w 836613"/>
                  <a:gd name="connsiteY15" fmla="*/ 1033460 h 1040398"/>
                  <a:gd name="connsiteX16" fmla="*/ 0 w 836613"/>
                  <a:gd name="connsiteY16" fmla="*/ 954085 h 1040398"/>
                  <a:gd name="connsiteX0" fmla="*/ 836613 w 836613"/>
                  <a:gd name="connsiteY0" fmla="*/ 0 h 1036090"/>
                  <a:gd name="connsiteX1" fmla="*/ 785813 w 836613"/>
                  <a:gd name="connsiteY1" fmla="*/ 60325 h 1036090"/>
                  <a:gd name="connsiteX2" fmla="*/ 757238 w 836613"/>
                  <a:gd name="connsiteY2" fmla="*/ 139700 h 1036090"/>
                  <a:gd name="connsiteX3" fmla="*/ 660400 w 836613"/>
                  <a:gd name="connsiteY3" fmla="*/ 223837 h 1036090"/>
                  <a:gd name="connsiteX4" fmla="*/ 646113 w 836613"/>
                  <a:gd name="connsiteY4" fmla="*/ 323850 h 1036090"/>
                  <a:gd name="connsiteX5" fmla="*/ 612775 w 836613"/>
                  <a:gd name="connsiteY5" fmla="*/ 457200 h 1036090"/>
                  <a:gd name="connsiteX6" fmla="*/ 541338 w 836613"/>
                  <a:gd name="connsiteY6" fmla="*/ 557212 h 1036090"/>
                  <a:gd name="connsiteX7" fmla="*/ 498475 w 836613"/>
                  <a:gd name="connsiteY7" fmla="*/ 619125 h 1036090"/>
                  <a:gd name="connsiteX8" fmla="*/ 412750 w 836613"/>
                  <a:gd name="connsiteY8" fmla="*/ 728662 h 1036090"/>
                  <a:gd name="connsiteX9" fmla="*/ 312738 w 836613"/>
                  <a:gd name="connsiteY9" fmla="*/ 785812 h 1036090"/>
                  <a:gd name="connsiteX10" fmla="*/ 241300 w 836613"/>
                  <a:gd name="connsiteY10" fmla="*/ 795337 h 1036090"/>
                  <a:gd name="connsiteX11" fmla="*/ 193675 w 836613"/>
                  <a:gd name="connsiteY11" fmla="*/ 857250 h 1036090"/>
                  <a:gd name="connsiteX12" fmla="*/ 77788 w 836613"/>
                  <a:gd name="connsiteY12" fmla="*/ 927100 h 1036090"/>
                  <a:gd name="connsiteX13" fmla="*/ 47625 w 836613"/>
                  <a:gd name="connsiteY13" fmla="*/ 938212 h 1036090"/>
                  <a:gd name="connsiteX14" fmla="*/ 61913 w 836613"/>
                  <a:gd name="connsiteY14" fmla="*/ 987425 h 1036090"/>
                  <a:gd name="connsiteX15" fmla="*/ 12700 w 836613"/>
                  <a:gd name="connsiteY15" fmla="*/ 1033460 h 1036090"/>
                  <a:gd name="connsiteX16" fmla="*/ 0 w 836613"/>
                  <a:gd name="connsiteY16" fmla="*/ 954085 h 1036090"/>
                  <a:gd name="connsiteX0" fmla="*/ 836613 w 836613"/>
                  <a:gd name="connsiteY0" fmla="*/ 0 h 1027013"/>
                  <a:gd name="connsiteX1" fmla="*/ 785813 w 836613"/>
                  <a:gd name="connsiteY1" fmla="*/ 60325 h 1027013"/>
                  <a:gd name="connsiteX2" fmla="*/ 757238 w 836613"/>
                  <a:gd name="connsiteY2" fmla="*/ 139700 h 1027013"/>
                  <a:gd name="connsiteX3" fmla="*/ 660400 w 836613"/>
                  <a:gd name="connsiteY3" fmla="*/ 223837 h 1027013"/>
                  <a:gd name="connsiteX4" fmla="*/ 646113 w 836613"/>
                  <a:gd name="connsiteY4" fmla="*/ 323850 h 1027013"/>
                  <a:gd name="connsiteX5" fmla="*/ 612775 w 836613"/>
                  <a:gd name="connsiteY5" fmla="*/ 457200 h 1027013"/>
                  <a:gd name="connsiteX6" fmla="*/ 541338 w 836613"/>
                  <a:gd name="connsiteY6" fmla="*/ 557212 h 1027013"/>
                  <a:gd name="connsiteX7" fmla="*/ 498475 w 836613"/>
                  <a:gd name="connsiteY7" fmla="*/ 619125 h 1027013"/>
                  <a:gd name="connsiteX8" fmla="*/ 412750 w 836613"/>
                  <a:gd name="connsiteY8" fmla="*/ 728662 h 1027013"/>
                  <a:gd name="connsiteX9" fmla="*/ 312738 w 836613"/>
                  <a:gd name="connsiteY9" fmla="*/ 785812 h 1027013"/>
                  <a:gd name="connsiteX10" fmla="*/ 241300 w 836613"/>
                  <a:gd name="connsiteY10" fmla="*/ 795337 h 1027013"/>
                  <a:gd name="connsiteX11" fmla="*/ 193675 w 836613"/>
                  <a:gd name="connsiteY11" fmla="*/ 857250 h 1027013"/>
                  <a:gd name="connsiteX12" fmla="*/ 77788 w 836613"/>
                  <a:gd name="connsiteY12" fmla="*/ 927100 h 1027013"/>
                  <a:gd name="connsiteX13" fmla="*/ 47625 w 836613"/>
                  <a:gd name="connsiteY13" fmla="*/ 938212 h 1027013"/>
                  <a:gd name="connsiteX14" fmla="*/ 61913 w 836613"/>
                  <a:gd name="connsiteY14" fmla="*/ 987425 h 1027013"/>
                  <a:gd name="connsiteX15" fmla="*/ 12700 w 836613"/>
                  <a:gd name="connsiteY15" fmla="*/ 1023935 h 1027013"/>
                  <a:gd name="connsiteX16" fmla="*/ 0 w 836613"/>
                  <a:gd name="connsiteY16" fmla="*/ 954085 h 1027013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77788 w 836613"/>
                  <a:gd name="connsiteY12" fmla="*/ 927100 h 1015211"/>
                  <a:gd name="connsiteX13" fmla="*/ 47625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4917"/>
                  <a:gd name="connsiteX1" fmla="*/ 785813 w 836613"/>
                  <a:gd name="connsiteY1" fmla="*/ 60325 h 1014917"/>
                  <a:gd name="connsiteX2" fmla="*/ 757238 w 836613"/>
                  <a:gd name="connsiteY2" fmla="*/ 139700 h 1014917"/>
                  <a:gd name="connsiteX3" fmla="*/ 660400 w 836613"/>
                  <a:gd name="connsiteY3" fmla="*/ 223837 h 1014917"/>
                  <a:gd name="connsiteX4" fmla="*/ 646113 w 836613"/>
                  <a:gd name="connsiteY4" fmla="*/ 323850 h 1014917"/>
                  <a:gd name="connsiteX5" fmla="*/ 612775 w 836613"/>
                  <a:gd name="connsiteY5" fmla="*/ 457200 h 1014917"/>
                  <a:gd name="connsiteX6" fmla="*/ 541338 w 836613"/>
                  <a:gd name="connsiteY6" fmla="*/ 557212 h 1014917"/>
                  <a:gd name="connsiteX7" fmla="*/ 498475 w 836613"/>
                  <a:gd name="connsiteY7" fmla="*/ 619125 h 1014917"/>
                  <a:gd name="connsiteX8" fmla="*/ 412750 w 836613"/>
                  <a:gd name="connsiteY8" fmla="*/ 728662 h 1014917"/>
                  <a:gd name="connsiteX9" fmla="*/ 312738 w 836613"/>
                  <a:gd name="connsiteY9" fmla="*/ 785812 h 1014917"/>
                  <a:gd name="connsiteX10" fmla="*/ 241300 w 836613"/>
                  <a:gd name="connsiteY10" fmla="*/ 795337 h 1014917"/>
                  <a:gd name="connsiteX11" fmla="*/ 193675 w 836613"/>
                  <a:gd name="connsiteY11" fmla="*/ 857250 h 1014917"/>
                  <a:gd name="connsiteX12" fmla="*/ 77788 w 836613"/>
                  <a:gd name="connsiteY12" fmla="*/ 927100 h 1014917"/>
                  <a:gd name="connsiteX13" fmla="*/ 50800 w 836613"/>
                  <a:gd name="connsiteY13" fmla="*/ 957262 h 1014917"/>
                  <a:gd name="connsiteX14" fmla="*/ 61913 w 836613"/>
                  <a:gd name="connsiteY14" fmla="*/ 987425 h 1014917"/>
                  <a:gd name="connsiteX15" fmla="*/ 25400 w 836613"/>
                  <a:gd name="connsiteY15" fmla="*/ 1011235 h 1014917"/>
                  <a:gd name="connsiteX16" fmla="*/ 0 w 836613"/>
                  <a:gd name="connsiteY16" fmla="*/ 954085 h 1014917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77788 w 836613"/>
                  <a:gd name="connsiteY12" fmla="*/ 927100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211"/>
                  <a:gd name="connsiteX1" fmla="*/ 785813 w 836613"/>
                  <a:gd name="connsiteY1" fmla="*/ 60325 h 1015211"/>
                  <a:gd name="connsiteX2" fmla="*/ 757238 w 836613"/>
                  <a:gd name="connsiteY2" fmla="*/ 139700 h 1015211"/>
                  <a:gd name="connsiteX3" fmla="*/ 660400 w 836613"/>
                  <a:gd name="connsiteY3" fmla="*/ 223837 h 1015211"/>
                  <a:gd name="connsiteX4" fmla="*/ 646113 w 836613"/>
                  <a:gd name="connsiteY4" fmla="*/ 323850 h 1015211"/>
                  <a:gd name="connsiteX5" fmla="*/ 612775 w 836613"/>
                  <a:gd name="connsiteY5" fmla="*/ 457200 h 1015211"/>
                  <a:gd name="connsiteX6" fmla="*/ 541338 w 836613"/>
                  <a:gd name="connsiteY6" fmla="*/ 557212 h 1015211"/>
                  <a:gd name="connsiteX7" fmla="*/ 498475 w 836613"/>
                  <a:gd name="connsiteY7" fmla="*/ 619125 h 1015211"/>
                  <a:gd name="connsiteX8" fmla="*/ 412750 w 836613"/>
                  <a:gd name="connsiteY8" fmla="*/ 728662 h 1015211"/>
                  <a:gd name="connsiteX9" fmla="*/ 312738 w 836613"/>
                  <a:gd name="connsiteY9" fmla="*/ 785812 h 1015211"/>
                  <a:gd name="connsiteX10" fmla="*/ 241300 w 836613"/>
                  <a:gd name="connsiteY10" fmla="*/ 795337 h 1015211"/>
                  <a:gd name="connsiteX11" fmla="*/ 193675 w 836613"/>
                  <a:gd name="connsiteY11" fmla="*/ 857250 h 1015211"/>
                  <a:gd name="connsiteX12" fmla="*/ 96838 w 836613"/>
                  <a:gd name="connsiteY12" fmla="*/ 917575 h 1015211"/>
                  <a:gd name="connsiteX13" fmla="*/ 44450 w 836613"/>
                  <a:gd name="connsiteY13" fmla="*/ 938212 h 1015211"/>
                  <a:gd name="connsiteX14" fmla="*/ 61913 w 836613"/>
                  <a:gd name="connsiteY14" fmla="*/ 987425 h 1015211"/>
                  <a:gd name="connsiteX15" fmla="*/ 25400 w 836613"/>
                  <a:gd name="connsiteY15" fmla="*/ 1011235 h 1015211"/>
                  <a:gd name="connsiteX16" fmla="*/ 0 w 836613"/>
                  <a:gd name="connsiteY16" fmla="*/ 954085 h 1015211"/>
                  <a:gd name="connsiteX0" fmla="*/ 836613 w 836613"/>
                  <a:gd name="connsiteY0" fmla="*/ 0 h 1015011"/>
                  <a:gd name="connsiteX1" fmla="*/ 785813 w 836613"/>
                  <a:gd name="connsiteY1" fmla="*/ 60325 h 1015011"/>
                  <a:gd name="connsiteX2" fmla="*/ 757238 w 836613"/>
                  <a:gd name="connsiteY2" fmla="*/ 139700 h 1015011"/>
                  <a:gd name="connsiteX3" fmla="*/ 660400 w 836613"/>
                  <a:gd name="connsiteY3" fmla="*/ 223837 h 1015011"/>
                  <a:gd name="connsiteX4" fmla="*/ 646113 w 836613"/>
                  <a:gd name="connsiteY4" fmla="*/ 323850 h 1015011"/>
                  <a:gd name="connsiteX5" fmla="*/ 612775 w 836613"/>
                  <a:gd name="connsiteY5" fmla="*/ 457200 h 1015011"/>
                  <a:gd name="connsiteX6" fmla="*/ 541338 w 836613"/>
                  <a:gd name="connsiteY6" fmla="*/ 557212 h 1015011"/>
                  <a:gd name="connsiteX7" fmla="*/ 498475 w 836613"/>
                  <a:gd name="connsiteY7" fmla="*/ 619125 h 1015011"/>
                  <a:gd name="connsiteX8" fmla="*/ 412750 w 836613"/>
                  <a:gd name="connsiteY8" fmla="*/ 728662 h 1015011"/>
                  <a:gd name="connsiteX9" fmla="*/ 312738 w 836613"/>
                  <a:gd name="connsiteY9" fmla="*/ 785812 h 1015011"/>
                  <a:gd name="connsiteX10" fmla="*/ 241300 w 836613"/>
                  <a:gd name="connsiteY10" fmla="*/ 795337 h 1015011"/>
                  <a:gd name="connsiteX11" fmla="*/ 193675 w 836613"/>
                  <a:gd name="connsiteY11" fmla="*/ 857250 h 1015011"/>
                  <a:gd name="connsiteX12" fmla="*/ 96838 w 836613"/>
                  <a:gd name="connsiteY12" fmla="*/ 917575 h 1015011"/>
                  <a:gd name="connsiteX13" fmla="*/ 53975 w 836613"/>
                  <a:gd name="connsiteY13" fmla="*/ 950912 h 1015011"/>
                  <a:gd name="connsiteX14" fmla="*/ 61913 w 836613"/>
                  <a:gd name="connsiteY14" fmla="*/ 987425 h 1015011"/>
                  <a:gd name="connsiteX15" fmla="*/ 25400 w 836613"/>
                  <a:gd name="connsiteY15" fmla="*/ 1011235 h 1015011"/>
                  <a:gd name="connsiteX16" fmla="*/ 0 w 836613"/>
                  <a:gd name="connsiteY16" fmla="*/ 954085 h 1015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6613" h="1015011">
                    <a:moveTo>
                      <a:pt x="836613" y="0"/>
                    </a:moveTo>
                    <a:lnTo>
                      <a:pt x="785813" y="60325"/>
                    </a:lnTo>
                    <a:cubicBezTo>
                      <a:pt x="760413" y="79375"/>
                      <a:pt x="778140" y="112448"/>
                      <a:pt x="757238" y="139700"/>
                    </a:cubicBezTo>
                    <a:cubicBezTo>
                      <a:pt x="736336" y="166952"/>
                      <a:pt x="678921" y="193146"/>
                      <a:pt x="660400" y="223837"/>
                    </a:cubicBezTo>
                    <a:cubicBezTo>
                      <a:pt x="641879" y="254528"/>
                      <a:pt x="654050" y="284956"/>
                      <a:pt x="646113" y="323850"/>
                    </a:cubicBezTo>
                    <a:cubicBezTo>
                      <a:pt x="638176" y="362744"/>
                      <a:pt x="630237" y="418306"/>
                      <a:pt x="612775" y="457200"/>
                    </a:cubicBezTo>
                    <a:cubicBezTo>
                      <a:pt x="595313" y="496094"/>
                      <a:pt x="560388" y="530225"/>
                      <a:pt x="541338" y="557212"/>
                    </a:cubicBezTo>
                    <a:cubicBezTo>
                      <a:pt x="522288" y="584199"/>
                      <a:pt x="519906" y="590550"/>
                      <a:pt x="498475" y="619125"/>
                    </a:cubicBezTo>
                    <a:cubicBezTo>
                      <a:pt x="477044" y="647700"/>
                      <a:pt x="443706" y="700881"/>
                      <a:pt x="412750" y="728662"/>
                    </a:cubicBezTo>
                    <a:cubicBezTo>
                      <a:pt x="381794" y="756443"/>
                      <a:pt x="341313" y="774700"/>
                      <a:pt x="312738" y="785812"/>
                    </a:cubicBezTo>
                    <a:cubicBezTo>
                      <a:pt x="284163" y="796924"/>
                      <a:pt x="261144" y="783431"/>
                      <a:pt x="241300" y="795337"/>
                    </a:cubicBezTo>
                    <a:cubicBezTo>
                      <a:pt x="221456" y="807243"/>
                      <a:pt x="217752" y="836877"/>
                      <a:pt x="193675" y="857250"/>
                    </a:cubicBezTo>
                    <a:cubicBezTo>
                      <a:pt x="169598" y="877623"/>
                      <a:pt x="120121" y="901965"/>
                      <a:pt x="96838" y="917575"/>
                    </a:cubicBezTo>
                    <a:cubicBezTo>
                      <a:pt x="73555" y="933185"/>
                      <a:pt x="47625" y="922337"/>
                      <a:pt x="53975" y="950912"/>
                    </a:cubicBezTo>
                    <a:cubicBezTo>
                      <a:pt x="60325" y="979487"/>
                      <a:pt x="66676" y="977371"/>
                      <a:pt x="61913" y="987425"/>
                    </a:cubicBezTo>
                    <a:cubicBezTo>
                      <a:pt x="57151" y="997479"/>
                      <a:pt x="42333" y="1024993"/>
                      <a:pt x="25400" y="1011235"/>
                    </a:cubicBezTo>
                    <a:cubicBezTo>
                      <a:pt x="8467" y="997477"/>
                      <a:pt x="4233" y="980543"/>
                      <a:pt x="0" y="954085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1" name="Воронеж-Озинки"/>
              <p:cNvSpPr/>
              <p:nvPr/>
            </p:nvSpPr>
            <p:spPr>
              <a:xfrm>
                <a:off x="1634461" y="4396475"/>
                <a:ext cx="547679" cy="442225"/>
              </a:xfrm>
              <a:custGeom>
                <a:avLst/>
                <a:gdLst>
                  <a:gd name="connsiteX0" fmla="*/ 0 w 520028"/>
                  <a:gd name="connsiteY0" fmla="*/ 0 h 476250"/>
                  <a:gd name="connsiteX1" fmla="*/ 157162 w 520028"/>
                  <a:gd name="connsiteY1" fmla="*/ 161925 h 476250"/>
                  <a:gd name="connsiteX2" fmla="*/ 219075 w 520028"/>
                  <a:gd name="connsiteY2" fmla="*/ 157163 h 476250"/>
                  <a:gd name="connsiteX3" fmla="*/ 342900 w 520028"/>
                  <a:gd name="connsiteY3" fmla="*/ 266700 h 476250"/>
                  <a:gd name="connsiteX4" fmla="*/ 395287 w 520028"/>
                  <a:gd name="connsiteY4" fmla="*/ 347663 h 476250"/>
                  <a:gd name="connsiteX5" fmla="*/ 414337 w 520028"/>
                  <a:gd name="connsiteY5" fmla="*/ 390525 h 476250"/>
                  <a:gd name="connsiteX6" fmla="*/ 504825 w 520028"/>
                  <a:gd name="connsiteY6" fmla="*/ 433388 h 476250"/>
                  <a:gd name="connsiteX7" fmla="*/ 519112 w 520028"/>
                  <a:gd name="connsiteY7" fmla="*/ 476250 h 476250"/>
                  <a:gd name="connsiteX0" fmla="*/ 0 w 526378"/>
                  <a:gd name="connsiteY0" fmla="*/ 0 h 434975"/>
                  <a:gd name="connsiteX1" fmla="*/ 163512 w 526378"/>
                  <a:gd name="connsiteY1" fmla="*/ 120650 h 434975"/>
                  <a:gd name="connsiteX2" fmla="*/ 225425 w 526378"/>
                  <a:gd name="connsiteY2" fmla="*/ 115888 h 434975"/>
                  <a:gd name="connsiteX3" fmla="*/ 349250 w 526378"/>
                  <a:gd name="connsiteY3" fmla="*/ 225425 h 434975"/>
                  <a:gd name="connsiteX4" fmla="*/ 401637 w 526378"/>
                  <a:gd name="connsiteY4" fmla="*/ 306388 h 434975"/>
                  <a:gd name="connsiteX5" fmla="*/ 420687 w 526378"/>
                  <a:gd name="connsiteY5" fmla="*/ 349250 h 434975"/>
                  <a:gd name="connsiteX6" fmla="*/ 511175 w 526378"/>
                  <a:gd name="connsiteY6" fmla="*/ 392113 h 434975"/>
                  <a:gd name="connsiteX7" fmla="*/ 525462 w 526378"/>
                  <a:gd name="connsiteY7" fmla="*/ 434975 h 434975"/>
                  <a:gd name="connsiteX0" fmla="*/ 0 w 526378"/>
                  <a:gd name="connsiteY0" fmla="*/ 0 h 434975"/>
                  <a:gd name="connsiteX1" fmla="*/ 163512 w 526378"/>
                  <a:gd name="connsiteY1" fmla="*/ 120650 h 434975"/>
                  <a:gd name="connsiteX2" fmla="*/ 225425 w 526378"/>
                  <a:gd name="connsiteY2" fmla="*/ 115888 h 434975"/>
                  <a:gd name="connsiteX3" fmla="*/ 349250 w 526378"/>
                  <a:gd name="connsiteY3" fmla="*/ 225425 h 434975"/>
                  <a:gd name="connsiteX4" fmla="*/ 401637 w 526378"/>
                  <a:gd name="connsiteY4" fmla="*/ 306388 h 434975"/>
                  <a:gd name="connsiteX5" fmla="*/ 420687 w 526378"/>
                  <a:gd name="connsiteY5" fmla="*/ 349250 h 434975"/>
                  <a:gd name="connsiteX6" fmla="*/ 511175 w 526378"/>
                  <a:gd name="connsiteY6" fmla="*/ 392113 h 434975"/>
                  <a:gd name="connsiteX7" fmla="*/ 525462 w 526378"/>
                  <a:gd name="connsiteY7" fmla="*/ 434975 h 434975"/>
                  <a:gd name="connsiteX0" fmla="*/ 0 w 529553"/>
                  <a:gd name="connsiteY0" fmla="*/ 0 h 434975"/>
                  <a:gd name="connsiteX1" fmla="*/ 166687 w 529553"/>
                  <a:gd name="connsiteY1" fmla="*/ 120650 h 434975"/>
                  <a:gd name="connsiteX2" fmla="*/ 228600 w 529553"/>
                  <a:gd name="connsiteY2" fmla="*/ 115888 h 434975"/>
                  <a:gd name="connsiteX3" fmla="*/ 352425 w 529553"/>
                  <a:gd name="connsiteY3" fmla="*/ 225425 h 434975"/>
                  <a:gd name="connsiteX4" fmla="*/ 404812 w 529553"/>
                  <a:gd name="connsiteY4" fmla="*/ 306388 h 434975"/>
                  <a:gd name="connsiteX5" fmla="*/ 423862 w 529553"/>
                  <a:gd name="connsiteY5" fmla="*/ 349250 h 434975"/>
                  <a:gd name="connsiteX6" fmla="*/ 514350 w 529553"/>
                  <a:gd name="connsiteY6" fmla="*/ 392113 h 434975"/>
                  <a:gd name="connsiteX7" fmla="*/ 528637 w 529553"/>
                  <a:gd name="connsiteY7" fmla="*/ 434975 h 434975"/>
                  <a:gd name="connsiteX0" fmla="*/ 0 w 529553"/>
                  <a:gd name="connsiteY0" fmla="*/ 0 h 434975"/>
                  <a:gd name="connsiteX1" fmla="*/ 179387 w 529553"/>
                  <a:gd name="connsiteY1" fmla="*/ 92075 h 434975"/>
                  <a:gd name="connsiteX2" fmla="*/ 228600 w 529553"/>
                  <a:gd name="connsiteY2" fmla="*/ 115888 h 434975"/>
                  <a:gd name="connsiteX3" fmla="*/ 352425 w 529553"/>
                  <a:gd name="connsiteY3" fmla="*/ 225425 h 434975"/>
                  <a:gd name="connsiteX4" fmla="*/ 404812 w 529553"/>
                  <a:gd name="connsiteY4" fmla="*/ 306388 h 434975"/>
                  <a:gd name="connsiteX5" fmla="*/ 423862 w 529553"/>
                  <a:gd name="connsiteY5" fmla="*/ 349250 h 434975"/>
                  <a:gd name="connsiteX6" fmla="*/ 514350 w 529553"/>
                  <a:gd name="connsiteY6" fmla="*/ 392113 h 434975"/>
                  <a:gd name="connsiteX7" fmla="*/ 528637 w 529553"/>
                  <a:gd name="connsiteY7" fmla="*/ 434975 h 434975"/>
                  <a:gd name="connsiteX0" fmla="*/ 0 w 529553"/>
                  <a:gd name="connsiteY0" fmla="*/ 0 h 434975"/>
                  <a:gd name="connsiteX1" fmla="*/ 179387 w 529553"/>
                  <a:gd name="connsiteY1" fmla="*/ 92075 h 434975"/>
                  <a:gd name="connsiteX2" fmla="*/ 241300 w 529553"/>
                  <a:gd name="connsiteY2" fmla="*/ 90488 h 434975"/>
                  <a:gd name="connsiteX3" fmla="*/ 352425 w 529553"/>
                  <a:gd name="connsiteY3" fmla="*/ 225425 h 434975"/>
                  <a:gd name="connsiteX4" fmla="*/ 404812 w 529553"/>
                  <a:gd name="connsiteY4" fmla="*/ 306388 h 434975"/>
                  <a:gd name="connsiteX5" fmla="*/ 423862 w 529553"/>
                  <a:gd name="connsiteY5" fmla="*/ 349250 h 434975"/>
                  <a:gd name="connsiteX6" fmla="*/ 514350 w 529553"/>
                  <a:gd name="connsiteY6" fmla="*/ 392113 h 434975"/>
                  <a:gd name="connsiteX7" fmla="*/ 528637 w 529553"/>
                  <a:gd name="connsiteY7" fmla="*/ 434975 h 434975"/>
                  <a:gd name="connsiteX0" fmla="*/ 0 w 529553"/>
                  <a:gd name="connsiteY0" fmla="*/ 0 h 434975"/>
                  <a:gd name="connsiteX1" fmla="*/ 176212 w 529553"/>
                  <a:gd name="connsiteY1" fmla="*/ 82550 h 434975"/>
                  <a:gd name="connsiteX2" fmla="*/ 241300 w 529553"/>
                  <a:gd name="connsiteY2" fmla="*/ 90488 h 434975"/>
                  <a:gd name="connsiteX3" fmla="*/ 352425 w 529553"/>
                  <a:gd name="connsiteY3" fmla="*/ 225425 h 434975"/>
                  <a:gd name="connsiteX4" fmla="*/ 404812 w 529553"/>
                  <a:gd name="connsiteY4" fmla="*/ 306388 h 434975"/>
                  <a:gd name="connsiteX5" fmla="*/ 423862 w 529553"/>
                  <a:gd name="connsiteY5" fmla="*/ 349250 h 434975"/>
                  <a:gd name="connsiteX6" fmla="*/ 514350 w 529553"/>
                  <a:gd name="connsiteY6" fmla="*/ 392113 h 434975"/>
                  <a:gd name="connsiteX7" fmla="*/ 528637 w 529553"/>
                  <a:gd name="connsiteY7" fmla="*/ 434975 h 434975"/>
                  <a:gd name="connsiteX0" fmla="*/ 0 w 539220"/>
                  <a:gd name="connsiteY0" fmla="*/ 0 h 438600"/>
                  <a:gd name="connsiteX1" fmla="*/ 185879 w 539220"/>
                  <a:gd name="connsiteY1" fmla="*/ 86175 h 438600"/>
                  <a:gd name="connsiteX2" fmla="*/ 250967 w 539220"/>
                  <a:gd name="connsiteY2" fmla="*/ 94113 h 438600"/>
                  <a:gd name="connsiteX3" fmla="*/ 362092 w 539220"/>
                  <a:gd name="connsiteY3" fmla="*/ 229050 h 438600"/>
                  <a:gd name="connsiteX4" fmla="*/ 414479 w 539220"/>
                  <a:gd name="connsiteY4" fmla="*/ 310013 h 438600"/>
                  <a:gd name="connsiteX5" fmla="*/ 433529 w 539220"/>
                  <a:gd name="connsiteY5" fmla="*/ 352875 h 438600"/>
                  <a:gd name="connsiteX6" fmla="*/ 524017 w 539220"/>
                  <a:gd name="connsiteY6" fmla="*/ 395738 h 438600"/>
                  <a:gd name="connsiteX7" fmla="*/ 538304 w 539220"/>
                  <a:gd name="connsiteY7" fmla="*/ 438600 h 438600"/>
                  <a:gd name="connsiteX0" fmla="*/ 0 w 547679"/>
                  <a:gd name="connsiteY0" fmla="*/ 0 h 442225"/>
                  <a:gd name="connsiteX1" fmla="*/ 194338 w 547679"/>
                  <a:gd name="connsiteY1" fmla="*/ 89800 h 442225"/>
                  <a:gd name="connsiteX2" fmla="*/ 259426 w 547679"/>
                  <a:gd name="connsiteY2" fmla="*/ 97738 h 442225"/>
                  <a:gd name="connsiteX3" fmla="*/ 370551 w 547679"/>
                  <a:gd name="connsiteY3" fmla="*/ 232675 h 442225"/>
                  <a:gd name="connsiteX4" fmla="*/ 422938 w 547679"/>
                  <a:gd name="connsiteY4" fmla="*/ 313638 h 442225"/>
                  <a:gd name="connsiteX5" fmla="*/ 441988 w 547679"/>
                  <a:gd name="connsiteY5" fmla="*/ 356500 h 442225"/>
                  <a:gd name="connsiteX6" fmla="*/ 532476 w 547679"/>
                  <a:gd name="connsiteY6" fmla="*/ 399363 h 442225"/>
                  <a:gd name="connsiteX7" fmla="*/ 546763 w 547679"/>
                  <a:gd name="connsiteY7" fmla="*/ 442225 h 44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7679" h="442225">
                    <a:moveTo>
                      <a:pt x="0" y="0"/>
                    </a:moveTo>
                    <a:cubicBezTo>
                      <a:pt x="73025" y="45640"/>
                      <a:pt x="151100" y="73510"/>
                      <a:pt x="194338" y="89800"/>
                    </a:cubicBezTo>
                    <a:cubicBezTo>
                      <a:pt x="237576" y="106090"/>
                      <a:pt x="230057" y="73926"/>
                      <a:pt x="259426" y="97738"/>
                    </a:cubicBezTo>
                    <a:cubicBezTo>
                      <a:pt x="288795" y="121550"/>
                      <a:pt x="343299" y="196692"/>
                      <a:pt x="370551" y="232675"/>
                    </a:cubicBezTo>
                    <a:cubicBezTo>
                      <a:pt x="397803" y="268658"/>
                      <a:pt x="411032" y="293000"/>
                      <a:pt x="422938" y="313638"/>
                    </a:cubicBezTo>
                    <a:cubicBezTo>
                      <a:pt x="434844" y="334276"/>
                      <a:pt x="423732" y="342212"/>
                      <a:pt x="441988" y="356500"/>
                    </a:cubicBezTo>
                    <a:cubicBezTo>
                      <a:pt x="460244" y="370788"/>
                      <a:pt x="515014" y="385076"/>
                      <a:pt x="532476" y="399363"/>
                    </a:cubicBezTo>
                    <a:cubicBezTo>
                      <a:pt x="549938" y="413650"/>
                      <a:pt x="548350" y="427937"/>
                      <a:pt x="546763" y="442225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2" name="Ростов-Саратов"/>
              <p:cNvSpPr/>
              <p:nvPr/>
            </p:nvSpPr>
            <p:spPr>
              <a:xfrm>
                <a:off x="1328736" y="4662490"/>
                <a:ext cx="709612" cy="213271"/>
              </a:xfrm>
              <a:custGeom>
                <a:avLst/>
                <a:gdLst>
                  <a:gd name="connsiteX0" fmla="*/ 0 w 1119187"/>
                  <a:gd name="connsiteY0" fmla="*/ 414338 h 490032"/>
                  <a:gd name="connsiteX1" fmla="*/ 47625 w 1119187"/>
                  <a:gd name="connsiteY1" fmla="*/ 433388 h 490032"/>
                  <a:gd name="connsiteX2" fmla="*/ 100012 w 1119187"/>
                  <a:gd name="connsiteY2" fmla="*/ 485775 h 490032"/>
                  <a:gd name="connsiteX3" fmla="*/ 200025 w 1119187"/>
                  <a:gd name="connsiteY3" fmla="*/ 485775 h 490032"/>
                  <a:gd name="connsiteX4" fmla="*/ 280987 w 1119187"/>
                  <a:gd name="connsiteY4" fmla="*/ 476250 h 490032"/>
                  <a:gd name="connsiteX5" fmla="*/ 423862 w 1119187"/>
                  <a:gd name="connsiteY5" fmla="*/ 485775 h 490032"/>
                  <a:gd name="connsiteX6" fmla="*/ 509587 w 1119187"/>
                  <a:gd name="connsiteY6" fmla="*/ 471488 h 490032"/>
                  <a:gd name="connsiteX7" fmla="*/ 571500 w 1119187"/>
                  <a:gd name="connsiteY7" fmla="*/ 438150 h 490032"/>
                  <a:gd name="connsiteX8" fmla="*/ 657225 w 1119187"/>
                  <a:gd name="connsiteY8" fmla="*/ 423863 h 490032"/>
                  <a:gd name="connsiteX9" fmla="*/ 709612 w 1119187"/>
                  <a:gd name="connsiteY9" fmla="*/ 338138 h 490032"/>
                  <a:gd name="connsiteX10" fmla="*/ 747712 w 1119187"/>
                  <a:gd name="connsiteY10" fmla="*/ 300038 h 490032"/>
                  <a:gd name="connsiteX11" fmla="*/ 795337 w 1119187"/>
                  <a:gd name="connsiteY11" fmla="*/ 304800 h 490032"/>
                  <a:gd name="connsiteX12" fmla="*/ 862012 w 1119187"/>
                  <a:gd name="connsiteY12" fmla="*/ 328613 h 490032"/>
                  <a:gd name="connsiteX13" fmla="*/ 933450 w 1119187"/>
                  <a:gd name="connsiteY13" fmla="*/ 276225 h 490032"/>
                  <a:gd name="connsiteX14" fmla="*/ 942975 w 1119187"/>
                  <a:gd name="connsiteY14" fmla="*/ 219075 h 490032"/>
                  <a:gd name="connsiteX15" fmla="*/ 1052512 w 1119187"/>
                  <a:gd name="connsiteY15" fmla="*/ 76200 h 490032"/>
                  <a:gd name="connsiteX16" fmla="*/ 1119187 w 1119187"/>
                  <a:gd name="connsiteY16" fmla="*/ 0 h 490032"/>
                  <a:gd name="connsiteX0" fmla="*/ 0 w 1119187"/>
                  <a:gd name="connsiteY0" fmla="*/ 414338 h 511189"/>
                  <a:gd name="connsiteX1" fmla="*/ 47625 w 1119187"/>
                  <a:gd name="connsiteY1" fmla="*/ 433388 h 511189"/>
                  <a:gd name="connsiteX2" fmla="*/ 100012 w 1119187"/>
                  <a:gd name="connsiteY2" fmla="*/ 485775 h 511189"/>
                  <a:gd name="connsiteX3" fmla="*/ 200025 w 1119187"/>
                  <a:gd name="connsiteY3" fmla="*/ 485775 h 511189"/>
                  <a:gd name="connsiteX4" fmla="*/ 280987 w 1119187"/>
                  <a:gd name="connsiteY4" fmla="*/ 476250 h 511189"/>
                  <a:gd name="connsiteX5" fmla="*/ 423862 w 1119187"/>
                  <a:gd name="connsiteY5" fmla="*/ 511175 h 511189"/>
                  <a:gd name="connsiteX6" fmla="*/ 509587 w 1119187"/>
                  <a:gd name="connsiteY6" fmla="*/ 471488 h 511189"/>
                  <a:gd name="connsiteX7" fmla="*/ 571500 w 1119187"/>
                  <a:gd name="connsiteY7" fmla="*/ 438150 h 511189"/>
                  <a:gd name="connsiteX8" fmla="*/ 657225 w 1119187"/>
                  <a:gd name="connsiteY8" fmla="*/ 423863 h 511189"/>
                  <a:gd name="connsiteX9" fmla="*/ 709612 w 1119187"/>
                  <a:gd name="connsiteY9" fmla="*/ 338138 h 511189"/>
                  <a:gd name="connsiteX10" fmla="*/ 747712 w 1119187"/>
                  <a:gd name="connsiteY10" fmla="*/ 300038 h 511189"/>
                  <a:gd name="connsiteX11" fmla="*/ 795337 w 1119187"/>
                  <a:gd name="connsiteY11" fmla="*/ 304800 h 511189"/>
                  <a:gd name="connsiteX12" fmla="*/ 862012 w 1119187"/>
                  <a:gd name="connsiteY12" fmla="*/ 328613 h 511189"/>
                  <a:gd name="connsiteX13" fmla="*/ 933450 w 1119187"/>
                  <a:gd name="connsiteY13" fmla="*/ 276225 h 511189"/>
                  <a:gd name="connsiteX14" fmla="*/ 942975 w 1119187"/>
                  <a:gd name="connsiteY14" fmla="*/ 219075 h 511189"/>
                  <a:gd name="connsiteX15" fmla="*/ 1052512 w 1119187"/>
                  <a:gd name="connsiteY15" fmla="*/ 76200 h 511189"/>
                  <a:gd name="connsiteX16" fmla="*/ 1119187 w 1119187"/>
                  <a:gd name="connsiteY16" fmla="*/ 0 h 511189"/>
                  <a:gd name="connsiteX0" fmla="*/ 0 w 1119187"/>
                  <a:gd name="connsiteY0" fmla="*/ 414338 h 515290"/>
                  <a:gd name="connsiteX1" fmla="*/ 47625 w 1119187"/>
                  <a:gd name="connsiteY1" fmla="*/ 433388 h 515290"/>
                  <a:gd name="connsiteX2" fmla="*/ 100012 w 1119187"/>
                  <a:gd name="connsiteY2" fmla="*/ 485775 h 515290"/>
                  <a:gd name="connsiteX3" fmla="*/ 200025 w 1119187"/>
                  <a:gd name="connsiteY3" fmla="*/ 485775 h 515290"/>
                  <a:gd name="connsiteX4" fmla="*/ 293687 w 1119187"/>
                  <a:gd name="connsiteY4" fmla="*/ 511175 h 515290"/>
                  <a:gd name="connsiteX5" fmla="*/ 423862 w 1119187"/>
                  <a:gd name="connsiteY5" fmla="*/ 511175 h 515290"/>
                  <a:gd name="connsiteX6" fmla="*/ 509587 w 1119187"/>
                  <a:gd name="connsiteY6" fmla="*/ 471488 h 515290"/>
                  <a:gd name="connsiteX7" fmla="*/ 571500 w 1119187"/>
                  <a:gd name="connsiteY7" fmla="*/ 438150 h 515290"/>
                  <a:gd name="connsiteX8" fmla="*/ 657225 w 1119187"/>
                  <a:gd name="connsiteY8" fmla="*/ 423863 h 515290"/>
                  <a:gd name="connsiteX9" fmla="*/ 709612 w 1119187"/>
                  <a:gd name="connsiteY9" fmla="*/ 338138 h 515290"/>
                  <a:gd name="connsiteX10" fmla="*/ 747712 w 1119187"/>
                  <a:gd name="connsiteY10" fmla="*/ 300038 h 515290"/>
                  <a:gd name="connsiteX11" fmla="*/ 795337 w 1119187"/>
                  <a:gd name="connsiteY11" fmla="*/ 304800 h 515290"/>
                  <a:gd name="connsiteX12" fmla="*/ 862012 w 1119187"/>
                  <a:gd name="connsiteY12" fmla="*/ 328613 h 515290"/>
                  <a:gd name="connsiteX13" fmla="*/ 933450 w 1119187"/>
                  <a:gd name="connsiteY13" fmla="*/ 276225 h 515290"/>
                  <a:gd name="connsiteX14" fmla="*/ 942975 w 1119187"/>
                  <a:gd name="connsiteY14" fmla="*/ 219075 h 515290"/>
                  <a:gd name="connsiteX15" fmla="*/ 1052512 w 1119187"/>
                  <a:gd name="connsiteY15" fmla="*/ 76200 h 515290"/>
                  <a:gd name="connsiteX16" fmla="*/ 1119187 w 1119187"/>
                  <a:gd name="connsiteY16" fmla="*/ 0 h 515290"/>
                  <a:gd name="connsiteX0" fmla="*/ 0 w 1119187"/>
                  <a:gd name="connsiteY0" fmla="*/ 414338 h 534674"/>
                  <a:gd name="connsiteX1" fmla="*/ 47625 w 1119187"/>
                  <a:gd name="connsiteY1" fmla="*/ 433388 h 534674"/>
                  <a:gd name="connsiteX2" fmla="*/ 100012 w 1119187"/>
                  <a:gd name="connsiteY2" fmla="*/ 485775 h 534674"/>
                  <a:gd name="connsiteX3" fmla="*/ 200025 w 1119187"/>
                  <a:gd name="connsiteY3" fmla="*/ 485775 h 534674"/>
                  <a:gd name="connsiteX4" fmla="*/ 293687 w 1119187"/>
                  <a:gd name="connsiteY4" fmla="*/ 511175 h 534674"/>
                  <a:gd name="connsiteX5" fmla="*/ 427037 w 1119187"/>
                  <a:gd name="connsiteY5" fmla="*/ 533400 h 534674"/>
                  <a:gd name="connsiteX6" fmla="*/ 509587 w 1119187"/>
                  <a:gd name="connsiteY6" fmla="*/ 471488 h 534674"/>
                  <a:gd name="connsiteX7" fmla="*/ 571500 w 1119187"/>
                  <a:gd name="connsiteY7" fmla="*/ 438150 h 534674"/>
                  <a:gd name="connsiteX8" fmla="*/ 657225 w 1119187"/>
                  <a:gd name="connsiteY8" fmla="*/ 423863 h 534674"/>
                  <a:gd name="connsiteX9" fmla="*/ 709612 w 1119187"/>
                  <a:gd name="connsiteY9" fmla="*/ 338138 h 534674"/>
                  <a:gd name="connsiteX10" fmla="*/ 747712 w 1119187"/>
                  <a:gd name="connsiteY10" fmla="*/ 300038 h 534674"/>
                  <a:gd name="connsiteX11" fmla="*/ 795337 w 1119187"/>
                  <a:gd name="connsiteY11" fmla="*/ 304800 h 534674"/>
                  <a:gd name="connsiteX12" fmla="*/ 862012 w 1119187"/>
                  <a:gd name="connsiteY12" fmla="*/ 328613 h 534674"/>
                  <a:gd name="connsiteX13" fmla="*/ 933450 w 1119187"/>
                  <a:gd name="connsiteY13" fmla="*/ 276225 h 534674"/>
                  <a:gd name="connsiteX14" fmla="*/ 942975 w 1119187"/>
                  <a:gd name="connsiteY14" fmla="*/ 219075 h 534674"/>
                  <a:gd name="connsiteX15" fmla="*/ 1052512 w 1119187"/>
                  <a:gd name="connsiteY15" fmla="*/ 76200 h 534674"/>
                  <a:gd name="connsiteX16" fmla="*/ 1119187 w 1119187"/>
                  <a:gd name="connsiteY16" fmla="*/ 0 h 534674"/>
                  <a:gd name="connsiteX0" fmla="*/ 0 w 1119187"/>
                  <a:gd name="connsiteY0" fmla="*/ 414338 h 540274"/>
                  <a:gd name="connsiteX1" fmla="*/ 47625 w 1119187"/>
                  <a:gd name="connsiteY1" fmla="*/ 433388 h 540274"/>
                  <a:gd name="connsiteX2" fmla="*/ 100012 w 1119187"/>
                  <a:gd name="connsiteY2" fmla="*/ 485775 h 540274"/>
                  <a:gd name="connsiteX3" fmla="*/ 200025 w 1119187"/>
                  <a:gd name="connsiteY3" fmla="*/ 485775 h 540274"/>
                  <a:gd name="connsiteX4" fmla="*/ 300037 w 1119187"/>
                  <a:gd name="connsiteY4" fmla="*/ 533400 h 540274"/>
                  <a:gd name="connsiteX5" fmla="*/ 427037 w 1119187"/>
                  <a:gd name="connsiteY5" fmla="*/ 533400 h 540274"/>
                  <a:gd name="connsiteX6" fmla="*/ 509587 w 1119187"/>
                  <a:gd name="connsiteY6" fmla="*/ 471488 h 540274"/>
                  <a:gd name="connsiteX7" fmla="*/ 571500 w 1119187"/>
                  <a:gd name="connsiteY7" fmla="*/ 438150 h 540274"/>
                  <a:gd name="connsiteX8" fmla="*/ 657225 w 1119187"/>
                  <a:gd name="connsiteY8" fmla="*/ 423863 h 540274"/>
                  <a:gd name="connsiteX9" fmla="*/ 709612 w 1119187"/>
                  <a:gd name="connsiteY9" fmla="*/ 338138 h 540274"/>
                  <a:gd name="connsiteX10" fmla="*/ 747712 w 1119187"/>
                  <a:gd name="connsiteY10" fmla="*/ 300038 h 540274"/>
                  <a:gd name="connsiteX11" fmla="*/ 795337 w 1119187"/>
                  <a:gd name="connsiteY11" fmla="*/ 304800 h 540274"/>
                  <a:gd name="connsiteX12" fmla="*/ 862012 w 1119187"/>
                  <a:gd name="connsiteY12" fmla="*/ 328613 h 540274"/>
                  <a:gd name="connsiteX13" fmla="*/ 933450 w 1119187"/>
                  <a:gd name="connsiteY13" fmla="*/ 276225 h 540274"/>
                  <a:gd name="connsiteX14" fmla="*/ 942975 w 1119187"/>
                  <a:gd name="connsiteY14" fmla="*/ 219075 h 540274"/>
                  <a:gd name="connsiteX15" fmla="*/ 1052512 w 1119187"/>
                  <a:gd name="connsiteY15" fmla="*/ 76200 h 540274"/>
                  <a:gd name="connsiteX16" fmla="*/ 1119187 w 1119187"/>
                  <a:gd name="connsiteY16" fmla="*/ 0 h 540274"/>
                  <a:gd name="connsiteX0" fmla="*/ 0 w 1119187"/>
                  <a:gd name="connsiteY0" fmla="*/ 414338 h 538924"/>
                  <a:gd name="connsiteX1" fmla="*/ 47625 w 1119187"/>
                  <a:gd name="connsiteY1" fmla="*/ 433388 h 538924"/>
                  <a:gd name="connsiteX2" fmla="*/ 100012 w 1119187"/>
                  <a:gd name="connsiteY2" fmla="*/ 485775 h 538924"/>
                  <a:gd name="connsiteX3" fmla="*/ 190500 w 1119187"/>
                  <a:gd name="connsiteY3" fmla="*/ 511175 h 538924"/>
                  <a:gd name="connsiteX4" fmla="*/ 300037 w 1119187"/>
                  <a:gd name="connsiteY4" fmla="*/ 533400 h 538924"/>
                  <a:gd name="connsiteX5" fmla="*/ 427037 w 1119187"/>
                  <a:gd name="connsiteY5" fmla="*/ 533400 h 538924"/>
                  <a:gd name="connsiteX6" fmla="*/ 509587 w 1119187"/>
                  <a:gd name="connsiteY6" fmla="*/ 471488 h 538924"/>
                  <a:gd name="connsiteX7" fmla="*/ 571500 w 1119187"/>
                  <a:gd name="connsiteY7" fmla="*/ 438150 h 538924"/>
                  <a:gd name="connsiteX8" fmla="*/ 657225 w 1119187"/>
                  <a:gd name="connsiteY8" fmla="*/ 423863 h 538924"/>
                  <a:gd name="connsiteX9" fmla="*/ 709612 w 1119187"/>
                  <a:gd name="connsiteY9" fmla="*/ 338138 h 538924"/>
                  <a:gd name="connsiteX10" fmla="*/ 747712 w 1119187"/>
                  <a:gd name="connsiteY10" fmla="*/ 300038 h 538924"/>
                  <a:gd name="connsiteX11" fmla="*/ 795337 w 1119187"/>
                  <a:gd name="connsiteY11" fmla="*/ 304800 h 538924"/>
                  <a:gd name="connsiteX12" fmla="*/ 862012 w 1119187"/>
                  <a:gd name="connsiteY12" fmla="*/ 328613 h 538924"/>
                  <a:gd name="connsiteX13" fmla="*/ 933450 w 1119187"/>
                  <a:gd name="connsiteY13" fmla="*/ 276225 h 538924"/>
                  <a:gd name="connsiteX14" fmla="*/ 942975 w 1119187"/>
                  <a:gd name="connsiteY14" fmla="*/ 219075 h 538924"/>
                  <a:gd name="connsiteX15" fmla="*/ 1052512 w 1119187"/>
                  <a:gd name="connsiteY15" fmla="*/ 76200 h 538924"/>
                  <a:gd name="connsiteX16" fmla="*/ 1119187 w 1119187"/>
                  <a:gd name="connsiteY16" fmla="*/ 0 h 538924"/>
                  <a:gd name="connsiteX0" fmla="*/ 0 w 1119187"/>
                  <a:gd name="connsiteY0" fmla="*/ 414338 h 544755"/>
                  <a:gd name="connsiteX1" fmla="*/ 47625 w 1119187"/>
                  <a:gd name="connsiteY1" fmla="*/ 433388 h 544755"/>
                  <a:gd name="connsiteX2" fmla="*/ 100012 w 1119187"/>
                  <a:gd name="connsiteY2" fmla="*/ 485775 h 544755"/>
                  <a:gd name="connsiteX3" fmla="*/ 190500 w 1119187"/>
                  <a:gd name="connsiteY3" fmla="*/ 511175 h 544755"/>
                  <a:gd name="connsiteX4" fmla="*/ 303212 w 1119187"/>
                  <a:gd name="connsiteY4" fmla="*/ 542925 h 544755"/>
                  <a:gd name="connsiteX5" fmla="*/ 427037 w 1119187"/>
                  <a:gd name="connsiteY5" fmla="*/ 533400 h 544755"/>
                  <a:gd name="connsiteX6" fmla="*/ 509587 w 1119187"/>
                  <a:gd name="connsiteY6" fmla="*/ 471488 h 544755"/>
                  <a:gd name="connsiteX7" fmla="*/ 571500 w 1119187"/>
                  <a:gd name="connsiteY7" fmla="*/ 438150 h 544755"/>
                  <a:gd name="connsiteX8" fmla="*/ 657225 w 1119187"/>
                  <a:gd name="connsiteY8" fmla="*/ 423863 h 544755"/>
                  <a:gd name="connsiteX9" fmla="*/ 709612 w 1119187"/>
                  <a:gd name="connsiteY9" fmla="*/ 338138 h 544755"/>
                  <a:gd name="connsiteX10" fmla="*/ 747712 w 1119187"/>
                  <a:gd name="connsiteY10" fmla="*/ 300038 h 544755"/>
                  <a:gd name="connsiteX11" fmla="*/ 795337 w 1119187"/>
                  <a:gd name="connsiteY11" fmla="*/ 304800 h 544755"/>
                  <a:gd name="connsiteX12" fmla="*/ 862012 w 1119187"/>
                  <a:gd name="connsiteY12" fmla="*/ 328613 h 544755"/>
                  <a:gd name="connsiteX13" fmla="*/ 933450 w 1119187"/>
                  <a:gd name="connsiteY13" fmla="*/ 276225 h 544755"/>
                  <a:gd name="connsiteX14" fmla="*/ 942975 w 1119187"/>
                  <a:gd name="connsiteY14" fmla="*/ 219075 h 544755"/>
                  <a:gd name="connsiteX15" fmla="*/ 1052512 w 1119187"/>
                  <a:gd name="connsiteY15" fmla="*/ 76200 h 544755"/>
                  <a:gd name="connsiteX16" fmla="*/ 1119187 w 1119187"/>
                  <a:gd name="connsiteY16" fmla="*/ 0 h 544755"/>
                  <a:gd name="connsiteX0" fmla="*/ 0 w 1119187"/>
                  <a:gd name="connsiteY0" fmla="*/ 414338 h 551878"/>
                  <a:gd name="connsiteX1" fmla="*/ 47625 w 1119187"/>
                  <a:gd name="connsiteY1" fmla="*/ 433388 h 551878"/>
                  <a:gd name="connsiteX2" fmla="*/ 100012 w 1119187"/>
                  <a:gd name="connsiteY2" fmla="*/ 485775 h 551878"/>
                  <a:gd name="connsiteX3" fmla="*/ 190500 w 1119187"/>
                  <a:gd name="connsiteY3" fmla="*/ 511175 h 551878"/>
                  <a:gd name="connsiteX4" fmla="*/ 303212 w 1119187"/>
                  <a:gd name="connsiteY4" fmla="*/ 542925 h 551878"/>
                  <a:gd name="connsiteX5" fmla="*/ 436562 w 1119187"/>
                  <a:gd name="connsiteY5" fmla="*/ 546100 h 551878"/>
                  <a:gd name="connsiteX6" fmla="*/ 509587 w 1119187"/>
                  <a:gd name="connsiteY6" fmla="*/ 471488 h 551878"/>
                  <a:gd name="connsiteX7" fmla="*/ 571500 w 1119187"/>
                  <a:gd name="connsiteY7" fmla="*/ 438150 h 551878"/>
                  <a:gd name="connsiteX8" fmla="*/ 657225 w 1119187"/>
                  <a:gd name="connsiteY8" fmla="*/ 423863 h 551878"/>
                  <a:gd name="connsiteX9" fmla="*/ 709612 w 1119187"/>
                  <a:gd name="connsiteY9" fmla="*/ 338138 h 551878"/>
                  <a:gd name="connsiteX10" fmla="*/ 747712 w 1119187"/>
                  <a:gd name="connsiteY10" fmla="*/ 300038 h 551878"/>
                  <a:gd name="connsiteX11" fmla="*/ 795337 w 1119187"/>
                  <a:gd name="connsiteY11" fmla="*/ 304800 h 551878"/>
                  <a:gd name="connsiteX12" fmla="*/ 862012 w 1119187"/>
                  <a:gd name="connsiteY12" fmla="*/ 328613 h 551878"/>
                  <a:gd name="connsiteX13" fmla="*/ 933450 w 1119187"/>
                  <a:gd name="connsiteY13" fmla="*/ 276225 h 551878"/>
                  <a:gd name="connsiteX14" fmla="*/ 942975 w 1119187"/>
                  <a:gd name="connsiteY14" fmla="*/ 219075 h 551878"/>
                  <a:gd name="connsiteX15" fmla="*/ 1052512 w 1119187"/>
                  <a:gd name="connsiteY15" fmla="*/ 76200 h 551878"/>
                  <a:gd name="connsiteX16" fmla="*/ 1119187 w 1119187"/>
                  <a:gd name="connsiteY16" fmla="*/ 0 h 551878"/>
                  <a:gd name="connsiteX0" fmla="*/ 0 w 1119187"/>
                  <a:gd name="connsiteY0" fmla="*/ 414338 h 551409"/>
                  <a:gd name="connsiteX1" fmla="*/ 47625 w 1119187"/>
                  <a:gd name="connsiteY1" fmla="*/ 433388 h 551409"/>
                  <a:gd name="connsiteX2" fmla="*/ 100012 w 1119187"/>
                  <a:gd name="connsiteY2" fmla="*/ 485775 h 551409"/>
                  <a:gd name="connsiteX3" fmla="*/ 190500 w 1119187"/>
                  <a:gd name="connsiteY3" fmla="*/ 511175 h 551409"/>
                  <a:gd name="connsiteX4" fmla="*/ 303212 w 1119187"/>
                  <a:gd name="connsiteY4" fmla="*/ 542925 h 551409"/>
                  <a:gd name="connsiteX5" fmla="*/ 436562 w 1119187"/>
                  <a:gd name="connsiteY5" fmla="*/ 546100 h 551409"/>
                  <a:gd name="connsiteX6" fmla="*/ 528637 w 1119187"/>
                  <a:gd name="connsiteY6" fmla="*/ 477838 h 551409"/>
                  <a:gd name="connsiteX7" fmla="*/ 571500 w 1119187"/>
                  <a:gd name="connsiteY7" fmla="*/ 438150 h 551409"/>
                  <a:gd name="connsiteX8" fmla="*/ 657225 w 1119187"/>
                  <a:gd name="connsiteY8" fmla="*/ 423863 h 551409"/>
                  <a:gd name="connsiteX9" fmla="*/ 709612 w 1119187"/>
                  <a:gd name="connsiteY9" fmla="*/ 338138 h 551409"/>
                  <a:gd name="connsiteX10" fmla="*/ 747712 w 1119187"/>
                  <a:gd name="connsiteY10" fmla="*/ 300038 h 551409"/>
                  <a:gd name="connsiteX11" fmla="*/ 795337 w 1119187"/>
                  <a:gd name="connsiteY11" fmla="*/ 304800 h 551409"/>
                  <a:gd name="connsiteX12" fmla="*/ 862012 w 1119187"/>
                  <a:gd name="connsiteY12" fmla="*/ 328613 h 551409"/>
                  <a:gd name="connsiteX13" fmla="*/ 933450 w 1119187"/>
                  <a:gd name="connsiteY13" fmla="*/ 276225 h 551409"/>
                  <a:gd name="connsiteX14" fmla="*/ 942975 w 1119187"/>
                  <a:gd name="connsiteY14" fmla="*/ 219075 h 551409"/>
                  <a:gd name="connsiteX15" fmla="*/ 1052512 w 1119187"/>
                  <a:gd name="connsiteY15" fmla="*/ 76200 h 551409"/>
                  <a:gd name="connsiteX16" fmla="*/ 1119187 w 1119187"/>
                  <a:gd name="connsiteY16" fmla="*/ 0 h 551409"/>
                  <a:gd name="connsiteX0" fmla="*/ 0 w 1119187"/>
                  <a:gd name="connsiteY0" fmla="*/ 414338 h 551409"/>
                  <a:gd name="connsiteX1" fmla="*/ 47625 w 1119187"/>
                  <a:gd name="connsiteY1" fmla="*/ 433388 h 551409"/>
                  <a:gd name="connsiteX2" fmla="*/ 100012 w 1119187"/>
                  <a:gd name="connsiteY2" fmla="*/ 485775 h 551409"/>
                  <a:gd name="connsiteX3" fmla="*/ 190500 w 1119187"/>
                  <a:gd name="connsiteY3" fmla="*/ 511175 h 551409"/>
                  <a:gd name="connsiteX4" fmla="*/ 303212 w 1119187"/>
                  <a:gd name="connsiteY4" fmla="*/ 542925 h 551409"/>
                  <a:gd name="connsiteX5" fmla="*/ 436562 w 1119187"/>
                  <a:gd name="connsiteY5" fmla="*/ 546100 h 551409"/>
                  <a:gd name="connsiteX6" fmla="*/ 528637 w 1119187"/>
                  <a:gd name="connsiteY6" fmla="*/ 477838 h 551409"/>
                  <a:gd name="connsiteX7" fmla="*/ 574675 w 1119187"/>
                  <a:gd name="connsiteY7" fmla="*/ 454025 h 551409"/>
                  <a:gd name="connsiteX8" fmla="*/ 657225 w 1119187"/>
                  <a:gd name="connsiteY8" fmla="*/ 423863 h 551409"/>
                  <a:gd name="connsiteX9" fmla="*/ 709612 w 1119187"/>
                  <a:gd name="connsiteY9" fmla="*/ 338138 h 551409"/>
                  <a:gd name="connsiteX10" fmla="*/ 747712 w 1119187"/>
                  <a:gd name="connsiteY10" fmla="*/ 300038 h 551409"/>
                  <a:gd name="connsiteX11" fmla="*/ 795337 w 1119187"/>
                  <a:gd name="connsiteY11" fmla="*/ 304800 h 551409"/>
                  <a:gd name="connsiteX12" fmla="*/ 862012 w 1119187"/>
                  <a:gd name="connsiteY12" fmla="*/ 328613 h 551409"/>
                  <a:gd name="connsiteX13" fmla="*/ 933450 w 1119187"/>
                  <a:gd name="connsiteY13" fmla="*/ 276225 h 551409"/>
                  <a:gd name="connsiteX14" fmla="*/ 942975 w 1119187"/>
                  <a:gd name="connsiteY14" fmla="*/ 219075 h 551409"/>
                  <a:gd name="connsiteX15" fmla="*/ 1052512 w 1119187"/>
                  <a:gd name="connsiteY15" fmla="*/ 76200 h 551409"/>
                  <a:gd name="connsiteX16" fmla="*/ 1119187 w 1119187"/>
                  <a:gd name="connsiteY16" fmla="*/ 0 h 551409"/>
                  <a:gd name="connsiteX0" fmla="*/ 0 w 1052512"/>
                  <a:gd name="connsiteY0" fmla="*/ 338138 h 475209"/>
                  <a:gd name="connsiteX1" fmla="*/ 47625 w 1052512"/>
                  <a:gd name="connsiteY1" fmla="*/ 357188 h 475209"/>
                  <a:gd name="connsiteX2" fmla="*/ 100012 w 1052512"/>
                  <a:gd name="connsiteY2" fmla="*/ 409575 h 475209"/>
                  <a:gd name="connsiteX3" fmla="*/ 190500 w 1052512"/>
                  <a:gd name="connsiteY3" fmla="*/ 434975 h 475209"/>
                  <a:gd name="connsiteX4" fmla="*/ 303212 w 1052512"/>
                  <a:gd name="connsiteY4" fmla="*/ 466725 h 475209"/>
                  <a:gd name="connsiteX5" fmla="*/ 436562 w 1052512"/>
                  <a:gd name="connsiteY5" fmla="*/ 469900 h 475209"/>
                  <a:gd name="connsiteX6" fmla="*/ 528637 w 1052512"/>
                  <a:gd name="connsiteY6" fmla="*/ 401638 h 475209"/>
                  <a:gd name="connsiteX7" fmla="*/ 574675 w 1052512"/>
                  <a:gd name="connsiteY7" fmla="*/ 377825 h 475209"/>
                  <a:gd name="connsiteX8" fmla="*/ 657225 w 1052512"/>
                  <a:gd name="connsiteY8" fmla="*/ 347663 h 475209"/>
                  <a:gd name="connsiteX9" fmla="*/ 709612 w 1052512"/>
                  <a:gd name="connsiteY9" fmla="*/ 261938 h 475209"/>
                  <a:gd name="connsiteX10" fmla="*/ 747712 w 1052512"/>
                  <a:gd name="connsiteY10" fmla="*/ 223838 h 475209"/>
                  <a:gd name="connsiteX11" fmla="*/ 795337 w 1052512"/>
                  <a:gd name="connsiteY11" fmla="*/ 228600 h 475209"/>
                  <a:gd name="connsiteX12" fmla="*/ 862012 w 1052512"/>
                  <a:gd name="connsiteY12" fmla="*/ 252413 h 475209"/>
                  <a:gd name="connsiteX13" fmla="*/ 933450 w 1052512"/>
                  <a:gd name="connsiteY13" fmla="*/ 200025 h 475209"/>
                  <a:gd name="connsiteX14" fmla="*/ 942975 w 1052512"/>
                  <a:gd name="connsiteY14" fmla="*/ 142875 h 475209"/>
                  <a:gd name="connsiteX15" fmla="*/ 1052512 w 1052512"/>
                  <a:gd name="connsiteY15" fmla="*/ 0 h 475209"/>
                  <a:gd name="connsiteX0" fmla="*/ 0 w 942975"/>
                  <a:gd name="connsiteY0" fmla="*/ 195263 h 332334"/>
                  <a:gd name="connsiteX1" fmla="*/ 47625 w 942975"/>
                  <a:gd name="connsiteY1" fmla="*/ 214313 h 332334"/>
                  <a:gd name="connsiteX2" fmla="*/ 100012 w 942975"/>
                  <a:gd name="connsiteY2" fmla="*/ 266700 h 332334"/>
                  <a:gd name="connsiteX3" fmla="*/ 190500 w 942975"/>
                  <a:gd name="connsiteY3" fmla="*/ 292100 h 332334"/>
                  <a:gd name="connsiteX4" fmla="*/ 303212 w 942975"/>
                  <a:gd name="connsiteY4" fmla="*/ 323850 h 332334"/>
                  <a:gd name="connsiteX5" fmla="*/ 436562 w 942975"/>
                  <a:gd name="connsiteY5" fmla="*/ 327025 h 332334"/>
                  <a:gd name="connsiteX6" fmla="*/ 528637 w 942975"/>
                  <a:gd name="connsiteY6" fmla="*/ 258763 h 332334"/>
                  <a:gd name="connsiteX7" fmla="*/ 574675 w 942975"/>
                  <a:gd name="connsiteY7" fmla="*/ 234950 h 332334"/>
                  <a:gd name="connsiteX8" fmla="*/ 657225 w 942975"/>
                  <a:gd name="connsiteY8" fmla="*/ 204788 h 332334"/>
                  <a:gd name="connsiteX9" fmla="*/ 709612 w 942975"/>
                  <a:gd name="connsiteY9" fmla="*/ 119063 h 332334"/>
                  <a:gd name="connsiteX10" fmla="*/ 747712 w 942975"/>
                  <a:gd name="connsiteY10" fmla="*/ 80963 h 332334"/>
                  <a:gd name="connsiteX11" fmla="*/ 795337 w 942975"/>
                  <a:gd name="connsiteY11" fmla="*/ 85725 h 332334"/>
                  <a:gd name="connsiteX12" fmla="*/ 862012 w 942975"/>
                  <a:gd name="connsiteY12" fmla="*/ 109538 h 332334"/>
                  <a:gd name="connsiteX13" fmla="*/ 933450 w 942975"/>
                  <a:gd name="connsiteY13" fmla="*/ 57150 h 332334"/>
                  <a:gd name="connsiteX14" fmla="*/ 942975 w 942975"/>
                  <a:gd name="connsiteY14" fmla="*/ 0 h 332334"/>
                  <a:gd name="connsiteX0" fmla="*/ 0 w 933450"/>
                  <a:gd name="connsiteY0" fmla="*/ 138113 h 275184"/>
                  <a:gd name="connsiteX1" fmla="*/ 47625 w 933450"/>
                  <a:gd name="connsiteY1" fmla="*/ 157163 h 275184"/>
                  <a:gd name="connsiteX2" fmla="*/ 100012 w 933450"/>
                  <a:gd name="connsiteY2" fmla="*/ 209550 h 275184"/>
                  <a:gd name="connsiteX3" fmla="*/ 190500 w 933450"/>
                  <a:gd name="connsiteY3" fmla="*/ 234950 h 275184"/>
                  <a:gd name="connsiteX4" fmla="*/ 303212 w 933450"/>
                  <a:gd name="connsiteY4" fmla="*/ 266700 h 275184"/>
                  <a:gd name="connsiteX5" fmla="*/ 436562 w 933450"/>
                  <a:gd name="connsiteY5" fmla="*/ 269875 h 275184"/>
                  <a:gd name="connsiteX6" fmla="*/ 528637 w 933450"/>
                  <a:gd name="connsiteY6" fmla="*/ 201613 h 275184"/>
                  <a:gd name="connsiteX7" fmla="*/ 574675 w 933450"/>
                  <a:gd name="connsiteY7" fmla="*/ 177800 h 275184"/>
                  <a:gd name="connsiteX8" fmla="*/ 657225 w 933450"/>
                  <a:gd name="connsiteY8" fmla="*/ 147638 h 275184"/>
                  <a:gd name="connsiteX9" fmla="*/ 709612 w 933450"/>
                  <a:gd name="connsiteY9" fmla="*/ 61913 h 275184"/>
                  <a:gd name="connsiteX10" fmla="*/ 747712 w 933450"/>
                  <a:gd name="connsiteY10" fmla="*/ 23813 h 275184"/>
                  <a:gd name="connsiteX11" fmla="*/ 795337 w 933450"/>
                  <a:gd name="connsiteY11" fmla="*/ 28575 h 275184"/>
                  <a:gd name="connsiteX12" fmla="*/ 862012 w 933450"/>
                  <a:gd name="connsiteY12" fmla="*/ 52388 h 275184"/>
                  <a:gd name="connsiteX13" fmla="*/ 933450 w 933450"/>
                  <a:gd name="connsiteY13" fmla="*/ 0 h 275184"/>
                  <a:gd name="connsiteX0" fmla="*/ 0 w 862012"/>
                  <a:gd name="connsiteY0" fmla="*/ 116622 h 253693"/>
                  <a:gd name="connsiteX1" fmla="*/ 47625 w 862012"/>
                  <a:gd name="connsiteY1" fmla="*/ 135672 h 253693"/>
                  <a:gd name="connsiteX2" fmla="*/ 100012 w 862012"/>
                  <a:gd name="connsiteY2" fmla="*/ 188059 h 253693"/>
                  <a:gd name="connsiteX3" fmla="*/ 190500 w 862012"/>
                  <a:gd name="connsiteY3" fmla="*/ 213459 h 253693"/>
                  <a:gd name="connsiteX4" fmla="*/ 303212 w 862012"/>
                  <a:gd name="connsiteY4" fmla="*/ 245209 h 253693"/>
                  <a:gd name="connsiteX5" fmla="*/ 436562 w 862012"/>
                  <a:gd name="connsiteY5" fmla="*/ 248384 h 253693"/>
                  <a:gd name="connsiteX6" fmla="*/ 528637 w 862012"/>
                  <a:gd name="connsiteY6" fmla="*/ 180122 h 253693"/>
                  <a:gd name="connsiteX7" fmla="*/ 574675 w 862012"/>
                  <a:gd name="connsiteY7" fmla="*/ 156309 h 253693"/>
                  <a:gd name="connsiteX8" fmla="*/ 657225 w 862012"/>
                  <a:gd name="connsiteY8" fmla="*/ 126147 h 253693"/>
                  <a:gd name="connsiteX9" fmla="*/ 709612 w 862012"/>
                  <a:gd name="connsiteY9" fmla="*/ 40422 h 253693"/>
                  <a:gd name="connsiteX10" fmla="*/ 747712 w 862012"/>
                  <a:gd name="connsiteY10" fmla="*/ 2322 h 253693"/>
                  <a:gd name="connsiteX11" fmla="*/ 795337 w 862012"/>
                  <a:gd name="connsiteY11" fmla="*/ 7084 h 253693"/>
                  <a:gd name="connsiteX12" fmla="*/ 862012 w 862012"/>
                  <a:gd name="connsiteY12" fmla="*/ 30897 h 253693"/>
                  <a:gd name="connsiteX0" fmla="*/ 0 w 795337"/>
                  <a:gd name="connsiteY0" fmla="*/ 116622 h 253693"/>
                  <a:gd name="connsiteX1" fmla="*/ 47625 w 795337"/>
                  <a:gd name="connsiteY1" fmla="*/ 135672 h 253693"/>
                  <a:gd name="connsiteX2" fmla="*/ 100012 w 795337"/>
                  <a:gd name="connsiteY2" fmla="*/ 188059 h 253693"/>
                  <a:gd name="connsiteX3" fmla="*/ 190500 w 795337"/>
                  <a:gd name="connsiteY3" fmla="*/ 213459 h 253693"/>
                  <a:gd name="connsiteX4" fmla="*/ 303212 w 795337"/>
                  <a:gd name="connsiteY4" fmla="*/ 245209 h 253693"/>
                  <a:gd name="connsiteX5" fmla="*/ 436562 w 795337"/>
                  <a:gd name="connsiteY5" fmla="*/ 248384 h 253693"/>
                  <a:gd name="connsiteX6" fmla="*/ 528637 w 795337"/>
                  <a:gd name="connsiteY6" fmla="*/ 180122 h 253693"/>
                  <a:gd name="connsiteX7" fmla="*/ 574675 w 795337"/>
                  <a:gd name="connsiteY7" fmla="*/ 156309 h 253693"/>
                  <a:gd name="connsiteX8" fmla="*/ 657225 w 795337"/>
                  <a:gd name="connsiteY8" fmla="*/ 126147 h 253693"/>
                  <a:gd name="connsiteX9" fmla="*/ 709612 w 795337"/>
                  <a:gd name="connsiteY9" fmla="*/ 40422 h 253693"/>
                  <a:gd name="connsiteX10" fmla="*/ 747712 w 795337"/>
                  <a:gd name="connsiteY10" fmla="*/ 2322 h 253693"/>
                  <a:gd name="connsiteX11" fmla="*/ 795337 w 795337"/>
                  <a:gd name="connsiteY11" fmla="*/ 7084 h 253693"/>
                  <a:gd name="connsiteX0" fmla="*/ 0 w 747712"/>
                  <a:gd name="connsiteY0" fmla="*/ 114300 h 251371"/>
                  <a:gd name="connsiteX1" fmla="*/ 47625 w 747712"/>
                  <a:gd name="connsiteY1" fmla="*/ 133350 h 251371"/>
                  <a:gd name="connsiteX2" fmla="*/ 100012 w 747712"/>
                  <a:gd name="connsiteY2" fmla="*/ 185737 h 251371"/>
                  <a:gd name="connsiteX3" fmla="*/ 190500 w 747712"/>
                  <a:gd name="connsiteY3" fmla="*/ 211137 h 251371"/>
                  <a:gd name="connsiteX4" fmla="*/ 303212 w 747712"/>
                  <a:gd name="connsiteY4" fmla="*/ 242887 h 251371"/>
                  <a:gd name="connsiteX5" fmla="*/ 436562 w 747712"/>
                  <a:gd name="connsiteY5" fmla="*/ 246062 h 251371"/>
                  <a:gd name="connsiteX6" fmla="*/ 528637 w 747712"/>
                  <a:gd name="connsiteY6" fmla="*/ 177800 h 251371"/>
                  <a:gd name="connsiteX7" fmla="*/ 574675 w 747712"/>
                  <a:gd name="connsiteY7" fmla="*/ 153987 h 251371"/>
                  <a:gd name="connsiteX8" fmla="*/ 657225 w 747712"/>
                  <a:gd name="connsiteY8" fmla="*/ 123825 h 251371"/>
                  <a:gd name="connsiteX9" fmla="*/ 709612 w 747712"/>
                  <a:gd name="connsiteY9" fmla="*/ 38100 h 251371"/>
                  <a:gd name="connsiteX10" fmla="*/ 747712 w 747712"/>
                  <a:gd name="connsiteY10" fmla="*/ 0 h 251371"/>
                  <a:gd name="connsiteX0" fmla="*/ 0 w 709612"/>
                  <a:gd name="connsiteY0" fmla="*/ 76200 h 213271"/>
                  <a:gd name="connsiteX1" fmla="*/ 47625 w 709612"/>
                  <a:gd name="connsiteY1" fmla="*/ 95250 h 213271"/>
                  <a:gd name="connsiteX2" fmla="*/ 100012 w 709612"/>
                  <a:gd name="connsiteY2" fmla="*/ 147637 h 213271"/>
                  <a:gd name="connsiteX3" fmla="*/ 190500 w 709612"/>
                  <a:gd name="connsiteY3" fmla="*/ 173037 h 213271"/>
                  <a:gd name="connsiteX4" fmla="*/ 303212 w 709612"/>
                  <a:gd name="connsiteY4" fmla="*/ 204787 h 213271"/>
                  <a:gd name="connsiteX5" fmla="*/ 436562 w 709612"/>
                  <a:gd name="connsiteY5" fmla="*/ 207962 h 213271"/>
                  <a:gd name="connsiteX6" fmla="*/ 528637 w 709612"/>
                  <a:gd name="connsiteY6" fmla="*/ 139700 h 213271"/>
                  <a:gd name="connsiteX7" fmla="*/ 574675 w 709612"/>
                  <a:gd name="connsiteY7" fmla="*/ 115887 h 213271"/>
                  <a:gd name="connsiteX8" fmla="*/ 657225 w 709612"/>
                  <a:gd name="connsiteY8" fmla="*/ 85725 h 213271"/>
                  <a:gd name="connsiteX9" fmla="*/ 709612 w 709612"/>
                  <a:gd name="connsiteY9" fmla="*/ 0 h 213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9612" h="213271">
                    <a:moveTo>
                      <a:pt x="0" y="76200"/>
                    </a:moveTo>
                    <a:cubicBezTo>
                      <a:pt x="15478" y="79772"/>
                      <a:pt x="30956" y="83344"/>
                      <a:pt x="47625" y="95250"/>
                    </a:cubicBezTo>
                    <a:cubicBezTo>
                      <a:pt x="64294" y="107156"/>
                      <a:pt x="76200" y="134673"/>
                      <a:pt x="100012" y="147637"/>
                    </a:cubicBezTo>
                    <a:cubicBezTo>
                      <a:pt x="123824" y="160601"/>
                      <a:pt x="156633" y="163512"/>
                      <a:pt x="190500" y="173037"/>
                    </a:cubicBezTo>
                    <a:cubicBezTo>
                      <a:pt x="224367" y="182562"/>
                      <a:pt x="262202" y="198966"/>
                      <a:pt x="303212" y="204787"/>
                    </a:cubicBezTo>
                    <a:cubicBezTo>
                      <a:pt x="344222" y="210608"/>
                      <a:pt x="398991" y="218810"/>
                      <a:pt x="436562" y="207962"/>
                    </a:cubicBezTo>
                    <a:cubicBezTo>
                      <a:pt x="474133" y="197114"/>
                      <a:pt x="505618" y="155046"/>
                      <a:pt x="528637" y="139700"/>
                    </a:cubicBezTo>
                    <a:cubicBezTo>
                      <a:pt x="551656" y="124354"/>
                      <a:pt x="553244" y="124883"/>
                      <a:pt x="574675" y="115887"/>
                    </a:cubicBezTo>
                    <a:cubicBezTo>
                      <a:pt x="596106" y="106891"/>
                      <a:pt x="634736" y="105040"/>
                      <a:pt x="657225" y="85725"/>
                    </a:cubicBezTo>
                    <a:cubicBezTo>
                      <a:pt x="679715" y="66411"/>
                      <a:pt x="694531" y="20637"/>
                      <a:pt x="709612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3" name="Спб-Н.Новгород"/>
              <p:cNvSpPr/>
              <p:nvPr/>
            </p:nvSpPr>
            <p:spPr>
              <a:xfrm>
                <a:off x="1804988" y="3171824"/>
                <a:ext cx="457334" cy="952500"/>
              </a:xfrm>
              <a:custGeom>
                <a:avLst/>
                <a:gdLst>
                  <a:gd name="connsiteX0" fmla="*/ 0 w 685800"/>
                  <a:gd name="connsiteY0" fmla="*/ 0 h 1185862"/>
                  <a:gd name="connsiteX1" fmla="*/ 66675 w 685800"/>
                  <a:gd name="connsiteY1" fmla="*/ 76200 h 1185862"/>
                  <a:gd name="connsiteX2" fmla="*/ 133350 w 685800"/>
                  <a:gd name="connsiteY2" fmla="*/ 133350 h 1185862"/>
                  <a:gd name="connsiteX3" fmla="*/ 219075 w 685800"/>
                  <a:gd name="connsiteY3" fmla="*/ 157162 h 1185862"/>
                  <a:gd name="connsiteX4" fmla="*/ 238125 w 685800"/>
                  <a:gd name="connsiteY4" fmla="*/ 228600 h 1185862"/>
                  <a:gd name="connsiteX5" fmla="*/ 271463 w 685800"/>
                  <a:gd name="connsiteY5" fmla="*/ 280987 h 1185862"/>
                  <a:gd name="connsiteX6" fmla="*/ 257175 w 685800"/>
                  <a:gd name="connsiteY6" fmla="*/ 338137 h 1185862"/>
                  <a:gd name="connsiteX7" fmla="*/ 304800 w 685800"/>
                  <a:gd name="connsiteY7" fmla="*/ 395287 h 1185862"/>
                  <a:gd name="connsiteX8" fmla="*/ 328613 w 685800"/>
                  <a:gd name="connsiteY8" fmla="*/ 485775 h 1185862"/>
                  <a:gd name="connsiteX9" fmla="*/ 438150 w 685800"/>
                  <a:gd name="connsiteY9" fmla="*/ 538162 h 1185862"/>
                  <a:gd name="connsiteX10" fmla="*/ 476250 w 685800"/>
                  <a:gd name="connsiteY10" fmla="*/ 585787 h 1185862"/>
                  <a:gd name="connsiteX11" fmla="*/ 466725 w 685800"/>
                  <a:gd name="connsiteY11" fmla="*/ 652462 h 1185862"/>
                  <a:gd name="connsiteX12" fmla="*/ 457200 w 685800"/>
                  <a:gd name="connsiteY12" fmla="*/ 647700 h 1185862"/>
                  <a:gd name="connsiteX13" fmla="*/ 500063 w 685800"/>
                  <a:gd name="connsiteY13" fmla="*/ 757237 h 1185862"/>
                  <a:gd name="connsiteX14" fmla="*/ 576263 w 685800"/>
                  <a:gd name="connsiteY14" fmla="*/ 919162 h 1185862"/>
                  <a:gd name="connsiteX15" fmla="*/ 633413 w 685800"/>
                  <a:gd name="connsiteY15" fmla="*/ 1057275 h 1185862"/>
                  <a:gd name="connsiteX16" fmla="*/ 657225 w 685800"/>
                  <a:gd name="connsiteY16" fmla="*/ 1157287 h 1185862"/>
                  <a:gd name="connsiteX17" fmla="*/ 685800 w 685800"/>
                  <a:gd name="connsiteY17" fmla="*/ 1185862 h 1185862"/>
                  <a:gd name="connsiteX0" fmla="*/ 0 w 685800"/>
                  <a:gd name="connsiteY0" fmla="*/ 0 h 1185862"/>
                  <a:gd name="connsiteX1" fmla="*/ 66675 w 685800"/>
                  <a:gd name="connsiteY1" fmla="*/ 76200 h 1185862"/>
                  <a:gd name="connsiteX2" fmla="*/ 133350 w 685800"/>
                  <a:gd name="connsiteY2" fmla="*/ 133350 h 1185862"/>
                  <a:gd name="connsiteX3" fmla="*/ 219075 w 685800"/>
                  <a:gd name="connsiteY3" fmla="*/ 157162 h 1185862"/>
                  <a:gd name="connsiteX4" fmla="*/ 238125 w 685800"/>
                  <a:gd name="connsiteY4" fmla="*/ 228600 h 1185862"/>
                  <a:gd name="connsiteX5" fmla="*/ 271463 w 685800"/>
                  <a:gd name="connsiteY5" fmla="*/ 280987 h 1185862"/>
                  <a:gd name="connsiteX6" fmla="*/ 257175 w 685800"/>
                  <a:gd name="connsiteY6" fmla="*/ 338137 h 1185862"/>
                  <a:gd name="connsiteX7" fmla="*/ 304800 w 685800"/>
                  <a:gd name="connsiteY7" fmla="*/ 395287 h 1185862"/>
                  <a:gd name="connsiteX8" fmla="*/ 328613 w 685800"/>
                  <a:gd name="connsiteY8" fmla="*/ 485775 h 1185862"/>
                  <a:gd name="connsiteX9" fmla="*/ 438150 w 685800"/>
                  <a:gd name="connsiteY9" fmla="*/ 538162 h 1185862"/>
                  <a:gd name="connsiteX10" fmla="*/ 476250 w 685800"/>
                  <a:gd name="connsiteY10" fmla="*/ 585787 h 1185862"/>
                  <a:gd name="connsiteX11" fmla="*/ 466725 w 685800"/>
                  <a:gd name="connsiteY11" fmla="*/ 652462 h 1185862"/>
                  <a:gd name="connsiteX12" fmla="*/ 466725 w 685800"/>
                  <a:gd name="connsiteY12" fmla="*/ 682625 h 1185862"/>
                  <a:gd name="connsiteX13" fmla="*/ 500063 w 685800"/>
                  <a:gd name="connsiteY13" fmla="*/ 757237 h 1185862"/>
                  <a:gd name="connsiteX14" fmla="*/ 576263 w 685800"/>
                  <a:gd name="connsiteY14" fmla="*/ 919162 h 1185862"/>
                  <a:gd name="connsiteX15" fmla="*/ 633413 w 685800"/>
                  <a:gd name="connsiteY15" fmla="*/ 1057275 h 1185862"/>
                  <a:gd name="connsiteX16" fmla="*/ 657225 w 685800"/>
                  <a:gd name="connsiteY16" fmla="*/ 1157287 h 1185862"/>
                  <a:gd name="connsiteX17" fmla="*/ 685800 w 685800"/>
                  <a:gd name="connsiteY17" fmla="*/ 1185862 h 1185862"/>
                  <a:gd name="connsiteX0" fmla="*/ 0 w 685800"/>
                  <a:gd name="connsiteY0" fmla="*/ 0 h 1185862"/>
                  <a:gd name="connsiteX1" fmla="*/ 66675 w 685800"/>
                  <a:gd name="connsiteY1" fmla="*/ 76200 h 1185862"/>
                  <a:gd name="connsiteX2" fmla="*/ 133350 w 685800"/>
                  <a:gd name="connsiteY2" fmla="*/ 133350 h 1185862"/>
                  <a:gd name="connsiteX3" fmla="*/ 219075 w 685800"/>
                  <a:gd name="connsiteY3" fmla="*/ 157162 h 1185862"/>
                  <a:gd name="connsiteX4" fmla="*/ 238125 w 685800"/>
                  <a:gd name="connsiteY4" fmla="*/ 228600 h 1185862"/>
                  <a:gd name="connsiteX5" fmla="*/ 271463 w 685800"/>
                  <a:gd name="connsiteY5" fmla="*/ 280987 h 1185862"/>
                  <a:gd name="connsiteX6" fmla="*/ 257175 w 685800"/>
                  <a:gd name="connsiteY6" fmla="*/ 338137 h 1185862"/>
                  <a:gd name="connsiteX7" fmla="*/ 304800 w 685800"/>
                  <a:gd name="connsiteY7" fmla="*/ 395287 h 1185862"/>
                  <a:gd name="connsiteX8" fmla="*/ 328613 w 685800"/>
                  <a:gd name="connsiteY8" fmla="*/ 485775 h 1185862"/>
                  <a:gd name="connsiteX9" fmla="*/ 438150 w 685800"/>
                  <a:gd name="connsiteY9" fmla="*/ 538162 h 1185862"/>
                  <a:gd name="connsiteX10" fmla="*/ 476250 w 685800"/>
                  <a:gd name="connsiteY10" fmla="*/ 585787 h 1185862"/>
                  <a:gd name="connsiteX11" fmla="*/ 466725 w 685800"/>
                  <a:gd name="connsiteY11" fmla="*/ 652462 h 1185862"/>
                  <a:gd name="connsiteX12" fmla="*/ 466725 w 685800"/>
                  <a:gd name="connsiteY12" fmla="*/ 682625 h 1185862"/>
                  <a:gd name="connsiteX13" fmla="*/ 500063 w 685800"/>
                  <a:gd name="connsiteY13" fmla="*/ 757237 h 1185862"/>
                  <a:gd name="connsiteX14" fmla="*/ 490538 w 685800"/>
                  <a:gd name="connsiteY14" fmla="*/ 928687 h 1185862"/>
                  <a:gd name="connsiteX15" fmla="*/ 633413 w 685800"/>
                  <a:gd name="connsiteY15" fmla="*/ 1057275 h 1185862"/>
                  <a:gd name="connsiteX16" fmla="*/ 657225 w 685800"/>
                  <a:gd name="connsiteY16" fmla="*/ 1157287 h 1185862"/>
                  <a:gd name="connsiteX17" fmla="*/ 685800 w 685800"/>
                  <a:gd name="connsiteY17" fmla="*/ 1185862 h 1185862"/>
                  <a:gd name="connsiteX0" fmla="*/ 0 w 685800"/>
                  <a:gd name="connsiteY0" fmla="*/ 0 h 1185862"/>
                  <a:gd name="connsiteX1" fmla="*/ 66675 w 685800"/>
                  <a:gd name="connsiteY1" fmla="*/ 76200 h 1185862"/>
                  <a:gd name="connsiteX2" fmla="*/ 133350 w 685800"/>
                  <a:gd name="connsiteY2" fmla="*/ 133350 h 1185862"/>
                  <a:gd name="connsiteX3" fmla="*/ 219075 w 685800"/>
                  <a:gd name="connsiteY3" fmla="*/ 157162 h 1185862"/>
                  <a:gd name="connsiteX4" fmla="*/ 238125 w 685800"/>
                  <a:gd name="connsiteY4" fmla="*/ 228600 h 1185862"/>
                  <a:gd name="connsiteX5" fmla="*/ 271463 w 685800"/>
                  <a:gd name="connsiteY5" fmla="*/ 280987 h 1185862"/>
                  <a:gd name="connsiteX6" fmla="*/ 257175 w 685800"/>
                  <a:gd name="connsiteY6" fmla="*/ 338137 h 1185862"/>
                  <a:gd name="connsiteX7" fmla="*/ 304800 w 685800"/>
                  <a:gd name="connsiteY7" fmla="*/ 395287 h 1185862"/>
                  <a:gd name="connsiteX8" fmla="*/ 328613 w 685800"/>
                  <a:gd name="connsiteY8" fmla="*/ 485775 h 1185862"/>
                  <a:gd name="connsiteX9" fmla="*/ 438150 w 685800"/>
                  <a:gd name="connsiteY9" fmla="*/ 538162 h 1185862"/>
                  <a:gd name="connsiteX10" fmla="*/ 476250 w 685800"/>
                  <a:gd name="connsiteY10" fmla="*/ 585787 h 1185862"/>
                  <a:gd name="connsiteX11" fmla="*/ 466725 w 685800"/>
                  <a:gd name="connsiteY11" fmla="*/ 652462 h 1185862"/>
                  <a:gd name="connsiteX12" fmla="*/ 466725 w 685800"/>
                  <a:gd name="connsiteY12" fmla="*/ 682625 h 1185862"/>
                  <a:gd name="connsiteX13" fmla="*/ 500063 w 685800"/>
                  <a:gd name="connsiteY13" fmla="*/ 757237 h 1185862"/>
                  <a:gd name="connsiteX14" fmla="*/ 490538 w 685800"/>
                  <a:gd name="connsiteY14" fmla="*/ 928687 h 1185862"/>
                  <a:gd name="connsiteX15" fmla="*/ 657225 w 685800"/>
                  <a:gd name="connsiteY15" fmla="*/ 1157287 h 1185862"/>
                  <a:gd name="connsiteX16" fmla="*/ 685800 w 685800"/>
                  <a:gd name="connsiteY16" fmla="*/ 1185862 h 1185862"/>
                  <a:gd name="connsiteX0" fmla="*/ 0 w 685800"/>
                  <a:gd name="connsiteY0" fmla="*/ 0 h 1185862"/>
                  <a:gd name="connsiteX1" fmla="*/ 66675 w 685800"/>
                  <a:gd name="connsiteY1" fmla="*/ 76200 h 1185862"/>
                  <a:gd name="connsiteX2" fmla="*/ 133350 w 685800"/>
                  <a:gd name="connsiteY2" fmla="*/ 133350 h 1185862"/>
                  <a:gd name="connsiteX3" fmla="*/ 219075 w 685800"/>
                  <a:gd name="connsiteY3" fmla="*/ 157162 h 1185862"/>
                  <a:gd name="connsiteX4" fmla="*/ 238125 w 685800"/>
                  <a:gd name="connsiteY4" fmla="*/ 228600 h 1185862"/>
                  <a:gd name="connsiteX5" fmla="*/ 271463 w 685800"/>
                  <a:gd name="connsiteY5" fmla="*/ 280987 h 1185862"/>
                  <a:gd name="connsiteX6" fmla="*/ 257175 w 685800"/>
                  <a:gd name="connsiteY6" fmla="*/ 338137 h 1185862"/>
                  <a:gd name="connsiteX7" fmla="*/ 304800 w 685800"/>
                  <a:gd name="connsiteY7" fmla="*/ 395287 h 1185862"/>
                  <a:gd name="connsiteX8" fmla="*/ 328613 w 685800"/>
                  <a:gd name="connsiteY8" fmla="*/ 485775 h 1185862"/>
                  <a:gd name="connsiteX9" fmla="*/ 438150 w 685800"/>
                  <a:gd name="connsiteY9" fmla="*/ 538162 h 1185862"/>
                  <a:gd name="connsiteX10" fmla="*/ 476250 w 685800"/>
                  <a:gd name="connsiteY10" fmla="*/ 585787 h 1185862"/>
                  <a:gd name="connsiteX11" fmla="*/ 466725 w 685800"/>
                  <a:gd name="connsiteY11" fmla="*/ 652462 h 1185862"/>
                  <a:gd name="connsiteX12" fmla="*/ 466725 w 685800"/>
                  <a:gd name="connsiteY12" fmla="*/ 682625 h 1185862"/>
                  <a:gd name="connsiteX13" fmla="*/ 500063 w 685800"/>
                  <a:gd name="connsiteY13" fmla="*/ 757237 h 1185862"/>
                  <a:gd name="connsiteX14" fmla="*/ 490538 w 685800"/>
                  <a:gd name="connsiteY14" fmla="*/ 928687 h 1185862"/>
                  <a:gd name="connsiteX15" fmla="*/ 685800 w 685800"/>
                  <a:gd name="connsiteY15" fmla="*/ 1185862 h 1185862"/>
                  <a:gd name="connsiteX0" fmla="*/ 0 w 500316"/>
                  <a:gd name="connsiteY0" fmla="*/ 0 h 928687"/>
                  <a:gd name="connsiteX1" fmla="*/ 66675 w 500316"/>
                  <a:gd name="connsiteY1" fmla="*/ 76200 h 928687"/>
                  <a:gd name="connsiteX2" fmla="*/ 133350 w 500316"/>
                  <a:gd name="connsiteY2" fmla="*/ 133350 h 928687"/>
                  <a:gd name="connsiteX3" fmla="*/ 219075 w 500316"/>
                  <a:gd name="connsiteY3" fmla="*/ 157162 h 928687"/>
                  <a:gd name="connsiteX4" fmla="*/ 238125 w 500316"/>
                  <a:gd name="connsiteY4" fmla="*/ 228600 h 928687"/>
                  <a:gd name="connsiteX5" fmla="*/ 271463 w 500316"/>
                  <a:gd name="connsiteY5" fmla="*/ 280987 h 928687"/>
                  <a:gd name="connsiteX6" fmla="*/ 257175 w 500316"/>
                  <a:gd name="connsiteY6" fmla="*/ 338137 h 928687"/>
                  <a:gd name="connsiteX7" fmla="*/ 304800 w 500316"/>
                  <a:gd name="connsiteY7" fmla="*/ 395287 h 928687"/>
                  <a:gd name="connsiteX8" fmla="*/ 328613 w 500316"/>
                  <a:gd name="connsiteY8" fmla="*/ 485775 h 928687"/>
                  <a:gd name="connsiteX9" fmla="*/ 438150 w 500316"/>
                  <a:gd name="connsiteY9" fmla="*/ 538162 h 928687"/>
                  <a:gd name="connsiteX10" fmla="*/ 476250 w 500316"/>
                  <a:gd name="connsiteY10" fmla="*/ 585787 h 928687"/>
                  <a:gd name="connsiteX11" fmla="*/ 466725 w 500316"/>
                  <a:gd name="connsiteY11" fmla="*/ 652462 h 928687"/>
                  <a:gd name="connsiteX12" fmla="*/ 466725 w 500316"/>
                  <a:gd name="connsiteY12" fmla="*/ 682625 h 928687"/>
                  <a:gd name="connsiteX13" fmla="*/ 500063 w 500316"/>
                  <a:gd name="connsiteY13" fmla="*/ 757237 h 928687"/>
                  <a:gd name="connsiteX14" fmla="*/ 490538 w 500316"/>
                  <a:gd name="connsiteY14" fmla="*/ 928687 h 928687"/>
                  <a:gd name="connsiteX0" fmla="*/ 0 w 500326"/>
                  <a:gd name="connsiteY0" fmla="*/ 0 h 969962"/>
                  <a:gd name="connsiteX1" fmla="*/ 66675 w 500326"/>
                  <a:gd name="connsiteY1" fmla="*/ 76200 h 969962"/>
                  <a:gd name="connsiteX2" fmla="*/ 133350 w 500326"/>
                  <a:gd name="connsiteY2" fmla="*/ 133350 h 969962"/>
                  <a:gd name="connsiteX3" fmla="*/ 219075 w 500326"/>
                  <a:gd name="connsiteY3" fmla="*/ 157162 h 969962"/>
                  <a:gd name="connsiteX4" fmla="*/ 238125 w 500326"/>
                  <a:gd name="connsiteY4" fmla="*/ 228600 h 969962"/>
                  <a:gd name="connsiteX5" fmla="*/ 271463 w 500326"/>
                  <a:gd name="connsiteY5" fmla="*/ 280987 h 969962"/>
                  <a:gd name="connsiteX6" fmla="*/ 257175 w 500326"/>
                  <a:gd name="connsiteY6" fmla="*/ 338137 h 969962"/>
                  <a:gd name="connsiteX7" fmla="*/ 304800 w 500326"/>
                  <a:gd name="connsiteY7" fmla="*/ 395287 h 969962"/>
                  <a:gd name="connsiteX8" fmla="*/ 328613 w 500326"/>
                  <a:gd name="connsiteY8" fmla="*/ 485775 h 969962"/>
                  <a:gd name="connsiteX9" fmla="*/ 438150 w 500326"/>
                  <a:gd name="connsiteY9" fmla="*/ 538162 h 969962"/>
                  <a:gd name="connsiteX10" fmla="*/ 476250 w 500326"/>
                  <a:gd name="connsiteY10" fmla="*/ 585787 h 969962"/>
                  <a:gd name="connsiteX11" fmla="*/ 466725 w 500326"/>
                  <a:gd name="connsiteY11" fmla="*/ 652462 h 969962"/>
                  <a:gd name="connsiteX12" fmla="*/ 466725 w 500326"/>
                  <a:gd name="connsiteY12" fmla="*/ 682625 h 969962"/>
                  <a:gd name="connsiteX13" fmla="*/ 500063 w 500326"/>
                  <a:gd name="connsiteY13" fmla="*/ 757237 h 969962"/>
                  <a:gd name="connsiteX14" fmla="*/ 446088 w 500326"/>
                  <a:gd name="connsiteY14" fmla="*/ 969962 h 969962"/>
                  <a:gd name="connsiteX0" fmla="*/ 0 w 500326"/>
                  <a:gd name="connsiteY0" fmla="*/ 0 h 969962"/>
                  <a:gd name="connsiteX1" fmla="*/ 66675 w 500326"/>
                  <a:gd name="connsiteY1" fmla="*/ 76200 h 969962"/>
                  <a:gd name="connsiteX2" fmla="*/ 133350 w 500326"/>
                  <a:gd name="connsiteY2" fmla="*/ 133350 h 969962"/>
                  <a:gd name="connsiteX3" fmla="*/ 219075 w 500326"/>
                  <a:gd name="connsiteY3" fmla="*/ 157162 h 969962"/>
                  <a:gd name="connsiteX4" fmla="*/ 238125 w 500326"/>
                  <a:gd name="connsiteY4" fmla="*/ 228600 h 969962"/>
                  <a:gd name="connsiteX5" fmla="*/ 271463 w 500326"/>
                  <a:gd name="connsiteY5" fmla="*/ 280987 h 969962"/>
                  <a:gd name="connsiteX6" fmla="*/ 257175 w 500326"/>
                  <a:gd name="connsiteY6" fmla="*/ 338137 h 969962"/>
                  <a:gd name="connsiteX7" fmla="*/ 304800 w 500326"/>
                  <a:gd name="connsiteY7" fmla="*/ 395287 h 969962"/>
                  <a:gd name="connsiteX8" fmla="*/ 328613 w 500326"/>
                  <a:gd name="connsiteY8" fmla="*/ 485775 h 969962"/>
                  <a:gd name="connsiteX9" fmla="*/ 438150 w 500326"/>
                  <a:gd name="connsiteY9" fmla="*/ 538162 h 969962"/>
                  <a:gd name="connsiteX10" fmla="*/ 476250 w 500326"/>
                  <a:gd name="connsiteY10" fmla="*/ 585787 h 969962"/>
                  <a:gd name="connsiteX11" fmla="*/ 466725 w 500326"/>
                  <a:gd name="connsiteY11" fmla="*/ 652462 h 969962"/>
                  <a:gd name="connsiteX12" fmla="*/ 466725 w 500326"/>
                  <a:gd name="connsiteY12" fmla="*/ 682625 h 969962"/>
                  <a:gd name="connsiteX13" fmla="*/ 500063 w 500326"/>
                  <a:gd name="connsiteY13" fmla="*/ 757237 h 969962"/>
                  <a:gd name="connsiteX14" fmla="*/ 446088 w 500326"/>
                  <a:gd name="connsiteY14" fmla="*/ 969962 h 969962"/>
                  <a:gd name="connsiteX0" fmla="*/ 0 w 500106"/>
                  <a:gd name="connsiteY0" fmla="*/ 0 h 957262"/>
                  <a:gd name="connsiteX1" fmla="*/ 66675 w 500106"/>
                  <a:gd name="connsiteY1" fmla="*/ 76200 h 957262"/>
                  <a:gd name="connsiteX2" fmla="*/ 133350 w 500106"/>
                  <a:gd name="connsiteY2" fmla="*/ 133350 h 957262"/>
                  <a:gd name="connsiteX3" fmla="*/ 219075 w 500106"/>
                  <a:gd name="connsiteY3" fmla="*/ 157162 h 957262"/>
                  <a:gd name="connsiteX4" fmla="*/ 238125 w 500106"/>
                  <a:gd name="connsiteY4" fmla="*/ 228600 h 957262"/>
                  <a:gd name="connsiteX5" fmla="*/ 271463 w 500106"/>
                  <a:gd name="connsiteY5" fmla="*/ 280987 h 957262"/>
                  <a:gd name="connsiteX6" fmla="*/ 257175 w 500106"/>
                  <a:gd name="connsiteY6" fmla="*/ 338137 h 957262"/>
                  <a:gd name="connsiteX7" fmla="*/ 304800 w 500106"/>
                  <a:gd name="connsiteY7" fmla="*/ 395287 h 957262"/>
                  <a:gd name="connsiteX8" fmla="*/ 328613 w 500106"/>
                  <a:gd name="connsiteY8" fmla="*/ 485775 h 957262"/>
                  <a:gd name="connsiteX9" fmla="*/ 438150 w 500106"/>
                  <a:gd name="connsiteY9" fmla="*/ 538162 h 957262"/>
                  <a:gd name="connsiteX10" fmla="*/ 476250 w 500106"/>
                  <a:gd name="connsiteY10" fmla="*/ 585787 h 957262"/>
                  <a:gd name="connsiteX11" fmla="*/ 466725 w 500106"/>
                  <a:gd name="connsiteY11" fmla="*/ 652462 h 957262"/>
                  <a:gd name="connsiteX12" fmla="*/ 466725 w 500106"/>
                  <a:gd name="connsiteY12" fmla="*/ 682625 h 957262"/>
                  <a:gd name="connsiteX13" fmla="*/ 500063 w 500106"/>
                  <a:gd name="connsiteY13" fmla="*/ 757237 h 957262"/>
                  <a:gd name="connsiteX14" fmla="*/ 458788 w 500106"/>
                  <a:gd name="connsiteY14" fmla="*/ 957262 h 957262"/>
                  <a:gd name="connsiteX0" fmla="*/ 0 w 500064"/>
                  <a:gd name="connsiteY0" fmla="*/ 0 h 976312"/>
                  <a:gd name="connsiteX1" fmla="*/ 66675 w 500064"/>
                  <a:gd name="connsiteY1" fmla="*/ 76200 h 976312"/>
                  <a:gd name="connsiteX2" fmla="*/ 133350 w 500064"/>
                  <a:gd name="connsiteY2" fmla="*/ 133350 h 976312"/>
                  <a:gd name="connsiteX3" fmla="*/ 219075 w 500064"/>
                  <a:gd name="connsiteY3" fmla="*/ 157162 h 976312"/>
                  <a:gd name="connsiteX4" fmla="*/ 238125 w 500064"/>
                  <a:gd name="connsiteY4" fmla="*/ 228600 h 976312"/>
                  <a:gd name="connsiteX5" fmla="*/ 271463 w 500064"/>
                  <a:gd name="connsiteY5" fmla="*/ 280987 h 976312"/>
                  <a:gd name="connsiteX6" fmla="*/ 257175 w 500064"/>
                  <a:gd name="connsiteY6" fmla="*/ 338137 h 976312"/>
                  <a:gd name="connsiteX7" fmla="*/ 304800 w 500064"/>
                  <a:gd name="connsiteY7" fmla="*/ 395287 h 976312"/>
                  <a:gd name="connsiteX8" fmla="*/ 328613 w 500064"/>
                  <a:gd name="connsiteY8" fmla="*/ 485775 h 976312"/>
                  <a:gd name="connsiteX9" fmla="*/ 438150 w 500064"/>
                  <a:gd name="connsiteY9" fmla="*/ 538162 h 976312"/>
                  <a:gd name="connsiteX10" fmla="*/ 476250 w 500064"/>
                  <a:gd name="connsiteY10" fmla="*/ 585787 h 976312"/>
                  <a:gd name="connsiteX11" fmla="*/ 466725 w 500064"/>
                  <a:gd name="connsiteY11" fmla="*/ 652462 h 976312"/>
                  <a:gd name="connsiteX12" fmla="*/ 466725 w 500064"/>
                  <a:gd name="connsiteY12" fmla="*/ 682625 h 976312"/>
                  <a:gd name="connsiteX13" fmla="*/ 500063 w 500064"/>
                  <a:gd name="connsiteY13" fmla="*/ 757237 h 976312"/>
                  <a:gd name="connsiteX14" fmla="*/ 468313 w 500064"/>
                  <a:gd name="connsiteY14" fmla="*/ 976312 h 976312"/>
                  <a:gd name="connsiteX0" fmla="*/ 0 w 500196"/>
                  <a:gd name="connsiteY0" fmla="*/ 0 h 976312"/>
                  <a:gd name="connsiteX1" fmla="*/ 66675 w 500196"/>
                  <a:gd name="connsiteY1" fmla="*/ 76200 h 976312"/>
                  <a:gd name="connsiteX2" fmla="*/ 133350 w 500196"/>
                  <a:gd name="connsiteY2" fmla="*/ 133350 h 976312"/>
                  <a:gd name="connsiteX3" fmla="*/ 219075 w 500196"/>
                  <a:gd name="connsiteY3" fmla="*/ 157162 h 976312"/>
                  <a:gd name="connsiteX4" fmla="*/ 238125 w 500196"/>
                  <a:gd name="connsiteY4" fmla="*/ 228600 h 976312"/>
                  <a:gd name="connsiteX5" fmla="*/ 271463 w 500196"/>
                  <a:gd name="connsiteY5" fmla="*/ 280987 h 976312"/>
                  <a:gd name="connsiteX6" fmla="*/ 257175 w 500196"/>
                  <a:gd name="connsiteY6" fmla="*/ 338137 h 976312"/>
                  <a:gd name="connsiteX7" fmla="*/ 304800 w 500196"/>
                  <a:gd name="connsiteY7" fmla="*/ 395287 h 976312"/>
                  <a:gd name="connsiteX8" fmla="*/ 328613 w 500196"/>
                  <a:gd name="connsiteY8" fmla="*/ 485775 h 976312"/>
                  <a:gd name="connsiteX9" fmla="*/ 438150 w 500196"/>
                  <a:gd name="connsiteY9" fmla="*/ 538162 h 976312"/>
                  <a:gd name="connsiteX10" fmla="*/ 476250 w 500196"/>
                  <a:gd name="connsiteY10" fmla="*/ 585787 h 976312"/>
                  <a:gd name="connsiteX11" fmla="*/ 466725 w 500196"/>
                  <a:gd name="connsiteY11" fmla="*/ 652462 h 976312"/>
                  <a:gd name="connsiteX12" fmla="*/ 466725 w 500196"/>
                  <a:gd name="connsiteY12" fmla="*/ 682625 h 976312"/>
                  <a:gd name="connsiteX13" fmla="*/ 500063 w 500196"/>
                  <a:gd name="connsiteY13" fmla="*/ 757237 h 976312"/>
                  <a:gd name="connsiteX14" fmla="*/ 452438 w 500196"/>
                  <a:gd name="connsiteY14" fmla="*/ 976312 h 976312"/>
                  <a:gd name="connsiteX0" fmla="*/ 0 w 450190"/>
                  <a:gd name="connsiteY0" fmla="*/ 0 h 923925"/>
                  <a:gd name="connsiteX1" fmla="*/ 16669 w 450190"/>
                  <a:gd name="connsiteY1" fmla="*/ 23813 h 923925"/>
                  <a:gd name="connsiteX2" fmla="*/ 83344 w 450190"/>
                  <a:gd name="connsiteY2" fmla="*/ 80963 h 923925"/>
                  <a:gd name="connsiteX3" fmla="*/ 169069 w 450190"/>
                  <a:gd name="connsiteY3" fmla="*/ 104775 h 923925"/>
                  <a:gd name="connsiteX4" fmla="*/ 188119 w 450190"/>
                  <a:gd name="connsiteY4" fmla="*/ 176213 h 923925"/>
                  <a:gd name="connsiteX5" fmla="*/ 221457 w 450190"/>
                  <a:gd name="connsiteY5" fmla="*/ 228600 h 923925"/>
                  <a:gd name="connsiteX6" fmla="*/ 207169 w 450190"/>
                  <a:gd name="connsiteY6" fmla="*/ 285750 h 923925"/>
                  <a:gd name="connsiteX7" fmla="*/ 254794 w 450190"/>
                  <a:gd name="connsiteY7" fmla="*/ 342900 h 923925"/>
                  <a:gd name="connsiteX8" fmla="*/ 278607 w 450190"/>
                  <a:gd name="connsiteY8" fmla="*/ 433388 h 923925"/>
                  <a:gd name="connsiteX9" fmla="*/ 388144 w 450190"/>
                  <a:gd name="connsiteY9" fmla="*/ 485775 h 923925"/>
                  <a:gd name="connsiteX10" fmla="*/ 426244 w 450190"/>
                  <a:gd name="connsiteY10" fmla="*/ 533400 h 923925"/>
                  <a:gd name="connsiteX11" fmla="*/ 416719 w 450190"/>
                  <a:gd name="connsiteY11" fmla="*/ 600075 h 923925"/>
                  <a:gd name="connsiteX12" fmla="*/ 416719 w 450190"/>
                  <a:gd name="connsiteY12" fmla="*/ 630238 h 923925"/>
                  <a:gd name="connsiteX13" fmla="*/ 450057 w 450190"/>
                  <a:gd name="connsiteY13" fmla="*/ 704850 h 923925"/>
                  <a:gd name="connsiteX14" fmla="*/ 402432 w 450190"/>
                  <a:gd name="connsiteY14" fmla="*/ 923925 h 923925"/>
                  <a:gd name="connsiteX0" fmla="*/ 0 w 440665"/>
                  <a:gd name="connsiteY0" fmla="*/ 0 h 928688"/>
                  <a:gd name="connsiteX1" fmla="*/ 7144 w 440665"/>
                  <a:gd name="connsiteY1" fmla="*/ 28576 h 928688"/>
                  <a:gd name="connsiteX2" fmla="*/ 73819 w 440665"/>
                  <a:gd name="connsiteY2" fmla="*/ 85726 h 928688"/>
                  <a:gd name="connsiteX3" fmla="*/ 159544 w 440665"/>
                  <a:gd name="connsiteY3" fmla="*/ 109538 h 928688"/>
                  <a:gd name="connsiteX4" fmla="*/ 178594 w 440665"/>
                  <a:gd name="connsiteY4" fmla="*/ 180976 h 928688"/>
                  <a:gd name="connsiteX5" fmla="*/ 211932 w 440665"/>
                  <a:gd name="connsiteY5" fmla="*/ 233363 h 928688"/>
                  <a:gd name="connsiteX6" fmla="*/ 197644 w 440665"/>
                  <a:gd name="connsiteY6" fmla="*/ 290513 h 928688"/>
                  <a:gd name="connsiteX7" fmla="*/ 245269 w 440665"/>
                  <a:gd name="connsiteY7" fmla="*/ 347663 h 928688"/>
                  <a:gd name="connsiteX8" fmla="*/ 269082 w 440665"/>
                  <a:gd name="connsiteY8" fmla="*/ 438151 h 928688"/>
                  <a:gd name="connsiteX9" fmla="*/ 378619 w 440665"/>
                  <a:gd name="connsiteY9" fmla="*/ 490538 h 928688"/>
                  <a:gd name="connsiteX10" fmla="*/ 416719 w 440665"/>
                  <a:gd name="connsiteY10" fmla="*/ 538163 h 928688"/>
                  <a:gd name="connsiteX11" fmla="*/ 407194 w 440665"/>
                  <a:gd name="connsiteY11" fmla="*/ 604838 h 928688"/>
                  <a:gd name="connsiteX12" fmla="*/ 407194 w 440665"/>
                  <a:gd name="connsiteY12" fmla="*/ 635001 h 928688"/>
                  <a:gd name="connsiteX13" fmla="*/ 440532 w 440665"/>
                  <a:gd name="connsiteY13" fmla="*/ 709613 h 928688"/>
                  <a:gd name="connsiteX14" fmla="*/ 392907 w 440665"/>
                  <a:gd name="connsiteY14" fmla="*/ 928688 h 928688"/>
                  <a:gd name="connsiteX0" fmla="*/ 0 w 466859"/>
                  <a:gd name="connsiteY0" fmla="*/ 0 h 938213"/>
                  <a:gd name="connsiteX1" fmla="*/ 33338 w 466859"/>
                  <a:gd name="connsiteY1" fmla="*/ 38101 h 938213"/>
                  <a:gd name="connsiteX2" fmla="*/ 100013 w 466859"/>
                  <a:gd name="connsiteY2" fmla="*/ 95251 h 938213"/>
                  <a:gd name="connsiteX3" fmla="*/ 185738 w 466859"/>
                  <a:gd name="connsiteY3" fmla="*/ 119063 h 938213"/>
                  <a:gd name="connsiteX4" fmla="*/ 204788 w 466859"/>
                  <a:gd name="connsiteY4" fmla="*/ 190501 h 938213"/>
                  <a:gd name="connsiteX5" fmla="*/ 238126 w 466859"/>
                  <a:gd name="connsiteY5" fmla="*/ 242888 h 938213"/>
                  <a:gd name="connsiteX6" fmla="*/ 223838 w 466859"/>
                  <a:gd name="connsiteY6" fmla="*/ 300038 h 938213"/>
                  <a:gd name="connsiteX7" fmla="*/ 271463 w 466859"/>
                  <a:gd name="connsiteY7" fmla="*/ 357188 h 938213"/>
                  <a:gd name="connsiteX8" fmla="*/ 295276 w 466859"/>
                  <a:gd name="connsiteY8" fmla="*/ 447676 h 938213"/>
                  <a:gd name="connsiteX9" fmla="*/ 404813 w 466859"/>
                  <a:gd name="connsiteY9" fmla="*/ 500063 h 938213"/>
                  <a:gd name="connsiteX10" fmla="*/ 442913 w 466859"/>
                  <a:gd name="connsiteY10" fmla="*/ 547688 h 938213"/>
                  <a:gd name="connsiteX11" fmla="*/ 433388 w 466859"/>
                  <a:gd name="connsiteY11" fmla="*/ 614363 h 938213"/>
                  <a:gd name="connsiteX12" fmla="*/ 433388 w 466859"/>
                  <a:gd name="connsiteY12" fmla="*/ 644526 h 938213"/>
                  <a:gd name="connsiteX13" fmla="*/ 466726 w 466859"/>
                  <a:gd name="connsiteY13" fmla="*/ 719138 h 938213"/>
                  <a:gd name="connsiteX14" fmla="*/ 419101 w 466859"/>
                  <a:gd name="connsiteY14" fmla="*/ 938213 h 938213"/>
                  <a:gd name="connsiteX0" fmla="*/ 0 w 466859"/>
                  <a:gd name="connsiteY0" fmla="*/ 0 h 938213"/>
                  <a:gd name="connsiteX1" fmla="*/ 7144 w 466859"/>
                  <a:gd name="connsiteY1" fmla="*/ 40482 h 938213"/>
                  <a:gd name="connsiteX2" fmla="*/ 100013 w 466859"/>
                  <a:gd name="connsiteY2" fmla="*/ 95251 h 938213"/>
                  <a:gd name="connsiteX3" fmla="*/ 185738 w 466859"/>
                  <a:gd name="connsiteY3" fmla="*/ 119063 h 938213"/>
                  <a:gd name="connsiteX4" fmla="*/ 204788 w 466859"/>
                  <a:gd name="connsiteY4" fmla="*/ 190501 h 938213"/>
                  <a:gd name="connsiteX5" fmla="*/ 238126 w 466859"/>
                  <a:gd name="connsiteY5" fmla="*/ 242888 h 938213"/>
                  <a:gd name="connsiteX6" fmla="*/ 223838 w 466859"/>
                  <a:gd name="connsiteY6" fmla="*/ 300038 h 938213"/>
                  <a:gd name="connsiteX7" fmla="*/ 271463 w 466859"/>
                  <a:gd name="connsiteY7" fmla="*/ 357188 h 938213"/>
                  <a:gd name="connsiteX8" fmla="*/ 295276 w 466859"/>
                  <a:gd name="connsiteY8" fmla="*/ 447676 h 938213"/>
                  <a:gd name="connsiteX9" fmla="*/ 404813 w 466859"/>
                  <a:gd name="connsiteY9" fmla="*/ 500063 h 938213"/>
                  <a:gd name="connsiteX10" fmla="*/ 442913 w 466859"/>
                  <a:gd name="connsiteY10" fmla="*/ 547688 h 938213"/>
                  <a:gd name="connsiteX11" fmla="*/ 433388 w 466859"/>
                  <a:gd name="connsiteY11" fmla="*/ 614363 h 938213"/>
                  <a:gd name="connsiteX12" fmla="*/ 433388 w 466859"/>
                  <a:gd name="connsiteY12" fmla="*/ 644526 h 938213"/>
                  <a:gd name="connsiteX13" fmla="*/ 466726 w 466859"/>
                  <a:gd name="connsiteY13" fmla="*/ 719138 h 938213"/>
                  <a:gd name="connsiteX14" fmla="*/ 419101 w 466859"/>
                  <a:gd name="connsiteY14" fmla="*/ 938213 h 938213"/>
                  <a:gd name="connsiteX0" fmla="*/ 5898 w 463232"/>
                  <a:gd name="connsiteY0" fmla="*/ 0 h 952500"/>
                  <a:gd name="connsiteX1" fmla="*/ 3517 w 463232"/>
                  <a:gd name="connsiteY1" fmla="*/ 54769 h 952500"/>
                  <a:gd name="connsiteX2" fmla="*/ 96386 w 463232"/>
                  <a:gd name="connsiteY2" fmla="*/ 109538 h 952500"/>
                  <a:gd name="connsiteX3" fmla="*/ 182111 w 463232"/>
                  <a:gd name="connsiteY3" fmla="*/ 133350 h 952500"/>
                  <a:gd name="connsiteX4" fmla="*/ 201161 w 463232"/>
                  <a:gd name="connsiteY4" fmla="*/ 204788 h 952500"/>
                  <a:gd name="connsiteX5" fmla="*/ 234499 w 463232"/>
                  <a:gd name="connsiteY5" fmla="*/ 257175 h 952500"/>
                  <a:gd name="connsiteX6" fmla="*/ 220211 w 463232"/>
                  <a:gd name="connsiteY6" fmla="*/ 314325 h 952500"/>
                  <a:gd name="connsiteX7" fmla="*/ 267836 w 463232"/>
                  <a:gd name="connsiteY7" fmla="*/ 371475 h 952500"/>
                  <a:gd name="connsiteX8" fmla="*/ 291649 w 463232"/>
                  <a:gd name="connsiteY8" fmla="*/ 461963 h 952500"/>
                  <a:gd name="connsiteX9" fmla="*/ 401186 w 463232"/>
                  <a:gd name="connsiteY9" fmla="*/ 514350 h 952500"/>
                  <a:gd name="connsiteX10" fmla="*/ 439286 w 463232"/>
                  <a:gd name="connsiteY10" fmla="*/ 561975 h 952500"/>
                  <a:gd name="connsiteX11" fmla="*/ 429761 w 463232"/>
                  <a:gd name="connsiteY11" fmla="*/ 628650 h 952500"/>
                  <a:gd name="connsiteX12" fmla="*/ 429761 w 463232"/>
                  <a:gd name="connsiteY12" fmla="*/ 658813 h 952500"/>
                  <a:gd name="connsiteX13" fmla="*/ 463099 w 463232"/>
                  <a:gd name="connsiteY13" fmla="*/ 733425 h 952500"/>
                  <a:gd name="connsiteX14" fmla="*/ 415474 w 463232"/>
                  <a:gd name="connsiteY14" fmla="*/ 952500 h 952500"/>
                  <a:gd name="connsiteX0" fmla="*/ 0 w 457334"/>
                  <a:gd name="connsiteY0" fmla="*/ 0 h 952500"/>
                  <a:gd name="connsiteX1" fmla="*/ 11906 w 457334"/>
                  <a:gd name="connsiteY1" fmla="*/ 52388 h 952500"/>
                  <a:gd name="connsiteX2" fmla="*/ 90488 w 457334"/>
                  <a:gd name="connsiteY2" fmla="*/ 109538 h 952500"/>
                  <a:gd name="connsiteX3" fmla="*/ 176213 w 457334"/>
                  <a:gd name="connsiteY3" fmla="*/ 133350 h 952500"/>
                  <a:gd name="connsiteX4" fmla="*/ 195263 w 457334"/>
                  <a:gd name="connsiteY4" fmla="*/ 204788 h 952500"/>
                  <a:gd name="connsiteX5" fmla="*/ 228601 w 457334"/>
                  <a:gd name="connsiteY5" fmla="*/ 257175 h 952500"/>
                  <a:gd name="connsiteX6" fmla="*/ 214313 w 457334"/>
                  <a:gd name="connsiteY6" fmla="*/ 314325 h 952500"/>
                  <a:gd name="connsiteX7" fmla="*/ 261938 w 457334"/>
                  <a:gd name="connsiteY7" fmla="*/ 371475 h 952500"/>
                  <a:gd name="connsiteX8" fmla="*/ 285751 w 457334"/>
                  <a:gd name="connsiteY8" fmla="*/ 461963 h 952500"/>
                  <a:gd name="connsiteX9" fmla="*/ 395288 w 457334"/>
                  <a:gd name="connsiteY9" fmla="*/ 514350 h 952500"/>
                  <a:gd name="connsiteX10" fmla="*/ 433388 w 457334"/>
                  <a:gd name="connsiteY10" fmla="*/ 561975 h 952500"/>
                  <a:gd name="connsiteX11" fmla="*/ 423863 w 457334"/>
                  <a:gd name="connsiteY11" fmla="*/ 628650 h 952500"/>
                  <a:gd name="connsiteX12" fmla="*/ 423863 w 457334"/>
                  <a:gd name="connsiteY12" fmla="*/ 658813 h 952500"/>
                  <a:gd name="connsiteX13" fmla="*/ 457201 w 457334"/>
                  <a:gd name="connsiteY13" fmla="*/ 733425 h 952500"/>
                  <a:gd name="connsiteX14" fmla="*/ 409576 w 457334"/>
                  <a:gd name="connsiteY14" fmla="*/ 952500 h 952500"/>
                  <a:gd name="connsiteX0" fmla="*/ 0 w 457334"/>
                  <a:gd name="connsiteY0" fmla="*/ 0 h 952500"/>
                  <a:gd name="connsiteX1" fmla="*/ 30956 w 457334"/>
                  <a:gd name="connsiteY1" fmla="*/ 54769 h 952500"/>
                  <a:gd name="connsiteX2" fmla="*/ 90488 w 457334"/>
                  <a:gd name="connsiteY2" fmla="*/ 109538 h 952500"/>
                  <a:gd name="connsiteX3" fmla="*/ 176213 w 457334"/>
                  <a:gd name="connsiteY3" fmla="*/ 133350 h 952500"/>
                  <a:gd name="connsiteX4" fmla="*/ 195263 w 457334"/>
                  <a:gd name="connsiteY4" fmla="*/ 204788 h 952500"/>
                  <a:gd name="connsiteX5" fmla="*/ 228601 w 457334"/>
                  <a:gd name="connsiteY5" fmla="*/ 257175 h 952500"/>
                  <a:gd name="connsiteX6" fmla="*/ 214313 w 457334"/>
                  <a:gd name="connsiteY6" fmla="*/ 314325 h 952500"/>
                  <a:gd name="connsiteX7" fmla="*/ 261938 w 457334"/>
                  <a:gd name="connsiteY7" fmla="*/ 371475 h 952500"/>
                  <a:gd name="connsiteX8" fmla="*/ 285751 w 457334"/>
                  <a:gd name="connsiteY8" fmla="*/ 461963 h 952500"/>
                  <a:gd name="connsiteX9" fmla="*/ 395288 w 457334"/>
                  <a:gd name="connsiteY9" fmla="*/ 514350 h 952500"/>
                  <a:gd name="connsiteX10" fmla="*/ 433388 w 457334"/>
                  <a:gd name="connsiteY10" fmla="*/ 561975 h 952500"/>
                  <a:gd name="connsiteX11" fmla="*/ 423863 w 457334"/>
                  <a:gd name="connsiteY11" fmla="*/ 628650 h 952500"/>
                  <a:gd name="connsiteX12" fmla="*/ 423863 w 457334"/>
                  <a:gd name="connsiteY12" fmla="*/ 658813 h 952500"/>
                  <a:gd name="connsiteX13" fmla="*/ 457201 w 457334"/>
                  <a:gd name="connsiteY13" fmla="*/ 733425 h 952500"/>
                  <a:gd name="connsiteX14" fmla="*/ 409576 w 457334"/>
                  <a:gd name="connsiteY14" fmla="*/ 952500 h 95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57334" h="952500">
                    <a:moveTo>
                      <a:pt x="0" y="0"/>
                    </a:moveTo>
                    <a:cubicBezTo>
                      <a:pt x="22225" y="26987"/>
                      <a:pt x="15875" y="36513"/>
                      <a:pt x="30956" y="54769"/>
                    </a:cubicBezTo>
                    <a:cubicBezTo>
                      <a:pt x="46037" y="73025"/>
                      <a:pt x="66279" y="96441"/>
                      <a:pt x="90488" y="109538"/>
                    </a:cubicBezTo>
                    <a:cubicBezTo>
                      <a:pt x="114697" y="122635"/>
                      <a:pt x="158751" y="117475"/>
                      <a:pt x="176213" y="133350"/>
                    </a:cubicBezTo>
                    <a:cubicBezTo>
                      <a:pt x="193675" y="149225"/>
                      <a:pt x="186532" y="184150"/>
                      <a:pt x="195263" y="204788"/>
                    </a:cubicBezTo>
                    <a:cubicBezTo>
                      <a:pt x="203994" y="225426"/>
                      <a:pt x="225426" y="238919"/>
                      <a:pt x="228601" y="257175"/>
                    </a:cubicBezTo>
                    <a:cubicBezTo>
                      <a:pt x="231776" y="275431"/>
                      <a:pt x="208757" y="295275"/>
                      <a:pt x="214313" y="314325"/>
                    </a:cubicBezTo>
                    <a:cubicBezTo>
                      <a:pt x="219869" y="333375"/>
                      <a:pt x="250032" y="346869"/>
                      <a:pt x="261938" y="371475"/>
                    </a:cubicBezTo>
                    <a:cubicBezTo>
                      <a:pt x="273844" y="396081"/>
                      <a:pt x="263526" y="438151"/>
                      <a:pt x="285751" y="461963"/>
                    </a:cubicBezTo>
                    <a:cubicBezTo>
                      <a:pt x="307976" y="485775"/>
                      <a:pt x="370682" y="497681"/>
                      <a:pt x="395288" y="514350"/>
                    </a:cubicBezTo>
                    <a:cubicBezTo>
                      <a:pt x="419894" y="531019"/>
                      <a:pt x="428626" y="542925"/>
                      <a:pt x="433388" y="561975"/>
                    </a:cubicBezTo>
                    <a:cubicBezTo>
                      <a:pt x="438150" y="581025"/>
                      <a:pt x="425451" y="612510"/>
                      <a:pt x="423863" y="628650"/>
                    </a:cubicBezTo>
                    <a:cubicBezTo>
                      <a:pt x="422276" y="644790"/>
                      <a:pt x="418307" y="641351"/>
                      <a:pt x="423863" y="658813"/>
                    </a:cubicBezTo>
                    <a:cubicBezTo>
                      <a:pt x="429419" y="676275"/>
                      <a:pt x="459582" y="684477"/>
                      <a:pt x="457201" y="733425"/>
                    </a:cubicBezTo>
                    <a:cubicBezTo>
                      <a:pt x="454820" y="782373"/>
                      <a:pt x="410370" y="865188"/>
                      <a:pt x="409576" y="95250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4" name="Москва-Н.Новгород-Казань"/>
              <p:cNvSpPr/>
              <p:nvPr/>
            </p:nvSpPr>
            <p:spPr>
              <a:xfrm>
                <a:off x="1888578" y="3934276"/>
                <a:ext cx="573162" cy="432704"/>
              </a:xfrm>
              <a:custGeom>
                <a:avLst/>
                <a:gdLst>
                  <a:gd name="connsiteX0" fmla="*/ 0 w 254926"/>
                  <a:gd name="connsiteY0" fmla="*/ 0 h 204097"/>
                  <a:gd name="connsiteX1" fmla="*/ 50800 w 254926"/>
                  <a:gd name="connsiteY1" fmla="*/ 12700 h 204097"/>
                  <a:gd name="connsiteX2" fmla="*/ 111125 w 254926"/>
                  <a:gd name="connsiteY2" fmla="*/ 66675 h 204097"/>
                  <a:gd name="connsiteX3" fmla="*/ 161925 w 254926"/>
                  <a:gd name="connsiteY3" fmla="*/ 133350 h 204097"/>
                  <a:gd name="connsiteX4" fmla="*/ 247650 w 254926"/>
                  <a:gd name="connsiteY4" fmla="*/ 196850 h 204097"/>
                  <a:gd name="connsiteX5" fmla="*/ 244475 w 254926"/>
                  <a:gd name="connsiteY5" fmla="*/ 200025 h 204097"/>
                  <a:gd name="connsiteX0" fmla="*/ 0 w 318971"/>
                  <a:gd name="connsiteY0" fmla="*/ 0 h 204097"/>
                  <a:gd name="connsiteX1" fmla="*/ 114845 w 318971"/>
                  <a:gd name="connsiteY1" fmla="*/ 12700 h 204097"/>
                  <a:gd name="connsiteX2" fmla="*/ 175170 w 318971"/>
                  <a:gd name="connsiteY2" fmla="*/ 66675 h 204097"/>
                  <a:gd name="connsiteX3" fmla="*/ 225970 w 318971"/>
                  <a:gd name="connsiteY3" fmla="*/ 133350 h 204097"/>
                  <a:gd name="connsiteX4" fmla="*/ 311695 w 318971"/>
                  <a:gd name="connsiteY4" fmla="*/ 196850 h 204097"/>
                  <a:gd name="connsiteX5" fmla="*/ 308520 w 318971"/>
                  <a:gd name="connsiteY5" fmla="*/ 200025 h 204097"/>
                  <a:gd name="connsiteX0" fmla="*/ 0 w 318971"/>
                  <a:gd name="connsiteY0" fmla="*/ 0 h 200472"/>
                  <a:gd name="connsiteX1" fmla="*/ 114845 w 318971"/>
                  <a:gd name="connsiteY1" fmla="*/ 9075 h 200472"/>
                  <a:gd name="connsiteX2" fmla="*/ 175170 w 318971"/>
                  <a:gd name="connsiteY2" fmla="*/ 63050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84635 w 318971"/>
                  <a:gd name="connsiteY1" fmla="*/ 23576 h 200472"/>
                  <a:gd name="connsiteX2" fmla="*/ 175170 w 318971"/>
                  <a:gd name="connsiteY2" fmla="*/ 63050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84635 w 318971"/>
                  <a:gd name="connsiteY1" fmla="*/ 23576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7384 w 318971"/>
                  <a:gd name="connsiteY1" fmla="*/ 23576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7384 w 318971"/>
                  <a:gd name="connsiteY1" fmla="*/ 23576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3759 w 318971"/>
                  <a:gd name="connsiteY1" fmla="*/ 28409 h 200472"/>
                  <a:gd name="connsiteX2" fmla="*/ 117167 w 318971"/>
                  <a:gd name="connsiteY2" fmla="*/ 82384 h 200472"/>
                  <a:gd name="connsiteX3" fmla="*/ 225970 w 318971"/>
                  <a:gd name="connsiteY3" fmla="*/ 129725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8971"/>
                  <a:gd name="connsiteY0" fmla="*/ 0 h 200472"/>
                  <a:gd name="connsiteX1" fmla="*/ 73759 w 318971"/>
                  <a:gd name="connsiteY1" fmla="*/ 28409 h 200472"/>
                  <a:gd name="connsiteX2" fmla="*/ 117167 w 318971"/>
                  <a:gd name="connsiteY2" fmla="*/ 82384 h 200472"/>
                  <a:gd name="connsiteX3" fmla="*/ 209052 w 318971"/>
                  <a:gd name="connsiteY3" fmla="*/ 139392 h 200472"/>
                  <a:gd name="connsiteX4" fmla="*/ 311695 w 318971"/>
                  <a:gd name="connsiteY4" fmla="*/ 193225 h 200472"/>
                  <a:gd name="connsiteX5" fmla="*/ 308520 w 318971"/>
                  <a:gd name="connsiteY5" fmla="*/ 196400 h 200472"/>
                  <a:gd name="connsiteX0" fmla="*/ 0 w 317929"/>
                  <a:gd name="connsiteY0" fmla="*/ 0 h 225824"/>
                  <a:gd name="connsiteX1" fmla="*/ 73759 w 317929"/>
                  <a:gd name="connsiteY1" fmla="*/ 28409 h 225824"/>
                  <a:gd name="connsiteX2" fmla="*/ 117167 w 317929"/>
                  <a:gd name="connsiteY2" fmla="*/ 82384 h 225824"/>
                  <a:gd name="connsiteX3" fmla="*/ 209052 w 317929"/>
                  <a:gd name="connsiteY3" fmla="*/ 139392 h 225824"/>
                  <a:gd name="connsiteX4" fmla="*/ 311695 w 317929"/>
                  <a:gd name="connsiteY4" fmla="*/ 193225 h 225824"/>
                  <a:gd name="connsiteX5" fmla="*/ 304895 w 317929"/>
                  <a:gd name="connsiteY5" fmla="*/ 225402 h 225824"/>
                  <a:gd name="connsiteX0" fmla="*/ 0 w 307063"/>
                  <a:gd name="connsiteY0" fmla="*/ 0 h 225749"/>
                  <a:gd name="connsiteX1" fmla="*/ 73759 w 307063"/>
                  <a:gd name="connsiteY1" fmla="*/ 28409 h 225749"/>
                  <a:gd name="connsiteX2" fmla="*/ 117167 w 307063"/>
                  <a:gd name="connsiteY2" fmla="*/ 82384 h 225749"/>
                  <a:gd name="connsiteX3" fmla="*/ 209052 w 307063"/>
                  <a:gd name="connsiteY3" fmla="*/ 139392 h 225749"/>
                  <a:gd name="connsiteX4" fmla="*/ 281485 w 307063"/>
                  <a:gd name="connsiteY4" fmla="*/ 187183 h 225749"/>
                  <a:gd name="connsiteX5" fmla="*/ 304895 w 307063"/>
                  <a:gd name="connsiteY5" fmla="*/ 225402 h 225749"/>
                  <a:gd name="connsiteX0" fmla="*/ 0 w 304868"/>
                  <a:gd name="connsiteY0" fmla="*/ 0 h 232938"/>
                  <a:gd name="connsiteX1" fmla="*/ 73759 w 304868"/>
                  <a:gd name="connsiteY1" fmla="*/ 28409 h 232938"/>
                  <a:gd name="connsiteX2" fmla="*/ 117167 w 304868"/>
                  <a:gd name="connsiteY2" fmla="*/ 82384 h 232938"/>
                  <a:gd name="connsiteX3" fmla="*/ 209052 w 304868"/>
                  <a:gd name="connsiteY3" fmla="*/ 139392 h 232938"/>
                  <a:gd name="connsiteX4" fmla="*/ 281485 w 304868"/>
                  <a:gd name="connsiteY4" fmla="*/ 187183 h 232938"/>
                  <a:gd name="connsiteX5" fmla="*/ 302479 w 304868"/>
                  <a:gd name="connsiteY5" fmla="*/ 232652 h 232938"/>
                  <a:gd name="connsiteX0" fmla="*/ 0 w 304235"/>
                  <a:gd name="connsiteY0" fmla="*/ 0 h 232966"/>
                  <a:gd name="connsiteX1" fmla="*/ 73759 w 304235"/>
                  <a:gd name="connsiteY1" fmla="*/ 28409 h 232966"/>
                  <a:gd name="connsiteX2" fmla="*/ 117167 w 304235"/>
                  <a:gd name="connsiteY2" fmla="*/ 82384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17167 w 304235"/>
                  <a:gd name="connsiteY2" fmla="*/ 82384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13542 w 304235"/>
                  <a:gd name="connsiteY2" fmla="*/ 88426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06292 w 304235"/>
                  <a:gd name="connsiteY2" fmla="*/ 88426 h 232966"/>
                  <a:gd name="connsiteX3" fmla="*/ 209052 w 304235"/>
                  <a:gd name="connsiteY3" fmla="*/ 139392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70134 w 304235"/>
                  <a:gd name="connsiteY1" fmla="*/ 35659 h 232966"/>
                  <a:gd name="connsiteX2" fmla="*/ 106292 w 304235"/>
                  <a:gd name="connsiteY2" fmla="*/ 88426 h 232966"/>
                  <a:gd name="connsiteX3" fmla="*/ 194551 w 304235"/>
                  <a:gd name="connsiteY3" fmla="*/ 152685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59259 w 304235"/>
                  <a:gd name="connsiteY1" fmla="*/ 23575 h 232966"/>
                  <a:gd name="connsiteX2" fmla="*/ 106292 w 304235"/>
                  <a:gd name="connsiteY2" fmla="*/ 88426 h 232966"/>
                  <a:gd name="connsiteX3" fmla="*/ 194551 w 304235"/>
                  <a:gd name="connsiteY3" fmla="*/ 152685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304235"/>
                  <a:gd name="connsiteY0" fmla="*/ 0 h 232966"/>
                  <a:gd name="connsiteX1" fmla="*/ 59259 w 304235"/>
                  <a:gd name="connsiteY1" fmla="*/ 23575 h 232966"/>
                  <a:gd name="connsiteX2" fmla="*/ 99041 w 304235"/>
                  <a:gd name="connsiteY2" fmla="*/ 92051 h 232966"/>
                  <a:gd name="connsiteX3" fmla="*/ 194551 w 304235"/>
                  <a:gd name="connsiteY3" fmla="*/ 152685 h 232966"/>
                  <a:gd name="connsiteX4" fmla="*/ 273026 w 304235"/>
                  <a:gd name="connsiteY4" fmla="*/ 190808 h 232966"/>
                  <a:gd name="connsiteX5" fmla="*/ 302479 w 304235"/>
                  <a:gd name="connsiteY5" fmla="*/ 232652 h 232966"/>
                  <a:gd name="connsiteX0" fmla="*/ 0 w 579203"/>
                  <a:gd name="connsiteY0" fmla="*/ 0 h 440497"/>
                  <a:gd name="connsiteX1" fmla="*/ 59259 w 579203"/>
                  <a:gd name="connsiteY1" fmla="*/ 23575 h 440497"/>
                  <a:gd name="connsiteX2" fmla="*/ 99041 w 579203"/>
                  <a:gd name="connsiteY2" fmla="*/ 92051 h 440497"/>
                  <a:gd name="connsiteX3" fmla="*/ 194551 w 579203"/>
                  <a:gd name="connsiteY3" fmla="*/ 152685 h 440497"/>
                  <a:gd name="connsiteX4" fmla="*/ 273026 w 579203"/>
                  <a:gd name="connsiteY4" fmla="*/ 190808 h 440497"/>
                  <a:gd name="connsiteX5" fmla="*/ 579203 w 579203"/>
                  <a:gd name="connsiteY5" fmla="*/ 440497 h 440497"/>
                  <a:gd name="connsiteX0" fmla="*/ 0 w 579203"/>
                  <a:gd name="connsiteY0" fmla="*/ 0 h 442082"/>
                  <a:gd name="connsiteX1" fmla="*/ 59259 w 579203"/>
                  <a:gd name="connsiteY1" fmla="*/ 23575 h 442082"/>
                  <a:gd name="connsiteX2" fmla="*/ 99041 w 579203"/>
                  <a:gd name="connsiteY2" fmla="*/ 92051 h 442082"/>
                  <a:gd name="connsiteX3" fmla="*/ 194551 w 579203"/>
                  <a:gd name="connsiteY3" fmla="*/ 152685 h 442082"/>
                  <a:gd name="connsiteX4" fmla="*/ 273026 w 579203"/>
                  <a:gd name="connsiteY4" fmla="*/ 190808 h 442082"/>
                  <a:gd name="connsiteX5" fmla="*/ 579203 w 579203"/>
                  <a:gd name="connsiteY5" fmla="*/ 440497 h 442082"/>
                  <a:gd name="connsiteX0" fmla="*/ 0 w 579203"/>
                  <a:gd name="connsiteY0" fmla="*/ 0 h 442082"/>
                  <a:gd name="connsiteX1" fmla="*/ 59259 w 579203"/>
                  <a:gd name="connsiteY1" fmla="*/ 23575 h 442082"/>
                  <a:gd name="connsiteX2" fmla="*/ 99041 w 579203"/>
                  <a:gd name="connsiteY2" fmla="*/ 92051 h 442082"/>
                  <a:gd name="connsiteX3" fmla="*/ 294848 w 579203"/>
                  <a:gd name="connsiteY3" fmla="*/ 245732 h 442082"/>
                  <a:gd name="connsiteX4" fmla="*/ 273026 w 579203"/>
                  <a:gd name="connsiteY4" fmla="*/ 190808 h 442082"/>
                  <a:gd name="connsiteX5" fmla="*/ 579203 w 579203"/>
                  <a:gd name="connsiteY5" fmla="*/ 440497 h 442082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99041 w 579203"/>
                  <a:gd name="connsiteY2" fmla="*/ 92051 h 446436"/>
                  <a:gd name="connsiteX3" fmla="*/ 294848 w 579203"/>
                  <a:gd name="connsiteY3" fmla="*/ 245732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99041 w 579203"/>
                  <a:gd name="connsiteY2" fmla="*/ 92051 h 446436"/>
                  <a:gd name="connsiteX3" fmla="*/ 210260 w 579203"/>
                  <a:gd name="connsiteY3" fmla="*/ 169603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210260 w 579203"/>
                  <a:gd name="connsiteY3" fmla="*/ 169603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415617 w 579203"/>
                  <a:gd name="connsiteY4" fmla="*/ 344275 h 446436"/>
                  <a:gd name="connsiteX5" fmla="*/ 579203 w 579203"/>
                  <a:gd name="connsiteY5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262741 w 579203"/>
                  <a:gd name="connsiteY4" fmla="*/ 227401 h 446436"/>
                  <a:gd name="connsiteX5" fmla="*/ 415617 w 579203"/>
                  <a:gd name="connsiteY5" fmla="*/ 344275 h 446436"/>
                  <a:gd name="connsiteX6" fmla="*/ 579203 w 579203"/>
                  <a:gd name="connsiteY6" fmla="*/ 440497 h 446436"/>
                  <a:gd name="connsiteX0" fmla="*/ 0 w 579203"/>
                  <a:gd name="connsiteY0" fmla="*/ 0 h 446436"/>
                  <a:gd name="connsiteX1" fmla="*/ 59259 w 579203"/>
                  <a:gd name="connsiteY1" fmla="*/ 23575 h 446436"/>
                  <a:gd name="connsiteX2" fmla="*/ 109916 w 579203"/>
                  <a:gd name="connsiteY2" fmla="*/ 81176 h 446436"/>
                  <a:gd name="connsiteX3" fmla="*/ 178841 w 579203"/>
                  <a:gd name="connsiteY3" fmla="*/ 165978 h 446436"/>
                  <a:gd name="connsiteX4" fmla="*/ 291743 w 579203"/>
                  <a:gd name="connsiteY4" fmla="*/ 231026 h 446436"/>
                  <a:gd name="connsiteX5" fmla="*/ 415617 w 579203"/>
                  <a:gd name="connsiteY5" fmla="*/ 344275 h 446436"/>
                  <a:gd name="connsiteX6" fmla="*/ 579203 w 579203"/>
                  <a:gd name="connsiteY6" fmla="*/ 440497 h 446436"/>
                  <a:gd name="connsiteX0" fmla="*/ 0 w 579203"/>
                  <a:gd name="connsiteY0" fmla="*/ 0 h 445617"/>
                  <a:gd name="connsiteX1" fmla="*/ 59259 w 579203"/>
                  <a:gd name="connsiteY1" fmla="*/ 23575 h 445617"/>
                  <a:gd name="connsiteX2" fmla="*/ 109916 w 579203"/>
                  <a:gd name="connsiteY2" fmla="*/ 81176 h 445617"/>
                  <a:gd name="connsiteX3" fmla="*/ 178841 w 579203"/>
                  <a:gd name="connsiteY3" fmla="*/ 165978 h 445617"/>
                  <a:gd name="connsiteX4" fmla="*/ 291743 w 579203"/>
                  <a:gd name="connsiteY4" fmla="*/ 231026 h 445617"/>
                  <a:gd name="connsiteX5" fmla="*/ 379365 w 579203"/>
                  <a:gd name="connsiteY5" fmla="*/ 334608 h 445617"/>
                  <a:gd name="connsiteX6" fmla="*/ 579203 w 579203"/>
                  <a:gd name="connsiteY6" fmla="*/ 440497 h 445617"/>
                  <a:gd name="connsiteX0" fmla="*/ 0 w 579203"/>
                  <a:gd name="connsiteY0" fmla="*/ 0 h 445617"/>
                  <a:gd name="connsiteX1" fmla="*/ 59259 w 579203"/>
                  <a:gd name="connsiteY1" fmla="*/ 23575 h 445617"/>
                  <a:gd name="connsiteX2" fmla="*/ 109916 w 579203"/>
                  <a:gd name="connsiteY2" fmla="*/ 81176 h 445617"/>
                  <a:gd name="connsiteX3" fmla="*/ 178841 w 579203"/>
                  <a:gd name="connsiteY3" fmla="*/ 165978 h 445617"/>
                  <a:gd name="connsiteX4" fmla="*/ 291743 w 579203"/>
                  <a:gd name="connsiteY4" fmla="*/ 231026 h 445617"/>
                  <a:gd name="connsiteX5" fmla="*/ 379365 w 579203"/>
                  <a:gd name="connsiteY5" fmla="*/ 334608 h 445617"/>
                  <a:gd name="connsiteX6" fmla="*/ 579203 w 579203"/>
                  <a:gd name="connsiteY6" fmla="*/ 440497 h 445617"/>
                  <a:gd name="connsiteX0" fmla="*/ 0 w 579203"/>
                  <a:gd name="connsiteY0" fmla="*/ 0 h 443291"/>
                  <a:gd name="connsiteX1" fmla="*/ 59259 w 579203"/>
                  <a:gd name="connsiteY1" fmla="*/ 23575 h 443291"/>
                  <a:gd name="connsiteX2" fmla="*/ 109916 w 579203"/>
                  <a:gd name="connsiteY2" fmla="*/ 81176 h 443291"/>
                  <a:gd name="connsiteX3" fmla="*/ 178841 w 579203"/>
                  <a:gd name="connsiteY3" fmla="*/ 165978 h 443291"/>
                  <a:gd name="connsiteX4" fmla="*/ 291743 w 579203"/>
                  <a:gd name="connsiteY4" fmla="*/ 231026 h 443291"/>
                  <a:gd name="connsiteX5" fmla="*/ 379365 w 579203"/>
                  <a:gd name="connsiteY5" fmla="*/ 334608 h 443291"/>
                  <a:gd name="connsiteX6" fmla="*/ 579203 w 579203"/>
                  <a:gd name="connsiteY6" fmla="*/ 440497 h 443291"/>
                  <a:gd name="connsiteX0" fmla="*/ 0 w 547785"/>
                  <a:gd name="connsiteY0" fmla="*/ 0 h 431531"/>
                  <a:gd name="connsiteX1" fmla="*/ 59259 w 547785"/>
                  <a:gd name="connsiteY1" fmla="*/ 23575 h 431531"/>
                  <a:gd name="connsiteX2" fmla="*/ 109916 w 547785"/>
                  <a:gd name="connsiteY2" fmla="*/ 81176 h 431531"/>
                  <a:gd name="connsiteX3" fmla="*/ 178841 w 547785"/>
                  <a:gd name="connsiteY3" fmla="*/ 165978 h 431531"/>
                  <a:gd name="connsiteX4" fmla="*/ 291743 w 547785"/>
                  <a:gd name="connsiteY4" fmla="*/ 231026 h 431531"/>
                  <a:gd name="connsiteX5" fmla="*/ 379365 w 547785"/>
                  <a:gd name="connsiteY5" fmla="*/ 334608 h 431531"/>
                  <a:gd name="connsiteX6" fmla="*/ 547785 w 547785"/>
                  <a:gd name="connsiteY6" fmla="*/ 428413 h 431531"/>
                  <a:gd name="connsiteX0" fmla="*/ 0 w 573162"/>
                  <a:gd name="connsiteY0" fmla="*/ 0 h 432704"/>
                  <a:gd name="connsiteX1" fmla="*/ 59259 w 573162"/>
                  <a:gd name="connsiteY1" fmla="*/ 23575 h 432704"/>
                  <a:gd name="connsiteX2" fmla="*/ 109916 w 573162"/>
                  <a:gd name="connsiteY2" fmla="*/ 81176 h 432704"/>
                  <a:gd name="connsiteX3" fmla="*/ 178841 w 573162"/>
                  <a:gd name="connsiteY3" fmla="*/ 165978 h 432704"/>
                  <a:gd name="connsiteX4" fmla="*/ 291743 w 573162"/>
                  <a:gd name="connsiteY4" fmla="*/ 231026 h 432704"/>
                  <a:gd name="connsiteX5" fmla="*/ 379365 w 573162"/>
                  <a:gd name="connsiteY5" fmla="*/ 334608 h 432704"/>
                  <a:gd name="connsiteX6" fmla="*/ 573162 w 573162"/>
                  <a:gd name="connsiteY6" fmla="*/ 429621 h 432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3162" h="432704">
                    <a:moveTo>
                      <a:pt x="0" y="0"/>
                    </a:moveTo>
                    <a:cubicBezTo>
                      <a:pt x="16139" y="794"/>
                      <a:pt x="40940" y="10046"/>
                      <a:pt x="59259" y="23575"/>
                    </a:cubicBezTo>
                    <a:cubicBezTo>
                      <a:pt x="77578" y="37104"/>
                      <a:pt x="89986" y="57442"/>
                      <a:pt x="109916" y="81176"/>
                    </a:cubicBezTo>
                    <a:cubicBezTo>
                      <a:pt x="129846" y="104910"/>
                      <a:pt x="148537" y="141003"/>
                      <a:pt x="178841" y="165978"/>
                    </a:cubicBezTo>
                    <a:cubicBezTo>
                      <a:pt x="209146" y="190953"/>
                      <a:pt x="252280" y="201310"/>
                      <a:pt x="291743" y="231026"/>
                    </a:cubicBezTo>
                    <a:cubicBezTo>
                      <a:pt x="331206" y="260742"/>
                      <a:pt x="344747" y="307551"/>
                      <a:pt x="379365" y="334608"/>
                    </a:cubicBezTo>
                    <a:cubicBezTo>
                      <a:pt x="402878" y="361043"/>
                      <a:pt x="566566" y="450313"/>
                      <a:pt x="573162" y="429621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5" name="Воронеж-Белгород"/>
              <p:cNvSpPr/>
              <p:nvPr/>
            </p:nvSpPr>
            <p:spPr>
              <a:xfrm>
                <a:off x="1466850" y="4305300"/>
                <a:ext cx="136217" cy="73926"/>
              </a:xfrm>
              <a:custGeom>
                <a:avLst/>
                <a:gdLst>
                  <a:gd name="connsiteX0" fmla="*/ 130175 w 130175"/>
                  <a:gd name="connsiteY0" fmla="*/ 66675 h 66675"/>
                  <a:gd name="connsiteX1" fmla="*/ 60325 w 130175"/>
                  <a:gd name="connsiteY1" fmla="*/ 25400 h 66675"/>
                  <a:gd name="connsiteX2" fmla="*/ 0 w 130175"/>
                  <a:gd name="connsiteY2" fmla="*/ 0 h 66675"/>
                  <a:gd name="connsiteX0" fmla="*/ 136217 w 136217"/>
                  <a:gd name="connsiteY0" fmla="*/ 73926 h 73926"/>
                  <a:gd name="connsiteX1" fmla="*/ 60325 w 136217"/>
                  <a:gd name="connsiteY1" fmla="*/ 25400 h 73926"/>
                  <a:gd name="connsiteX2" fmla="*/ 0 w 136217"/>
                  <a:gd name="connsiteY2" fmla="*/ 0 h 73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6217" h="73926">
                    <a:moveTo>
                      <a:pt x="136217" y="73926"/>
                    </a:moveTo>
                    <a:cubicBezTo>
                      <a:pt x="112140" y="58844"/>
                      <a:pt x="82021" y="36512"/>
                      <a:pt x="60325" y="25400"/>
                    </a:cubicBezTo>
                    <a:cubicBezTo>
                      <a:pt x="38629" y="14288"/>
                      <a:pt x="19314" y="7144"/>
                      <a:pt x="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6" name="Волгоград-Астрахань"/>
              <p:cNvSpPr/>
              <p:nvPr/>
            </p:nvSpPr>
            <p:spPr>
              <a:xfrm>
                <a:off x="1730375" y="4908549"/>
                <a:ext cx="53667" cy="304942"/>
              </a:xfrm>
              <a:custGeom>
                <a:avLst/>
                <a:gdLst>
                  <a:gd name="connsiteX0" fmla="*/ 0 w 57150"/>
                  <a:gd name="connsiteY0" fmla="*/ 0 h 285750"/>
                  <a:gd name="connsiteX1" fmla="*/ 31750 w 57150"/>
                  <a:gd name="connsiteY1" fmla="*/ 66675 h 285750"/>
                  <a:gd name="connsiteX2" fmla="*/ 31750 w 57150"/>
                  <a:gd name="connsiteY2" fmla="*/ 152400 h 285750"/>
                  <a:gd name="connsiteX3" fmla="*/ 28575 w 57150"/>
                  <a:gd name="connsiteY3" fmla="*/ 203200 h 285750"/>
                  <a:gd name="connsiteX4" fmla="*/ 57150 w 57150"/>
                  <a:gd name="connsiteY4" fmla="*/ 285750 h 285750"/>
                  <a:gd name="connsiteX0" fmla="*/ 0 w 47625"/>
                  <a:gd name="connsiteY0" fmla="*/ 0 h 295275"/>
                  <a:gd name="connsiteX1" fmla="*/ 22225 w 47625"/>
                  <a:gd name="connsiteY1" fmla="*/ 76200 h 295275"/>
                  <a:gd name="connsiteX2" fmla="*/ 22225 w 47625"/>
                  <a:gd name="connsiteY2" fmla="*/ 161925 h 295275"/>
                  <a:gd name="connsiteX3" fmla="*/ 19050 w 47625"/>
                  <a:gd name="connsiteY3" fmla="*/ 212725 h 295275"/>
                  <a:gd name="connsiteX4" fmla="*/ 47625 w 47625"/>
                  <a:gd name="connsiteY4" fmla="*/ 295275 h 295275"/>
                  <a:gd name="connsiteX0" fmla="*/ 0 w 53667"/>
                  <a:gd name="connsiteY0" fmla="*/ 0 h 304942"/>
                  <a:gd name="connsiteX1" fmla="*/ 22225 w 53667"/>
                  <a:gd name="connsiteY1" fmla="*/ 76200 h 304942"/>
                  <a:gd name="connsiteX2" fmla="*/ 22225 w 53667"/>
                  <a:gd name="connsiteY2" fmla="*/ 161925 h 304942"/>
                  <a:gd name="connsiteX3" fmla="*/ 19050 w 53667"/>
                  <a:gd name="connsiteY3" fmla="*/ 212725 h 304942"/>
                  <a:gd name="connsiteX4" fmla="*/ 53667 w 53667"/>
                  <a:gd name="connsiteY4" fmla="*/ 304942 h 304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667" h="304942">
                    <a:moveTo>
                      <a:pt x="0" y="0"/>
                    </a:moveTo>
                    <a:cubicBezTo>
                      <a:pt x="13229" y="20637"/>
                      <a:pt x="18521" y="49213"/>
                      <a:pt x="22225" y="76200"/>
                    </a:cubicBezTo>
                    <a:cubicBezTo>
                      <a:pt x="25929" y="103187"/>
                      <a:pt x="22754" y="139171"/>
                      <a:pt x="22225" y="161925"/>
                    </a:cubicBezTo>
                    <a:cubicBezTo>
                      <a:pt x="21696" y="184679"/>
                      <a:pt x="14817" y="190500"/>
                      <a:pt x="19050" y="212725"/>
                    </a:cubicBezTo>
                    <a:cubicBezTo>
                      <a:pt x="23283" y="234950"/>
                      <a:pt x="41496" y="274779"/>
                      <a:pt x="53667" y="304942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7" name="Волгоград-Борисоглебск"/>
              <p:cNvSpPr/>
              <p:nvPr/>
            </p:nvSpPr>
            <p:spPr>
              <a:xfrm>
                <a:off x="1707362" y="4467226"/>
                <a:ext cx="37300" cy="411376"/>
              </a:xfrm>
              <a:custGeom>
                <a:avLst/>
                <a:gdLst>
                  <a:gd name="connsiteX0" fmla="*/ 7138 w 42063"/>
                  <a:gd name="connsiteY0" fmla="*/ 377825 h 377825"/>
                  <a:gd name="connsiteX1" fmla="*/ 788 w 42063"/>
                  <a:gd name="connsiteY1" fmla="*/ 285750 h 377825"/>
                  <a:gd name="connsiteX2" fmla="*/ 23013 w 42063"/>
                  <a:gd name="connsiteY2" fmla="*/ 212725 h 377825"/>
                  <a:gd name="connsiteX3" fmla="*/ 10313 w 42063"/>
                  <a:gd name="connsiteY3" fmla="*/ 107950 h 377825"/>
                  <a:gd name="connsiteX4" fmla="*/ 42063 w 42063"/>
                  <a:gd name="connsiteY4" fmla="*/ 0 h 377825"/>
                  <a:gd name="connsiteX0" fmla="*/ 7138 w 37300"/>
                  <a:gd name="connsiteY0" fmla="*/ 396875 h 396875"/>
                  <a:gd name="connsiteX1" fmla="*/ 788 w 37300"/>
                  <a:gd name="connsiteY1" fmla="*/ 304800 h 396875"/>
                  <a:gd name="connsiteX2" fmla="*/ 23013 w 37300"/>
                  <a:gd name="connsiteY2" fmla="*/ 231775 h 396875"/>
                  <a:gd name="connsiteX3" fmla="*/ 10313 w 37300"/>
                  <a:gd name="connsiteY3" fmla="*/ 127000 h 396875"/>
                  <a:gd name="connsiteX4" fmla="*/ 37300 w 37300"/>
                  <a:gd name="connsiteY4" fmla="*/ 0 h 396875"/>
                  <a:gd name="connsiteX0" fmla="*/ 7138 w 37300"/>
                  <a:gd name="connsiteY0" fmla="*/ 411376 h 411376"/>
                  <a:gd name="connsiteX1" fmla="*/ 788 w 37300"/>
                  <a:gd name="connsiteY1" fmla="*/ 304800 h 411376"/>
                  <a:gd name="connsiteX2" fmla="*/ 23013 w 37300"/>
                  <a:gd name="connsiteY2" fmla="*/ 231775 h 411376"/>
                  <a:gd name="connsiteX3" fmla="*/ 10313 w 37300"/>
                  <a:gd name="connsiteY3" fmla="*/ 127000 h 411376"/>
                  <a:gd name="connsiteX4" fmla="*/ 37300 w 37300"/>
                  <a:gd name="connsiteY4" fmla="*/ 0 h 411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00" h="411376">
                    <a:moveTo>
                      <a:pt x="7138" y="411376"/>
                    </a:moveTo>
                    <a:cubicBezTo>
                      <a:pt x="2640" y="379097"/>
                      <a:pt x="-1858" y="334734"/>
                      <a:pt x="788" y="304800"/>
                    </a:cubicBezTo>
                    <a:cubicBezTo>
                      <a:pt x="3434" y="274866"/>
                      <a:pt x="21426" y="261408"/>
                      <a:pt x="23013" y="231775"/>
                    </a:cubicBezTo>
                    <a:cubicBezTo>
                      <a:pt x="24600" y="202142"/>
                      <a:pt x="7932" y="165629"/>
                      <a:pt x="10313" y="127000"/>
                    </a:cubicBezTo>
                    <a:cubicBezTo>
                      <a:pt x="12694" y="88371"/>
                      <a:pt x="23012" y="36248"/>
                      <a:pt x="3730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8" name="Воронеж-Н.Новгород"/>
              <p:cNvSpPr/>
              <p:nvPr/>
            </p:nvSpPr>
            <p:spPr>
              <a:xfrm>
                <a:off x="1652209" y="4142781"/>
                <a:ext cx="561358" cy="248089"/>
              </a:xfrm>
              <a:custGeom>
                <a:avLst/>
                <a:gdLst>
                  <a:gd name="connsiteX0" fmla="*/ 0 w 565150"/>
                  <a:gd name="connsiteY0" fmla="*/ 225425 h 225425"/>
                  <a:gd name="connsiteX1" fmla="*/ 88900 w 565150"/>
                  <a:gd name="connsiteY1" fmla="*/ 206375 h 225425"/>
                  <a:gd name="connsiteX2" fmla="*/ 161925 w 565150"/>
                  <a:gd name="connsiteY2" fmla="*/ 146050 h 225425"/>
                  <a:gd name="connsiteX3" fmla="*/ 260350 w 565150"/>
                  <a:gd name="connsiteY3" fmla="*/ 139700 h 225425"/>
                  <a:gd name="connsiteX4" fmla="*/ 355600 w 565150"/>
                  <a:gd name="connsiteY4" fmla="*/ 92075 h 225425"/>
                  <a:gd name="connsiteX5" fmla="*/ 419100 w 565150"/>
                  <a:gd name="connsiteY5" fmla="*/ 73025 h 225425"/>
                  <a:gd name="connsiteX6" fmla="*/ 492125 w 565150"/>
                  <a:gd name="connsiteY6" fmla="*/ 50800 h 225425"/>
                  <a:gd name="connsiteX7" fmla="*/ 565150 w 565150"/>
                  <a:gd name="connsiteY7" fmla="*/ 0 h 225425"/>
                  <a:gd name="connsiteX0" fmla="*/ 0 w 549275"/>
                  <a:gd name="connsiteY0" fmla="*/ 238125 h 238125"/>
                  <a:gd name="connsiteX1" fmla="*/ 73025 w 549275"/>
                  <a:gd name="connsiteY1" fmla="*/ 206375 h 238125"/>
                  <a:gd name="connsiteX2" fmla="*/ 146050 w 549275"/>
                  <a:gd name="connsiteY2" fmla="*/ 146050 h 238125"/>
                  <a:gd name="connsiteX3" fmla="*/ 244475 w 549275"/>
                  <a:gd name="connsiteY3" fmla="*/ 139700 h 238125"/>
                  <a:gd name="connsiteX4" fmla="*/ 339725 w 549275"/>
                  <a:gd name="connsiteY4" fmla="*/ 92075 h 238125"/>
                  <a:gd name="connsiteX5" fmla="*/ 403225 w 549275"/>
                  <a:gd name="connsiteY5" fmla="*/ 73025 h 238125"/>
                  <a:gd name="connsiteX6" fmla="*/ 476250 w 549275"/>
                  <a:gd name="connsiteY6" fmla="*/ 50800 h 238125"/>
                  <a:gd name="connsiteX7" fmla="*/ 549275 w 549275"/>
                  <a:gd name="connsiteY7" fmla="*/ 0 h 238125"/>
                  <a:gd name="connsiteX0" fmla="*/ 0 w 562567"/>
                  <a:gd name="connsiteY0" fmla="*/ 251418 h 251418"/>
                  <a:gd name="connsiteX1" fmla="*/ 73025 w 562567"/>
                  <a:gd name="connsiteY1" fmla="*/ 219668 h 251418"/>
                  <a:gd name="connsiteX2" fmla="*/ 146050 w 562567"/>
                  <a:gd name="connsiteY2" fmla="*/ 159343 h 251418"/>
                  <a:gd name="connsiteX3" fmla="*/ 244475 w 562567"/>
                  <a:gd name="connsiteY3" fmla="*/ 152993 h 251418"/>
                  <a:gd name="connsiteX4" fmla="*/ 339725 w 562567"/>
                  <a:gd name="connsiteY4" fmla="*/ 105368 h 251418"/>
                  <a:gd name="connsiteX5" fmla="*/ 403225 w 562567"/>
                  <a:gd name="connsiteY5" fmla="*/ 86318 h 251418"/>
                  <a:gd name="connsiteX6" fmla="*/ 476250 w 562567"/>
                  <a:gd name="connsiteY6" fmla="*/ 64093 h 251418"/>
                  <a:gd name="connsiteX7" fmla="*/ 562567 w 562567"/>
                  <a:gd name="connsiteY7" fmla="*/ 0 h 251418"/>
                  <a:gd name="connsiteX0" fmla="*/ 0 w 561358"/>
                  <a:gd name="connsiteY0" fmla="*/ 245376 h 245376"/>
                  <a:gd name="connsiteX1" fmla="*/ 71816 w 561358"/>
                  <a:gd name="connsiteY1" fmla="*/ 219668 h 245376"/>
                  <a:gd name="connsiteX2" fmla="*/ 144841 w 561358"/>
                  <a:gd name="connsiteY2" fmla="*/ 159343 h 245376"/>
                  <a:gd name="connsiteX3" fmla="*/ 243266 w 561358"/>
                  <a:gd name="connsiteY3" fmla="*/ 152993 h 245376"/>
                  <a:gd name="connsiteX4" fmla="*/ 338516 w 561358"/>
                  <a:gd name="connsiteY4" fmla="*/ 105368 h 245376"/>
                  <a:gd name="connsiteX5" fmla="*/ 402016 w 561358"/>
                  <a:gd name="connsiteY5" fmla="*/ 86318 h 245376"/>
                  <a:gd name="connsiteX6" fmla="*/ 475041 w 561358"/>
                  <a:gd name="connsiteY6" fmla="*/ 64093 h 245376"/>
                  <a:gd name="connsiteX7" fmla="*/ 561358 w 561358"/>
                  <a:gd name="connsiteY7" fmla="*/ 0 h 245376"/>
                  <a:gd name="connsiteX0" fmla="*/ 0 w 561358"/>
                  <a:gd name="connsiteY0" fmla="*/ 245376 h 248089"/>
                  <a:gd name="connsiteX1" fmla="*/ 71816 w 561358"/>
                  <a:gd name="connsiteY1" fmla="*/ 219668 h 248089"/>
                  <a:gd name="connsiteX2" fmla="*/ 144841 w 561358"/>
                  <a:gd name="connsiteY2" fmla="*/ 159343 h 248089"/>
                  <a:gd name="connsiteX3" fmla="*/ 243266 w 561358"/>
                  <a:gd name="connsiteY3" fmla="*/ 152993 h 248089"/>
                  <a:gd name="connsiteX4" fmla="*/ 338516 w 561358"/>
                  <a:gd name="connsiteY4" fmla="*/ 105368 h 248089"/>
                  <a:gd name="connsiteX5" fmla="*/ 402016 w 561358"/>
                  <a:gd name="connsiteY5" fmla="*/ 86318 h 248089"/>
                  <a:gd name="connsiteX6" fmla="*/ 475041 w 561358"/>
                  <a:gd name="connsiteY6" fmla="*/ 64093 h 248089"/>
                  <a:gd name="connsiteX7" fmla="*/ 561358 w 561358"/>
                  <a:gd name="connsiteY7" fmla="*/ 0 h 248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1358" h="248089">
                    <a:moveTo>
                      <a:pt x="0" y="245376"/>
                    </a:moveTo>
                    <a:cubicBezTo>
                      <a:pt x="32164" y="255758"/>
                      <a:pt x="47676" y="234007"/>
                      <a:pt x="71816" y="219668"/>
                    </a:cubicBezTo>
                    <a:cubicBezTo>
                      <a:pt x="95956" y="205329"/>
                      <a:pt x="116266" y="170455"/>
                      <a:pt x="144841" y="159343"/>
                    </a:cubicBezTo>
                    <a:cubicBezTo>
                      <a:pt x="173416" y="148231"/>
                      <a:pt x="210987" y="161989"/>
                      <a:pt x="243266" y="152993"/>
                    </a:cubicBezTo>
                    <a:cubicBezTo>
                      <a:pt x="275545" y="143997"/>
                      <a:pt x="312058" y="116480"/>
                      <a:pt x="338516" y="105368"/>
                    </a:cubicBezTo>
                    <a:cubicBezTo>
                      <a:pt x="364974" y="94255"/>
                      <a:pt x="402016" y="86318"/>
                      <a:pt x="402016" y="86318"/>
                    </a:cubicBezTo>
                    <a:cubicBezTo>
                      <a:pt x="424770" y="79439"/>
                      <a:pt x="450699" y="76264"/>
                      <a:pt x="475041" y="64093"/>
                    </a:cubicBezTo>
                    <a:cubicBezTo>
                      <a:pt x="499383" y="51922"/>
                      <a:pt x="537016" y="19314"/>
                      <a:pt x="561358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99" name="Саратов-Самара"/>
              <p:cNvSpPr/>
              <p:nvPr/>
            </p:nvSpPr>
            <p:spPr>
              <a:xfrm>
                <a:off x="2035175" y="4617966"/>
                <a:ext cx="293450" cy="46109"/>
              </a:xfrm>
              <a:custGeom>
                <a:avLst/>
                <a:gdLst>
                  <a:gd name="connsiteX0" fmla="*/ 0 w 339725"/>
                  <a:gd name="connsiteY0" fmla="*/ 19212 h 29073"/>
                  <a:gd name="connsiteX1" fmla="*/ 79375 w 339725"/>
                  <a:gd name="connsiteY1" fmla="*/ 162 h 29073"/>
                  <a:gd name="connsiteX2" fmla="*/ 171450 w 339725"/>
                  <a:gd name="connsiteY2" fmla="*/ 28737 h 29073"/>
                  <a:gd name="connsiteX3" fmla="*/ 288925 w 339725"/>
                  <a:gd name="connsiteY3" fmla="*/ 16037 h 29073"/>
                  <a:gd name="connsiteX4" fmla="*/ 339725 w 339725"/>
                  <a:gd name="connsiteY4" fmla="*/ 19212 h 29073"/>
                  <a:gd name="connsiteX0" fmla="*/ 0 w 339725"/>
                  <a:gd name="connsiteY0" fmla="*/ 44492 h 54411"/>
                  <a:gd name="connsiteX1" fmla="*/ 79375 w 339725"/>
                  <a:gd name="connsiteY1" fmla="*/ 25442 h 54411"/>
                  <a:gd name="connsiteX2" fmla="*/ 171450 w 339725"/>
                  <a:gd name="connsiteY2" fmla="*/ 54017 h 54411"/>
                  <a:gd name="connsiteX3" fmla="*/ 247650 w 339725"/>
                  <a:gd name="connsiteY3" fmla="*/ 42 h 54411"/>
                  <a:gd name="connsiteX4" fmla="*/ 339725 w 339725"/>
                  <a:gd name="connsiteY4" fmla="*/ 44492 h 54411"/>
                  <a:gd name="connsiteX0" fmla="*/ 0 w 339725"/>
                  <a:gd name="connsiteY0" fmla="*/ 44558 h 44558"/>
                  <a:gd name="connsiteX1" fmla="*/ 79375 w 339725"/>
                  <a:gd name="connsiteY1" fmla="*/ 25508 h 44558"/>
                  <a:gd name="connsiteX2" fmla="*/ 165100 w 339725"/>
                  <a:gd name="connsiteY2" fmla="*/ 31858 h 44558"/>
                  <a:gd name="connsiteX3" fmla="*/ 247650 w 339725"/>
                  <a:gd name="connsiteY3" fmla="*/ 108 h 44558"/>
                  <a:gd name="connsiteX4" fmla="*/ 339725 w 339725"/>
                  <a:gd name="connsiteY4" fmla="*/ 44558 h 44558"/>
                  <a:gd name="connsiteX0" fmla="*/ 0 w 339725"/>
                  <a:gd name="connsiteY0" fmla="*/ 44558 h 44558"/>
                  <a:gd name="connsiteX1" fmla="*/ 79375 w 339725"/>
                  <a:gd name="connsiteY1" fmla="*/ 25508 h 44558"/>
                  <a:gd name="connsiteX2" fmla="*/ 165100 w 339725"/>
                  <a:gd name="connsiteY2" fmla="*/ 31858 h 44558"/>
                  <a:gd name="connsiteX3" fmla="*/ 225425 w 339725"/>
                  <a:gd name="connsiteY3" fmla="*/ 108 h 44558"/>
                  <a:gd name="connsiteX4" fmla="*/ 339725 w 339725"/>
                  <a:gd name="connsiteY4" fmla="*/ 44558 h 44558"/>
                  <a:gd name="connsiteX0" fmla="*/ 0 w 276225"/>
                  <a:gd name="connsiteY0" fmla="*/ 49213 h 49213"/>
                  <a:gd name="connsiteX1" fmla="*/ 79375 w 276225"/>
                  <a:gd name="connsiteY1" fmla="*/ 30163 h 49213"/>
                  <a:gd name="connsiteX2" fmla="*/ 165100 w 276225"/>
                  <a:gd name="connsiteY2" fmla="*/ 36513 h 49213"/>
                  <a:gd name="connsiteX3" fmla="*/ 225425 w 276225"/>
                  <a:gd name="connsiteY3" fmla="*/ 4763 h 49213"/>
                  <a:gd name="connsiteX4" fmla="*/ 276225 w 276225"/>
                  <a:gd name="connsiteY4" fmla="*/ 1588 h 49213"/>
                  <a:gd name="connsiteX0" fmla="*/ 0 w 282575"/>
                  <a:gd name="connsiteY0" fmla="*/ 46320 h 46320"/>
                  <a:gd name="connsiteX1" fmla="*/ 79375 w 282575"/>
                  <a:gd name="connsiteY1" fmla="*/ 27270 h 46320"/>
                  <a:gd name="connsiteX2" fmla="*/ 165100 w 282575"/>
                  <a:gd name="connsiteY2" fmla="*/ 33620 h 46320"/>
                  <a:gd name="connsiteX3" fmla="*/ 225425 w 282575"/>
                  <a:gd name="connsiteY3" fmla="*/ 1870 h 46320"/>
                  <a:gd name="connsiteX4" fmla="*/ 282575 w 282575"/>
                  <a:gd name="connsiteY4" fmla="*/ 5045 h 46320"/>
                  <a:gd name="connsiteX0" fmla="*/ 0 w 293450"/>
                  <a:gd name="connsiteY0" fmla="*/ 46109 h 46109"/>
                  <a:gd name="connsiteX1" fmla="*/ 79375 w 293450"/>
                  <a:gd name="connsiteY1" fmla="*/ 27059 h 46109"/>
                  <a:gd name="connsiteX2" fmla="*/ 165100 w 293450"/>
                  <a:gd name="connsiteY2" fmla="*/ 33409 h 46109"/>
                  <a:gd name="connsiteX3" fmla="*/ 225425 w 293450"/>
                  <a:gd name="connsiteY3" fmla="*/ 1659 h 46109"/>
                  <a:gd name="connsiteX4" fmla="*/ 293450 w 293450"/>
                  <a:gd name="connsiteY4" fmla="*/ 6043 h 4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450" h="46109">
                    <a:moveTo>
                      <a:pt x="0" y="46109"/>
                    </a:moveTo>
                    <a:cubicBezTo>
                      <a:pt x="25400" y="35790"/>
                      <a:pt x="51858" y="29176"/>
                      <a:pt x="79375" y="27059"/>
                    </a:cubicBezTo>
                    <a:cubicBezTo>
                      <a:pt x="106892" y="24942"/>
                      <a:pt x="140758" y="37642"/>
                      <a:pt x="165100" y="33409"/>
                    </a:cubicBezTo>
                    <a:cubicBezTo>
                      <a:pt x="189442" y="29176"/>
                      <a:pt x="205846" y="6421"/>
                      <a:pt x="225425" y="1659"/>
                    </a:cubicBezTo>
                    <a:cubicBezTo>
                      <a:pt x="245004" y="-3103"/>
                      <a:pt x="282073" y="3662"/>
                      <a:pt x="293450" y="604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0" name="Н.Новгород-Самара"/>
              <p:cNvSpPr/>
              <p:nvPr/>
            </p:nvSpPr>
            <p:spPr>
              <a:xfrm>
                <a:off x="2160971" y="4174909"/>
                <a:ext cx="175069" cy="430948"/>
              </a:xfrm>
              <a:custGeom>
                <a:avLst/>
                <a:gdLst>
                  <a:gd name="connsiteX0" fmla="*/ 0 w 114330"/>
                  <a:gd name="connsiteY0" fmla="*/ 0 h 431800"/>
                  <a:gd name="connsiteX1" fmla="*/ 15875 w 114330"/>
                  <a:gd name="connsiteY1" fmla="*/ 66675 h 431800"/>
                  <a:gd name="connsiteX2" fmla="*/ 63500 w 114330"/>
                  <a:gd name="connsiteY2" fmla="*/ 123825 h 431800"/>
                  <a:gd name="connsiteX3" fmla="*/ 73025 w 114330"/>
                  <a:gd name="connsiteY3" fmla="*/ 215900 h 431800"/>
                  <a:gd name="connsiteX4" fmla="*/ 101600 w 114330"/>
                  <a:gd name="connsiteY4" fmla="*/ 279400 h 431800"/>
                  <a:gd name="connsiteX5" fmla="*/ 114300 w 114330"/>
                  <a:gd name="connsiteY5" fmla="*/ 368300 h 431800"/>
                  <a:gd name="connsiteX6" fmla="*/ 98425 w 114330"/>
                  <a:gd name="connsiteY6" fmla="*/ 396875 h 431800"/>
                  <a:gd name="connsiteX7" fmla="*/ 107950 w 114330"/>
                  <a:gd name="connsiteY7" fmla="*/ 431800 h 431800"/>
                  <a:gd name="connsiteX0" fmla="*/ 0 w 98455"/>
                  <a:gd name="connsiteY0" fmla="*/ 0 h 365125"/>
                  <a:gd name="connsiteX1" fmla="*/ 47625 w 98455"/>
                  <a:gd name="connsiteY1" fmla="*/ 57150 h 365125"/>
                  <a:gd name="connsiteX2" fmla="*/ 57150 w 98455"/>
                  <a:gd name="connsiteY2" fmla="*/ 149225 h 365125"/>
                  <a:gd name="connsiteX3" fmla="*/ 85725 w 98455"/>
                  <a:gd name="connsiteY3" fmla="*/ 212725 h 365125"/>
                  <a:gd name="connsiteX4" fmla="*/ 98425 w 98455"/>
                  <a:gd name="connsiteY4" fmla="*/ 301625 h 365125"/>
                  <a:gd name="connsiteX5" fmla="*/ 82550 w 98455"/>
                  <a:gd name="connsiteY5" fmla="*/ 330200 h 365125"/>
                  <a:gd name="connsiteX6" fmla="*/ 92075 w 98455"/>
                  <a:gd name="connsiteY6" fmla="*/ 365125 h 365125"/>
                  <a:gd name="connsiteX0" fmla="*/ 0 w 74642"/>
                  <a:gd name="connsiteY0" fmla="*/ 0 h 377032"/>
                  <a:gd name="connsiteX1" fmla="*/ 23812 w 74642"/>
                  <a:gd name="connsiteY1" fmla="*/ 69057 h 377032"/>
                  <a:gd name="connsiteX2" fmla="*/ 33337 w 74642"/>
                  <a:gd name="connsiteY2" fmla="*/ 161132 h 377032"/>
                  <a:gd name="connsiteX3" fmla="*/ 61912 w 74642"/>
                  <a:gd name="connsiteY3" fmla="*/ 224632 h 377032"/>
                  <a:gd name="connsiteX4" fmla="*/ 74612 w 74642"/>
                  <a:gd name="connsiteY4" fmla="*/ 313532 h 377032"/>
                  <a:gd name="connsiteX5" fmla="*/ 58737 w 74642"/>
                  <a:gd name="connsiteY5" fmla="*/ 342107 h 377032"/>
                  <a:gd name="connsiteX6" fmla="*/ 68262 w 74642"/>
                  <a:gd name="connsiteY6" fmla="*/ 377032 h 377032"/>
                  <a:gd name="connsiteX0" fmla="*/ 2401 w 77043"/>
                  <a:gd name="connsiteY0" fmla="*/ 0 h 377032"/>
                  <a:gd name="connsiteX1" fmla="*/ 26213 w 77043"/>
                  <a:gd name="connsiteY1" fmla="*/ 69057 h 377032"/>
                  <a:gd name="connsiteX2" fmla="*/ 35738 w 77043"/>
                  <a:gd name="connsiteY2" fmla="*/ 161132 h 377032"/>
                  <a:gd name="connsiteX3" fmla="*/ 64313 w 77043"/>
                  <a:gd name="connsiteY3" fmla="*/ 224632 h 377032"/>
                  <a:gd name="connsiteX4" fmla="*/ 77013 w 77043"/>
                  <a:gd name="connsiteY4" fmla="*/ 313532 h 377032"/>
                  <a:gd name="connsiteX5" fmla="*/ 61138 w 77043"/>
                  <a:gd name="connsiteY5" fmla="*/ 342107 h 377032"/>
                  <a:gd name="connsiteX6" fmla="*/ 70663 w 77043"/>
                  <a:gd name="connsiteY6" fmla="*/ 377032 h 377032"/>
                  <a:gd name="connsiteX0" fmla="*/ 4967 w 79609"/>
                  <a:gd name="connsiteY0" fmla="*/ 0 h 377032"/>
                  <a:gd name="connsiteX1" fmla="*/ 28779 w 79609"/>
                  <a:gd name="connsiteY1" fmla="*/ 69057 h 377032"/>
                  <a:gd name="connsiteX2" fmla="*/ 38304 w 79609"/>
                  <a:gd name="connsiteY2" fmla="*/ 161132 h 377032"/>
                  <a:gd name="connsiteX3" fmla="*/ 66879 w 79609"/>
                  <a:gd name="connsiteY3" fmla="*/ 224632 h 377032"/>
                  <a:gd name="connsiteX4" fmla="*/ 79579 w 79609"/>
                  <a:gd name="connsiteY4" fmla="*/ 313532 h 377032"/>
                  <a:gd name="connsiteX5" fmla="*/ 63704 w 79609"/>
                  <a:gd name="connsiteY5" fmla="*/ 342107 h 377032"/>
                  <a:gd name="connsiteX6" fmla="*/ 73229 w 79609"/>
                  <a:gd name="connsiteY6" fmla="*/ 377032 h 377032"/>
                  <a:gd name="connsiteX0" fmla="*/ 6567 w 66922"/>
                  <a:gd name="connsiteY0" fmla="*/ 0 h 365126"/>
                  <a:gd name="connsiteX1" fmla="*/ 16092 w 66922"/>
                  <a:gd name="connsiteY1" fmla="*/ 57151 h 365126"/>
                  <a:gd name="connsiteX2" fmla="*/ 25617 w 66922"/>
                  <a:gd name="connsiteY2" fmla="*/ 149226 h 365126"/>
                  <a:gd name="connsiteX3" fmla="*/ 54192 w 66922"/>
                  <a:gd name="connsiteY3" fmla="*/ 212726 h 365126"/>
                  <a:gd name="connsiteX4" fmla="*/ 66892 w 66922"/>
                  <a:gd name="connsiteY4" fmla="*/ 301626 h 365126"/>
                  <a:gd name="connsiteX5" fmla="*/ 51017 w 66922"/>
                  <a:gd name="connsiteY5" fmla="*/ 330201 h 365126"/>
                  <a:gd name="connsiteX6" fmla="*/ 60542 w 66922"/>
                  <a:gd name="connsiteY6" fmla="*/ 365126 h 365126"/>
                  <a:gd name="connsiteX0" fmla="*/ 3868 w 95179"/>
                  <a:gd name="connsiteY0" fmla="*/ 0 h 400845"/>
                  <a:gd name="connsiteX1" fmla="*/ 44349 w 95179"/>
                  <a:gd name="connsiteY1" fmla="*/ 92870 h 400845"/>
                  <a:gd name="connsiteX2" fmla="*/ 53874 w 95179"/>
                  <a:gd name="connsiteY2" fmla="*/ 184945 h 400845"/>
                  <a:gd name="connsiteX3" fmla="*/ 82449 w 95179"/>
                  <a:gd name="connsiteY3" fmla="*/ 248445 h 400845"/>
                  <a:gd name="connsiteX4" fmla="*/ 95149 w 95179"/>
                  <a:gd name="connsiteY4" fmla="*/ 337345 h 400845"/>
                  <a:gd name="connsiteX5" fmla="*/ 79274 w 95179"/>
                  <a:gd name="connsiteY5" fmla="*/ 365920 h 400845"/>
                  <a:gd name="connsiteX6" fmla="*/ 88799 w 95179"/>
                  <a:gd name="connsiteY6" fmla="*/ 400845 h 400845"/>
                  <a:gd name="connsiteX0" fmla="*/ 3868 w 95179"/>
                  <a:gd name="connsiteY0" fmla="*/ 0 h 407989"/>
                  <a:gd name="connsiteX1" fmla="*/ 44349 w 95179"/>
                  <a:gd name="connsiteY1" fmla="*/ 100014 h 407989"/>
                  <a:gd name="connsiteX2" fmla="*/ 53874 w 95179"/>
                  <a:gd name="connsiteY2" fmla="*/ 192089 h 407989"/>
                  <a:gd name="connsiteX3" fmla="*/ 82449 w 95179"/>
                  <a:gd name="connsiteY3" fmla="*/ 255589 h 407989"/>
                  <a:gd name="connsiteX4" fmla="*/ 95149 w 95179"/>
                  <a:gd name="connsiteY4" fmla="*/ 344489 h 407989"/>
                  <a:gd name="connsiteX5" fmla="*/ 79274 w 95179"/>
                  <a:gd name="connsiteY5" fmla="*/ 373064 h 407989"/>
                  <a:gd name="connsiteX6" fmla="*/ 88799 w 95179"/>
                  <a:gd name="connsiteY6" fmla="*/ 407989 h 407989"/>
                  <a:gd name="connsiteX0" fmla="*/ 6328 w 97639"/>
                  <a:gd name="connsiteY0" fmla="*/ 0 h 407989"/>
                  <a:gd name="connsiteX1" fmla="*/ 46809 w 97639"/>
                  <a:gd name="connsiteY1" fmla="*/ 100014 h 407989"/>
                  <a:gd name="connsiteX2" fmla="*/ 56334 w 97639"/>
                  <a:gd name="connsiteY2" fmla="*/ 192089 h 407989"/>
                  <a:gd name="connsiteX3" fmla="*/ 84909 w 97639"/>
                  <a:gd name="connsiteY3" fmla="*/ 255589 h 407989"/>
                  <a:gd name="connsiteX4" fmla="*/ 97609 w 97639"/>
                  <a:gd name="connsiteY4" fmla="*/ 344489 h 407989"/>
                  <a:gd name="connsiteX5" fmla="*/ 81734 w 97639"/>
                  <a:gd name="connsiteY5" fmla="*/ 373064 h 407989"/>
                  <a:gd name="connsiteX6" fmla="*/ 91259 w 97639"/>
                  <a:gd name="connsiteY6" fmla="*/ 407989 h 407989"/>
                  <a:gd name="connsiteX0" fmla="*/ 6595 w 94281"/>
                  <a:gd name="connsiteY0" fmla="*/ 0 h 410406"/>
                  <a:gd name="connsiteX1" fmla="*/ 43451 w 94281"/>
                  <a:gd name="connsiteY1" fmla="*/ 102431 h 410406"/>
                  <a:gd name="connsiteX2" fmla="*/ 52976 w 94281"/>
                  <a:gd name="connsiteY2" fmla="*/ 194506 h 410406"/>
                  <a:gd name="connsiteX3" fmla="*/ 81551 w 94281"/>
                  <a:gd name="connsiteY3" fmla="*/ 258006 h 410406"/>
                  <a:gd name="connsiteX4" fmla="*/ 94251 w 94281"/>
                  <a:gd name="connsiteY4" fmla="*/ 346906 h 410406"/>
                  <a:gd name="connsiteX5" fmla="*/ 78376 w 94281"/>
                  <a:gd name="connsiteY5" fmla="*/ 375481 h 410406"/>
                  <a:gd name="connsiteX6" fmla="*/ 87901 w 94281"/>
                  <a:gd name="connsiteY6" fmla="*/ 410406 h 410406"/>
                  <a:gd name="connsiteX0" fmla="*/ 3845 w 153159"/>
                  <a:gd name="connsiteY0" fmla="*/ 0 h 438199"/>
                  <a:gd name="connsiteX1" fmla="*/ 102329 w 153159"/>
                  <a:gd name="connsiteY1" fmla="*/ 130224 h 438199"/>
                  <a:gd name="connsiteX2" fmla="*/ 111854 w 153159"/>
                  <a:gd name="connsiteY2" fmla="*/ 222299 h 438199"/>
                  <a:gd name="connsiteX3" fmla="*/ 140429 w 153159"/>
                  <a:gd name="connsiteY3" fmla="*/ 285799 h 438199"/>
                  <a:gd name="connsiteX4" fmla="*/ 153129 w 153159"/>
                  <a:gd name="connsiteY4" fmla="*/ 374699 h 438199"/>
                  <a:gd name="connsiteX5" fmla="*/ 137254 w 153159"/>
                  <a:gd name="connsiteY5" fmla="*/ 403274 h 438199"/>
                  <a:gd name="connsiteX6" fmla="*/ 146779 w 153159"/>
                  <a:gd name="connsiteY6" fmla="*/ 438199 h 438199"/>
                  <a:gd name="connsiteX0" fmla="*/ 3528 w 166134"/>
                  <a:gd name="connsiteY0" fmla="*/ 0 h 412822"/>
                  <a:gd name="connsiteX1" fmla="*/ 115304 w 166134"/>
                  <a:gd name="connsiteY1" fmla="*/ 104847 h 412822"/>
                  <a:gd name="connsiteX2" fmla="*/ 124829 w 166134"/>
                  <a:gd name="connsiteY2" fmla="*/ 196922 h 412822"/>
                  <a:gd name="connsiteX3" fmla="*/ 153404 w 166134"/>
                  <a:gd name="connsiteY3" fmla="*/ 260422 h 412822"/>
                  <a:gd name="connsiteX4" fmla="*/ 166104 w 166134"/>
                  <a:gd name="connsiteY4" fmla="*/ 349322 h 412822"/>
                  <a:gd name="connsiteX5" fmla="*/ 150229 w 166134"/>
                  <a:gd name="connsiteY5" fmla="*/ 377897 h 412822"/>
                  <a:gd name="connsiteX6" fmla="*/ 159754 w 166134"/>
                  <a:gd name="connsiteY6" fmla="*/ 412822 h 412822"/>
                  <a:gd name="connsiteX0" fmla="*/ 4540 w 167146"/>
                  <a:gd name="connsiteY0" fmla="*/ 0 h 412822"/>
                  <a:gd name="connsiteX1" fmla="*/ 86106 w 167146"/>
                  <a:gd name="connsiteY1" fmla="*/ 127807 h 412822"/>
                  <a:gd name="connsiteX2" fmla="*/ 125841 w 167146"/>
                  <a:gd name="connsiteY2" fmla="*/ 196922 h 412822"/>
                  <a:gd name="connsiteX3" fmla="*/ 154416 w 167146"/>
                  <a:gd name="connsiteY3" fmla="*/ 260422 h 412822"/>
                  <a:gd name="connsiteX4" fmla="*/ 167116 w 167146"/>
                  <a:gd name="connsiteY4" fmla="*/ 349322 h 412822"/>
                  <a:gd name="connsiteX5" fmla="*/ 151241 w 167146"/>
                  <a:gd name="connsiteY5" fmla="*/ 377897 h 412822"/>
                  <a:gd name="connsiteX6" fmla="*/ 160766 w 167146"/>
                  <a:gd name="connsiteY6" fmla="*/ 412822 h 412822"/>
                  <a:gd name="connsiteX0" fmla="*/ 4298 w 167028"/>
                  <a:gd name="connsiteY0" fmla="*/ 0 h 412822"/>
                  <a:gd name="connsiteX1" fmla="*/ 85864 w 167028"/>
                  <a:gd name="connsiteY1" fmla="*/ 127807 h 412822"/>
                  <a:gd name="connsiteX2" fmla="*/ 88139 w 167028"/>
                  <a:gd name="connsiteY2" fmla="*/ 219882 h 412822"/>
                  <a:gd name="connsiteX3" fmla="*/ 154174 w 167028"/>
                  <a:gd name="connsiteY3" fmla="*/ 260422 h 412822"/>
                  <a:gd name="connsiteX4" fmla="*/ 166874 w 167028"/>
                  <a:gd name="connsiteY4" fmla="*/ 349322 h 412822"/>
                  <a:gd name="connsiteX5" fmla="*/ 150999 w 167028"/>
                  <a:gd name="connsiteY5" fmla="*/ 377897 h 412822"/>
                  <a:gd name="connsiteX6" fmla="*/ 160524 w 167028"/>
                  <a:gd name="connsiteY6" fmla="*/ 412822 h 412822"/>
                  <a:gd name="connsiteX0" fmla="*/ 4880 w 167610"/>
                  <a:gd name="connsiteY0" fmla="*/ 0 h 412822"/>
                  <a:gd name="connsiteX1" fmla="*/ 73154 w 167610"/>
                  <a:gd name="connsiteY1" fmla="*/ 129015 h 412822"/>
                  <a:gd name="connsiteX2" fmla="*/ 88721 w 167610"/>
                  <a:gd name="connsiteY2" fmla="*/ 219882 h 412822"/>
                  <a:gd name="connsiteX3" fmla="*/ 154756 w 167610"/>
                  <a:gd name="connsiteY3" fmla="*/ 260422 h 412822"/>
                  <a:gd name="connsiteX4" fmla="*/ 167456 w 167610"/>
                  <a:gd name="connsiteY4" fmla="*/ 349322 h 412822"/>
                  <a:gd name="connsiteX5" fmla="*/ 151581 w 167610"/>
                  <a:gd name="connsiteY5" fmla="*/ 377897 h 412822"/>
                  <a:gd name="connsiteX6" fmla="*/ 161106 w 167610"/>
                  <a:gd name="connsiteY6" fmla="*/ 412822 h 412822"/>
                  <a:gd name="connsiteX0" fmla="*/ 4880 w 169130"/>
                  <a:gd name="connsiteY0" fmla="*/ 0 h 412822"/>
                  <a:gd name="connsiteX1" fmla="*/ 73154 w 169130"/>
                  <a:gd name="connsiteY1" fmla="*/ 129015 h 412822"/>
                  <a:gd name="connsiteX2" fmla="*/ 88721 w 169130"/>
                  <a:gd name="connsiteY2" fmla="*/ 219882 h 412822"/>
                  <a:gd name="connsiteX3" fmla="*/ 104003 w 169130"/>
                  <a:gd name="connsiteY3" fmla="*/ 307550 h 412822"/>
                  <a:gd name="connsiteX4" fmla="*/ 167456 w 169130"/>
                  <a:gd name="connsiteY4" fmla="*/ 349322 h 412822"/>
                  <a:gd name="connsiteX5" fmla="*/ 151581 w 169130"/>
                  <a:gd name="connsiteY5" fmla="*/ 377897 h 412822"/>
                  <a:gd name="connsiteX6" fmla="*/ 161106 w 169130"/>
                  <a:gd name="connsiteY6" fmla="*/ 412822 h 412822"/>
                  <a:gd name="connsiteX0" fmla="*/ 6467 w 170717"/>
                  <a:gd name="connsiteY0" fmla="*/ 0 h 412822"/>
                  <a:gd name="connsiteX1" fmla="*/ 50573 w 170717"/>
                  <a:gd name="connsiteY1" fmla="*/ 141099 h 412822"/>
                  <a:gd name="connsiteX2" fmla="*/ 90308 w 170717"/>
                  <a:gd name="connsiteY2" fmla="*/ 219882 h 412822"/>
                  <a:gd name="connsiteX3" fmla="*/ 105590 w 170717"/>
                  <a:gd name="connsiteY3" fmla="*/ 307550 h 412822"/>
                  <a:gd name="connsiteX4" fmla="*/ 169043 w 170717"/>
                  <a:gd name="connsiteY4" fmla="*/ 349322 h 412822"/>
                  <a:gd name="connsiteX5" fmla="*/ 153168 w 170717"/>
                  <a:gd name="connsiteY5" fmla="*/ 377897 h 412822"/>
                  <a:gd name="connsiteX6" fmla="*/ 162693 w 170717"/>
                  <a:gd name="connsiteY6" fmla="*/ 412822 h 412822"/>
                  <a:gd name="connsiteX0" fmla="*/ 8342 w 172592"/>
                  <a:gd name="connsiteY0" fmla="*/ 0 h 412822"/>
                  <a:gd name="connsiteX1" fmla="*/ 35530 w 172592"/>
                  <a:gd name="connsiteY1" fmla="*/ 148349 h 412822"/>
                  <a:gd name="connsiteX2" fmla="*/ 92183 w 172592"/>
                  <a:gd name="connsiteY2" fmla="*/ 219882 h 412822"/>
                  <a:gd name="connsiteX3" fmla="*/ 107465 w 172592"/>
                  <a:gd name="connsiteY3" fmla="*/ 307550 h 412822"/>
                  <a:gd name="connsiteX4" fmla="*/ 170918 w 172592"/>
                  <a:gd name="connsiteY4" fmla="*/ 349322 h 412822"/>
                  <a:gd name="connsiteX5" fmla="*/ 155043 w 172592"/>
                  <a:gd name="connsiteY5" fmla="*/ 377897 h 412822"/>
                  <a:gd name="connsiteX6" fmla="*/ 164568 w 172592"/>
                  <a:gd name="connsiteY6" fmla="*/ 412822 h 412822"/>
                  <a:gd name="connsiteX0" fmla="*/ 7828 w 172078"/>
                  <a:gd name="connsiteY0" fmla="*/ 0 h 412822"/>
                  <a:gd name="connsiteX1" fmla="*/ 35016 w 172078"/>
                  <a:gd name="connsiteY1" fmla="*/ 148349 h 412822"/>
                  <a:gd name="connsiteX2" fmla="*/ 66293 w 172078"/>
                  <a:gd name="connsiteY2" fmla="*/ 231966 h 412822"/>
                  <a:gd name="connsiteX3" fmla="*/ 106951 w 172078"/>
                  <a:gd name="connsiteY3" fmla="*/ 307550 h 412822"/>
                  <a:gd name="connsiteX4" fmla="*/ 170404 w 172078"/>
                  <a:gd name="connsiteY4" fmla="*/ 349322 h 412822"/>
                  <a:gd name="connsiteX5" fmla="*/ 154529 w 172078"/>
                  <a:gd name="connsiteY5" fmla="*/ 377897 h 412822"/>
                  <a:gd name="connsiteX6" fmla="*/ 164054 w 172078"/>
                  <a:gd name="connsiteY6" fmla="*/ 412822 h 412822"/>
                  <a:gd name="connsiteX0" fmla="*/ 7828 w 164054"/>
                  <a:gd name="connsiteY0" fmla="*/ 0 h 412822"/>
                  <a:gd name="connsiteX1" fmla="*/ 35016 w 164054"/>
                  <a:gd name="connsiteY1" fmla="*/ 148349 h 412822"/>
                  <a:gd name="connsiteX2" fmla="*/ 66293 w 164054"/>
                  <a:gd name="connsiteY2" fmla="*/ 231966 h 412822"/>
                  <a:gd name="connsiteX3" fmla="*/ 106951 w 164054"/>
                  <a:gd name="connsiteY3" fmla="*/ 307550 h 412822"/>
                  <a:gd name="connsiteX4" fmla="*/ 147444 w 164054"/>
                  <a:gd name="connsiteY4" fmla="*/ 348114 h 412822"/>
                  <a:gd name="connsiteX5" fmla="*/ 154529 w 164054"/>
                  <a:gd name="connsiteY5" fmla="*/ 377897 h 412822"/>
                  <a:gd name="connsiteX6" fmla="*/ 164054 w 164054"/>
                  <a:gd name="connsiteY6" fmla="*/ 412822 h 412822"/>
                  <a:gd name="connsiteX0" fmla="*/ 7828 w 164054"/>
                  <a:gd name="connsiteY0" fmla="*/ 0 h 412822"/>
                  <a:gd name="connsiteX1" fmla="*/ 35016 w 164054"/>
                  <a:gd name="connsiteY1" fmla="*/ 148349 h 412822"/>
                  <a:gd name="connsiteX2" fmla="*/ 66293 w 164054"/>
                  <a:gd name="connsiteY2" fmla="*/ 231966 h 412822"/>
                  <a:gd name="connsiteX3" fmla="*/ 99701 w 164054"/>
                  <a:gd name="connsiteY3" fmla="*/ 309966 h 412822"/>
                  <a:gd name="connsiteX4" fmla="*/ 147444 w 164054"/>
                  <a:gd name="connsiteY4" fmla="*/ 348114 h 412822"/>
                  <a:gd name="connsiteX5" fmla="*/ 154529 w 164054"/>
                  <a:gd name="connsiteY5" fmla="*/ 377897 h 412822"/>
                  <a:gd name="connsiteX6" fmla="*/ 164054 w 164054"/>
                  <a:gd name="connsiteY6" fmla="*/ 412822 h 412822"/>
                  <a:gd name="connsiteX0" fmla="*/ 7624 w 163850"/>
                  <a:gd name="connsiteY0" fmla="*/ 0 h 412822"/>
                  <a:gd name="connsiteX1" fmla="*/ 34812 w 163850"/>
                  <a:gd name="connsiteY1" fmla="*/ 148349 h 412822"/>
                  <a:gd name="connsiteX2" fmla="*/ 55213 w 163850"/>
                  <a:gd name="connsiteY2" fmla="*/ 235591 h 412822"/>
                  <a:gd name="connsiteX3" fmla="*/ 99497 w 163850"/>
                  <a:gd name="connsiteY3" fmla="*/ 309966 h 412822"/>
                  <a:gd name="connsiteX4" fmla="*/ 147240 w 163850"/>
                  <a:gd name="connsiteY4" fmla="*/ 348114 h 412822"/>
                  <a:gd name="connsiteX5" fmla="*/ 154325 w 163850"/>
                  <a:gd name="connsiteY5" fmla="*/ 377897 h 412822"/>
                  <a:gd name="connsiteX6" fmla="*/ 163850 w 163850"/>
                  <a:gd name="connsiteY6" fmla="*/ 412822 h 412822"/>
                  <a:gd name="connsiteX0" fmla="*/ 10108 w 166334"/>
                  <a:gd name="connsiteY0" fmla="*/ 0 h 412822"/>
                  <a:gd name="connsiteX1" fmla="*/ 21587 w 166334"/>
                  <a:gd name="connsiteY1" fmla="*/ 148349 h 412822"/>
                  <a:gd name="connsiteX2" fmla="*/ 57697 w 166334"/>
                  <a:gd name="connsiteY2" fmla="*/ 235591 h 412822"/>
                  <a:gd name="connsiteX3" fmla="*/ 101981 w 166334"/>
                  <a:gd name="connsiteY3" fmla="*/ 309966 h 412822"/>
                  <a:gd name="connsiteX4" fmla="*/ 149724 w 166334"/>
                  <a:gd name="connsiteY4" fmla="*/ 348114 h 412822"/>
                  <a:gd name="connsiteX5" fmla="*/ 156809 w 166334"/>
                  <a:gd name="connsiteY5" fmla="*/ 377897 h 412822"/>
                  <a:gd name="connsiteX6" fmla="*/ 166334 w 166334"/>
                  <a:gd name="connsiteY6" fmla="*/ 412822 h 412822"/>
                  <a:gd name="connsiteX0" fmla="*/ 9140 w 171408"/>
                  <a:gd name="connsiteY0" fmla="*/ 0 h 422489"/>
                  <a:gd name="connsiteX1" fmla="*/ 26661 w 171408"/>
                  <a:gd name="connsiteY1" fmla="*/ 158016 h 422489"/>
                  <a:gd name="connsiteX2" fmla="*/ 62771 w 171408"/>
                  <a:gd name="connsiteY2" fmla="*/ 245258 h 422489"/>
                  <a:gd name="connsiteX3" fmla="*/ 107055 w 171408"/>
                  <a:gd name="connsiteY3" fmla="*/ 319633 h 422489"/>
                  <a:gd name="connsiteX4" fmla="*/ 154798 w 171408"/>
                  <a:gd name="connsiteY4" fmla="*/ 357781 h 422489"/>
                  <a:gd name="connsiteX5" fmla="*/ 161883 w 171408"/>
                  <a:gd name="connsiteY5" fmla="*/ 387564 h 422489"/>
                  <a:gd name="connsiteX6" fmla="*/ 171408 w 171408"/>
                  <a:gd name="connsiteY6" fmla="*/ 422489 h 422489"/>
                  <a:gd name="connsiteX0" fmla="*/ 9140 w 171408"/>
                  <a:gd name="connsiteY0" fmla="*/ 0 h 422489"/>
                  <a:gd name="connsiteX1" fmla="*/ 26661 w 171408"/>
                  <a:gd name="connsiteY1" fmla="*/ 158016 h 422489"/>
                  <a:gd name="connsiteX2" fmla="*/ 62771 w 171408"/>
                  <a:gd name="connsiteY2" fmla="*/ 245258 h 422489"/>
                  <a:gd name="connsiteX3" fmla="*/ 107055 w 171408"/>
                  <a:gd name="connsiteY3" fmla="*/ 319633 h 422489"/>
                  <a:gd name="connsiteX4" fmla="*/ 154798 w 171408"/>
                  <a:gd name="connsiteY4" fmla="*/ 357781 h 422489"/>
                  <a:gd name="connsiteX5" fmla="*/ 161883 w 171408"/>
                  <a:gd name="connsiteY5" fmla="*/ 387564 h 422489"/>
                  <a:gd name="connsiteX6" fmla="*/ 171408 w 171408"/>
                  <a:gd name="connsiteY6" fmla="*/ 422489 h 422489"/>
                  <a:gd name="connsiteX0" fmla="*/ 10384 w 172652"/>
                  <a:gd name="connsiteY0" fmla="*/ 0 h 422489"/>
                  <a:gd name="connsiteX1" fmla="*/ 27905 w 172652"/>
                  <a:gd name="connsiteY1" fmla="*/ 158016 h 422489"/>
                  <a:gd name="connsiteX2" fmla="*/ 108299 w 172652"/>
                  <a:gd name="connsiteY2" fmla="*/ 319633 h 422489"/>
                  <a:gd name="connsiteX3" fmla="*/ 156042 w 172652"/>
                  <a:gd name="connsiteY3" fmla="*/ 357781 h 422489"/>
                  <a:gd name="connsiteX4" fmla="*/ 163127 w 172652"/>
                  <a:gd name="connsiteY4" fmla="*/ 387564 h 422489"/>
                  <a:gd name="connsiteX5" fmla="*/ 172652 w 172652"/>
                  <a:gd name="connsiteY5" fmla="*/ 422489 h 422489"/>
                  <a:gd name="connsiteX0" fmla="*/ 10384 w 175069"/>
                  <a:gd name="connsiteY0" fmla="*/ 0 h 430948"/>
                  <a:gd name="connsiteX1" fmla="*/ 27905 w 175069"/>
                  <a:gd name="connsiteY1" fmla="*/ 158016 h 430948"/>
                  <a:gd name="connsiteX2" fmla="*/ 108299 w 175069"/>
                  <a:gd name="connsiteY2" fmla="*/ 319633 h 430948"/>
                  <a:gd name="connsiteX3" fmla="*/ 156042 w 175069"/>
                  <a:gd name="connsiteY3" fmla="*/ 357781 h 430948"/>
                  <a:gd name="connsiteX4" fmla="*/ 163127 w 175069"/>
                  <a:gd name="connsiteY4" fmla="*/ 387564 h 430948"/>
                  <a:gd name="connsiteX5" fmla="*/ 175069 w 175069"/>
                  <a:gd name="connsiteY5" fmla="*/ 430948 h 430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5069" h="430948">
                    <a:moveTo>
                      <a:pt x="10384" y="0"/>
                    </a:moveTo>
                    <a:cubicBezTo>
                      <a:pt x="-14750" y="25400"/>
                      <a:pt x="11586" y="104744"/>
                      <a:pt x="27905" y="158016"/>
                    </a:cubicBezTo>
                    <a:cubicBezTo>
                      <a:pt x="44224" y="211288"/>
                      <a:pt x="86943" y="286339"/>
                      <a:pt x="108299" y="319633"/>
                    </a:cubicBezTo>
                    <a:cubicBezTo>
                      <a:pt x="129655" y="352927"/>
                      <a:pt x="146904" y="346459"/>
                      <a:pt x="156042" y="357781"/>
                    </a:cubicBezTo>
                    <a:cubicBezTo>
                      <a:pt x="165180" y="369103"/>
                      <a:pt x="164185" y="376981"/>
                      <a:pt x="163127" y="387564"/>
                    </a:cubicBezTo>
                    <a:cubicBezTo>
                      <a:pt x="162069" y="398147"/>
                      <a:pt x="169777" y="418777"/>
                      <a:pt x="175069" y="430948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1" name="Самара-Сагарчин"/>
              <p:cNvSpPr/>
              <p:nvPr/>
            </p:nvSpPr>
            <p:spPr>
              <a:xfrm>
                <a:off x="2346924" y="4638675"/>
                <a:ext cx="322979" cy="473976"/>
              </a:xfrm>
              <a:custGeom>
                <a:avLst/>
                <a:gdLst>
                  <a:gd name="connsiteX0" fmla="*/ 8937 w 310562"/>
                  <a:gd name="connsiteY0" fmla="*/ 0 h 466725"/>
                  <a:gd name="connsiteX1" fmla="*/ 5762 w 310562"/>
                  <a:gd name="connsiteY1" fmla="*/ 79375 h 466725"/>
                  <a:gd name="connsiteX2" fmla="*/ 75612 w 310562"/>
                  <a:gd name="connsiteY2" fmla="*/ 149225 h 466725"/>
                  <a:gd name="connsiteX3" fmla="*/ 132762 w 310562"/>
                  <a:gd name="connsiteY3" fmla="*/ 269875 h 466725"/>
                  <a:gd name="connsiteX4" fmla="*/ 186737 w 310562"/>
                  <a:gd name="connsiteY4" fmla="*/ 342900 h 466725"/>
                  <a:gd name="connsiteX5" fmla="*/ 234362 w 310562"/>
                  <a:gd name="connsiteY5" fmla="*/ 419100 h 466725"/>
                  <a:gd name="connsiteX6" fmla="*/ 310562 w 310562"/>
                  <a:gd name="connsiteY6" fmla="*/ 466725 h 466725"/>
                  <a:gd name="connsiteX0" fmla="*/ 5751 w 307376"/>
                  <a:gd name="connsiteY0" fmla="*/ 0 h 466725"/>
                  <a:gd name="connsiteX1" fmla="*/ 2576 w 307376"/>
                  <a:gd name="connsiteY1" fmla="*/ 79375 h 466725"/>
                  <a:gd name="connsiteX2" fmla="*/ 72426 w 307376"/>
                  <a:gd name="connsiteY2" fmla="*/ 149225 h 466725"/>
                  <a:gd name="connsiteX3" fmla="*/ 129576 w 307376"/>
                  <a:gd name="connsiteY3" fmla="*/ 269875 h 466725"/>
                  <a:gd name="connsiteX4" fmla="*/ 183551 w 307376"/>
                  <a:gd name="connsiteY4" fmla="*/ 342900 h 466725"/>
                  <a:gd name="connsiteX5" fmla="*/ 231176 w 307376"/>
                  <a:gd name="connsiteY5" fmla="*/ 419100 h 466725"/>
                  <a:gd name="connsiteX6" fmla="*/ 307376 w 307376"/>
                  <a:gd name="connsiteY6" fmla="*/ 466725 h 466725"/>
                  <a:gd name="connsiteX0" fmla="*/ 5751 w 314520"/>
                  <a:gd name="connsiteY0" fmla="*/ 0 h 466725"/>
                  <a:gd name="connsiteX1" fmla="*/ 2576 w 314520"/>
                  <a:gd name="connsiteY1" fmla="*/ 79375 h 466725"/>
                  <a:gd name="connsiteX2" fmla="*/ 72426 w 314520"/>
                  <a:gd name="connsiteY2" fmla="*/ 149225 h 466725"/>
                  <a:gd name="connsiteX3" fmla="*/ 129576 w 314520"/>
                  <a:gd name="connsiteY3" fmla="*/ 269875 h 466725"/>
                  <a:gd name="connsiteX4" fmla="*/ 183551 w 314520"/>
                  <a:gd name="connsiteY4" fmla="*/ 342900 h 466725"/>
                  <a:gd name="connsiteX5" fmla="*/ 231176 w 314520"/>
                  <a:gd name="connsiteY5" fmla="*/ 419100 h 466725"/>
                  <a:gd name="connsiteX6" fmla="*/ 314520 w 314520"/>
                  <a:gd name="connsiteY6" fmla="*/ 466725 h 466725"/>
                  <a:gd name="connsiteX0" fmla="*/ 5751 w 322979"/>
                  <a:gd name="connsiteY0" fmla="*/ 0 h 473976"/>
                  <a:gd name="connsiteX1" fmla="*/ 2576 w 322979"/>
                  <a:gd name="connsiteY1" fmla="*/ 79375 h 473976"/>
                  <a:gd name="connsiteX2" fmla="*/ 72426 w 322979"/>
                  <a:gd name="connsiteY2" fmla="*/ 149225 h 473976"/>
                  <a:gd name="connsiteX3" fmla="*/ 129576 w 322979"/>
                  <a:gd name="connsiteY3" fmla="*/ 269875 h 473976"/>
                  <a:gd name="connsiteX4" fmla="*/ 183551 w 322979"/>
                  <a:gd name="connsiteY4" fmla="*/ 342900 h 473976"/>
                  <a:gd name="connsiteX5" fmla="*/ 231176 w 322979"/>
                  <a:gd name="connsiteY5" fmla="*/ 419100 h 473976"/>
                  <a:gd name="connsiteX6" fmla="*/ 322979 w 322979"/>
                  <a:gd name="connsiteY6" fmla="*/ 473976 h 473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2979" h="473976">
                    <a:moveTo>
                      <a:pt x="5751" y="0"/>
                    </a:moveTo>
                    <a:cubicBezTo>
                      <a:pt x="20832" y="39952"/>
                      <a:pt x="-8536" y="54504"/>
                      <a:pt x="2576" y="79375"/>
                    </a:cubicBezTo>
                    <a:cubicBezTo>
                      <a:pt x="13688" y="104246"/>
                      <a:pt x="51259" y="117475"/>
                      <a:pt x="72426" y="149225"/>
                    </a:cubicBezTo>
                    <a:cubicBezTo>
                      <a:pt x="93593" y="180975"/>
                      <a:pt x="111055" y="237596"/>
                      <a:pt x="129576" y="269875"/>
                    </a:cubicBezTo>
                    <a:cubicBezTo>
                      <a:pt x="148097" y="302154"/>
                      <a:pt x="166618" y="318029"/>
                      <a:pt x="183551" y="342900"/>
                    </a:cubicBezTo>
                    <a:cubicBezTo>
                      <a:pt x="200484" y="367771"/>
                      <a:pt x="209348" y="398463"/>
                      <a:pt x="231176" y="419100"/>
                    </a:cubicBezTo>
                    <a:cubicBezTo>
                      <a:pt x="253004" y="439737"/>
                      <a:pt x="295197" y="460482"/>
                      <a:pt x="322979" y="473976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2" name="Казань-Пермь"/>
              <p:cNvSpPr/>
              <p:nvPr/>
            </p:nvSpPr>
            <p:spPr>
              <a:xfrm>
                <a:off x="2774951" y="4318000"/>
                <a:ext cx="222250" cy="50800"/>
              </a:xfrm>
              <a:custGeom>
                <a:avLst/>
                <a:gdLst>
                  <a:gd name="connsiteX0" fmla="*/ 0 w 536575"/>
                  <a:gd name="connsiteY0" fmla="*/ 50800 h 86029"/>
                  <a:gd name="connsiteX1" fmla="*/ 73025 w 536575"/>
                  <a:gd name="connsiteY1" fmla="*/ 73025 h 86029"/>
                  <a:gd name="connsiteX2" fmla="*/ 184150 w 536575"/>
                  <a:gd name="connsiteY2" fmla="*/ 76200 h 86029"/>
                  <a:gd name="connsiteX3" fmla="*/ 257175 w 536575"/>
                  <a:gd name="connsiteY3" fmla="*/ 85725 h 86029"/>
                  <a:gd name="connsiteX4" fmla="*/ 323850 w 536575"/>
                  <a:gd name="connsiteY4" fmla="*/ 63500 h 86029"/>
                  <a:gd name="connsiteX5" fmla="*/ 371475 w 536575"/>
                  <a:gd name="connsiteY5" fmla="*/ 53975 h 86029"/>
                  <a:gd name="connsiteX6" fmla="*/ 469900 w 536575"/>
                  <a:gd name="connsiteY6" fmla="*/ 44450 h 86029"/>
                  <a:gd name="connsiteX7" fmla="*/ 536575 w 536575"/>
                  <a:gd name="connsiteY7" fmla="*/ 0 h 86029"/>
                  <a:gd name="connsiteX0" fmla="*/ 0 w 536575"/>
                  <a:gd name="connsiteY0" fmla="*/ 50800 h 78198"/>
                  <a:gd name="connsiteX1" fmla="*/ 73025 w 536575"/>
                  <a:gd name="connsiteY1" fmla="*/ 73025 h 78198"/>
                  <a:gd name="connsiteX2" fmla="*/ 184150 w 536575"/>
                  <a:gd name="connsiteY2" fmla="*/ 76200 h 78198"/>
                  <a:gd name="connsiteX3" fmla="*/ 260350 w 536575"/>
                  <a:gd name="connsiteY3" fmla="*/ 47625 h 78198"/>
                  <a:gd name="connsiteX4" fmla="*/ 323850 w 536575"/>
                  <a:gd name="connsiteY4" fmla="*/ 63500 h 78198"/>
                  <a:gd name="connsiteX5" fmla="*/ 371475 w 536575"/>
                  <a:gd name="connsiteY5" fmla="*/ 53975 h 78198"/>
                  <a:gd name="connsiteX6" fmla="*/ 469900 w 536575"/>
                  <a:gd name="connsiteY6" fmla="*/ 44450 h 78198"/>
                  <a:gd name="connsiteX7" fmla="*/ 536575 w 536575"/>
                  <a:gd name="connsiteY7" fmla="*/ 0 h 78198"/>
                  <a:gd name="connsiteX0" fmla="*/ 0 w 536575"/>
                  <a:gd name="connsiteY0" fmla="*/ 50800 h 78198"/>
                  <a:gd name="connsiteX1" fmla="*/ 73025 w 536575"/>
                  <a:gd name="connsiteY1" fmla="*/ 73025 h 78198"/>
                  <a:gd name="connsiteX2" fmla="*/ 184150 w 536575"/>
                  <a:gd name="connsiteY2" fmla="*/ 76200 h 78198"/>
                  <a:gd name="connsiteX3" fmla="*/ 260350 w 536575"/>
                  <a:gd name="connsiteY3" fmla="*/ 47625 h 78198"/>
                  <a:gd name="connsiteX4" fmla="*/ 333375 w 536575"/>
                  <a:gd name="connsiteY4" fmla="*/ 28575 h 78198"/>
                  <a:gd name="connsiteX5" fmla="*/ 371475 w 536575"/>
                  <a:gd name="connsiteY5" fmla="*/ 53975 h 78198"/>
                  <a:gd name="connsiteX6" fmla="*/ 469900 w 536575"/>
                  <a:gd name="connsiteY6" fmla="*/ 44450 h 78198"/>
                  <a:gd name="connsiteX7" fmla="*/ 536575 w 536575"/>
                  <a:gd name="connsiteY7" fmla="*/ 0 h 78198"/>
                  <a:gd name="connsiteX0" fmla="*/ 0 w 536575"/>
                  <a:gd name="connsiteY0" fmla="*/ 50800 h 78198"/>
                  <a:gd name="connsiteX1" fmla="*/ 73025 w 536575"/>
                  <a:gd name="connsiteY1" fmla="*/ 73025 h 78198"/>
                  <a:gd name="connsiteX2" fmla="*/ 184150 w 536575"/>
                  <a:gd name="connsiteY2" fmla="*/ 76200 h 78198"/>
                  <a:gd name="connsiteX3" fmla="*/ 260350 w 536575"/>
                  <a:gd name="connsiteY3" fmla="*/ 47625 h 78198"/>
                  <a:gd name="connsiteX4" fmla="*/ 333375 w 536575"/>
                  <a:gd name="connsiteY4" fmla="*/ 28575 h 78198"/>
                  <a:gd name="connsiteX5" fmla="*/ 381000 w 536575"/>
                  <a:gd name="connsiteY5" fmla="*/ 31750 h 78198"/>
                  <a:gd name="connsiteX6" fmla="*/ 469900 w 536575"/>
                  <a:gd name="connsiteY6" fmla="*/ 44450 h 78198"/>
                  <a:gd name="connsiteX7" fmla="*/ 536575 w 536575"/>
                  <a:gd name="connsiteY7" fmla="*/ 0 h 78198"/>
                  <a:gd name="connsiteX0" fmla="*/ 0 w 536575"/>
                  <a:gd name="connsiteY0" fmla="*/ 50800 h 78198"/>
                  <a:gd name="connsiteX1" fmla="*/ 73025 w 536575"/>
                  <a:gd name="connsiteY1" fmla="*/ 73025 h 78198"/>
                  <a:gd name="connsiteX2" fmla="*/ 184150 w 536575"/>
                  <a:gd name="connsiteY2" fmla="*/ 76200 h 78198"/>
                  <a:gd name="connsiteX3" fmla="*/ 260350 w 536575"/>
                  <a:gd name="connsiteY3" fmla="*/ 47625 h 78198"/>
                  <a:gd name="connsiteX4" fmla="*/ 330200 w 536575"/>
                  <a:gd name="connsiteY4" fmla="*/ 41275 h 78198"/>
                  <a:gd name="connsiteX5" fmla="*/ 381000 w 536575"/>
                  <a:gd name="connsiteY5" fmla="*/ 31750 h 78198"/>
                  <a:gd name="connsiteX6" fmla="*/ 469900 w 536575"/>
                  <a:gd name="connsiteY6" fmla="*/ 44450 h 78198"/>
                  <a:gd name="connsiteX7" fmla="*/ 536575 w 536575"/>
                  <a:gd name="connsiteY7" fmla="*/ 0 h 78198"/>
                  <a:gd name="connsiteX0" fmla="*/ 0 w 533400"/>
                  <a:gd name="connsiteY0" fmla="*/ 44450 h 78451"/>
                  <a:gd name="connsiteX1" fmla="*/ 69850 w 533400"/>
                  <a:gd name="connsiteY1" fmla="*/ 73025 h 78451"/>
                  <a:gd name="connsiteX2" fmla="*/ 180975 w 533400"/>
                  <a:gd name="connsiteY2" fmla="*/ 76200 h 78451"/>
                  <a:gd name="connsiteX3" fmla="*/ 257175 w 533400"/>
                  <a:gd name="connsiteY3" fmla="*/ 47625 h 78451"/>
                  <a:gd name="connsiteX4" fmla="*/ 327025 w 533400"/>
                  <a:gd name="connsiteY4" fmla="*/ 41275 h 78451"/>
                  <a:gd name="connsiteX5" fmla="*/ 377825 w 533400"/>
                  <a:gd name="connsiteY5" fmla="*/ 31750 h 78451"/>
                  <a:gd name="connsiteX6" fmla="*/ 466725 w 533400"/>
                  <a:gd name="connsiteY6" fmla="*/ 44450 h 78451"/>
                  <a:gd name="connsiteX7" fmla="*/ 533400 w 533400"/>
                  <a:gd name="connsiteY7" fmla="*/ 0 h 78451"/>
                  <a:gd name="connsiteX0" fmla="*/ 0 w 533400"/>
                  <a:gd name="connsiteY0" fmla="*/ 44450 h 78451"/>
                  <a:gd name="connsiteX1" fmla="*/ 69850 w 533400"/>
                  <a:gd name="connsiteY1" fmla="*/ 73025 h 78451"/>
                  <a:gd name="connsiteX2" fmla="*/ 180975 w 533400"/>
                  <a:gd name="connsiteY2" fmla="*/ 76200 h 78451"/>
                  <a:gd name="connsiteX3" fmla="*/ 257175 w 533400"/>
                  <a:gd name="connsiteY3" fmla="*/ 47625 h 78451"/>
                  <a:gd name="connsiteX4" fmla="*/ 327025 w 533400"/>
                  <a:gd name="connsiteY4" fmla="*/ 41275 h 78451"/>
                  <a:gd name="connsiteX5" fmla="*/ 377825 w 533400"/>
                  <a:gd name="connsiteY5" fmla="*/ 31750 h 78451"/>
                  <a:gd name="connsiteX6" fmla="*/ 466725 w 533400"/>
                  <a:gd name="connsiteY6" fmla="*/ 44450 h 78451"/>
                  <a:gd name="connsiteX7" fmla="*/ 533400 w 533400"/>
                  <a:gd name="connsiteY7" fmla="*/ 0 h 78451"/>
                  <a:gd name="connsiteX0" fmla="*/ 0 w 463550"/>
                  <a:gd name="connsiteY0" fmla="*/ 73025 h 78451"/>
                  <a:gd name="connsiteX1" fmla="*/ 111125 w 463550"/>
                  <a:gd name="connsiteY1" fmla="*/ 76200 h 78451"/>
                  <a:gd name="connsiteX2" fmla="*/ 187325 w 463550"/>
                  <a:gd name="connsiteY2" fmla="*/ 47625 h 78451"/>
                  <a:gd name="connsiteX3" fmla="*/ 257175 w 463550"/>
                  <a:gd name="connsiteY3" fmla="*/ 41275 h 78451"/>
                  <a:gd name="connsiteX4" fmla="*/ 307975 w 463550"/>
                  <a:gd name="connsiteY4" fmla="*/ 31750 h 78451"/>
                  <a:gd name="connsiteX5" fmla="*/ 396875 w 463550"/>
                  <a:gd name="connsiteY5" fmla="*/ 44450 h 78451"/>
                  <a:gd name="connsiteX6" fmla="*/ 463550 w 463550"/>
                  <a:gd name="connsiteY6" fmla="*/ 0 h 78451"/>
                  <a:gd name="connsiteX0" fmla="*/ 0 w 352425"/>
                  <a:gd name="connsiteY0" fmla="*/ 76200 h 76200"/>
                  <a:gd name="connsiteX1" fmla="*/ 76200 w 352425"/>
                  <a:gd name="connsiteY1" fmla="*/ 47625 h 76200"/>
                  <a:gd name="connsiteX2" fmla="*/ 146050 w 352425"/>
                  <a:gd name="connsiteY2" fmla="*/ 41275 h 76200"/>
                  <a:gd name="connsiteX3" fmla="*/ 196850 w 352425"/>
                  <a:gd name="connsiteY3" fmla="*/ 31750 h 76200"/>
                  <a:gd name="connsiteX4" fmla="*/ 285750 w 352425"/>
                  <a:gd name="connsiteY4" fmla="*/ 44450 h 76200"/>
                  <a:gd name="connsiteX5" fmla="*/ 352425 w 352425"/>
                  <a:gd name="connsiteY5" fmla="*/ 0 h 76200"/>
                  <a:gd name="connsiteX0" fmla="*/ 0 w 276225"/>
                  <a:gd name="connsiteY0" fmla="*/ 47625 h 47625"/>
                  <a:gd name="connsiteX1" fmla="*/ 69850 w 276225"/>
                  <a:gd name="connsiteY1" fmla="*/ 41275 h 47625"/>
                  <a:gd name="connsiteX2" fmla="*/ 120650 w 276225"/>
                  <a:gd name="connsiteY2" fmla="*/ 31750 h 47625"/>
                  <a:gd name="connsiteX3" fmla="*/ 209550 w 276225"/>
                  <a:gd name="connsiteY3" fmla="*/ 44450 h 47625"/>
                  <a:gd name="connsiteX4" fmla="*/ 276225 w 276225"/>
                  <a:gd name="connsiteY4" fmla="*/ 0 h 47625"/>
                  <a:gd name="connsiteX0" fmla="*/ 0 w 206375"/>
                  <a:gd name="connsiteY0" fmla="*/ 41275 h 45447"/>
                  <a:gd name="connsiteX1" fmla="*/ 50800 w 206375"/>
                  <a:gd name="connsiteY1" fmla="*/ 31750 h 45447"/>
                  <a:gd name="connsiteX2" fmla="*/ 139700 w 206375"/>
                  <a:gd name="connsiteY2" fmla="*/ 44450 h 45447"/>
                  <a:gd name="connsiteX3" fmla="*/ 206375 w 206375"/>
                  <a:gd name="connsiteY3" fmla="*/ 0 h 45447"/>
                  <a:gd name="connsiteX0" fmla="*/ 0 w 222250"/>
                  <a:gd name="connsiteY0" fmla="*/ 50800 h 50800"/>
                  <a:gd name="connsiteX1" fmla="*/ 66675 w 222250"/>
                  <a:gd name="connsiteY1" fmla="*/ 31750 h 50800"/>
                  <a:gd name="connsiteX2" fmla="*/ 155575 w 222250"/>
                  <a:gd name="connsiteY2" fmla="*/ 44450 h 50800"/>
                  <a:gd name="connsiteX3" fmla="*/ 222250 w 222250"/>
                  <a:gd name="connsiteY3" fmla="*/ 0 h 5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2250" h="50800">
                    <a:moveTo>
                      <a:pt x="0" y="50800"/>
                    </a:moveTo>
                    <a:cubicBezTo>
                      <a:pt x="20108" y="48154"/>
                      <a:pt x="40746" y="32808"/>
                      <a:pt x="66675" y="31750"/>
                    </a:cubicBezTo>
                    <a:cubicBezTo>
                      <a:pt x="92604" y="30692"/>
                      <a:pt x="129646" y="49742"/>
                      <a:pt x="155575" y="44450"/>
                    </a:cubicBezTo>
                    <a:cubicBezTo>
                      <a:pt x="181504" y="39158"/>
                      <a:pt x="202671" y="17727"/>
                      <a:pt x="22225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3" name="Самара-Челябинск"/>
              <p:cNvSpPr/>
              <p:nvPr/>
            </p:nvSpPr>
            <p:spPr>
              <a:xfrm>
                <a:off x="2357675" y="4624767"/>
                <a:ext cx="696368" cy="227842"/>
              </a:xfrm>
              <a:custGeom>
                <a:avLst/>
                <a:gdLst>
                  <a:gd name="connsiteX0" fmla="*/ 0 w 711200"/>
                  <a:gd name="connsiteY0" fmla="*/ 0 h 139700"/>
                  <a:gd name="connsiteX1" fmla="*/ 101600 w 711200"/>
                  <a:gd name="connsiteY1" fmla="*/ 22225 h 139700"/>
                  <a:gd name="connsiteX2" fmla="*/ 187325 w 711200"/>
                  <a:gd name="connsiteY2" fmla="*/ 15875 h 139700"/>
                  <a:gd name="connsiteX3" fmla="*/ 234950 w 711200"/>
                  <a:gd name="connsiteY3" fmla="*/ 15875 h 139700"/>
                  <a:gd name="connsiteX4" fmla="*/ 269875 w 711200"/>
                  <a:gd name="connsiteY4" fmla="*/ 38100 h 139700"/>
                  <a:gd name="connsiteX5" fmla="*/ 374650 w 711200"/>
                  <a:gd name="connsiteY5" fmla="*/ 63500 h 139700"/>
                  <a:gd name="connsiteX6" fmla="*/ 396875 w 711200"/>
                  <a:gd name="connsiteY6" fmla="*/ 111125 h 139700"/>
                  <a:gd name="connsiteX7" fmla="*/ 447675 w 711200"/>
                  <a:gd name="connsiteY7" fmla="*/ 111125 h 139700"/>
                  <a:gd name="connsiteX8" fmla="*/ 492125 w 711200"/>
                  <a:gd name="connsiteY8" fmla="*/ 98425 h 139700"/>
                  <a:gd name="connsiteX9" fmla="*/ 549275 w 711200"/>
                  <a:gd name="connsiteY9" fmla="*/ 104775 h 139700"/>
                  <a:gd name="connsiteX10" fmla="*/ 615950 w 711200"/>
                  <a:gd name="connsiteY10" fmla="*/ 120650 h 139700"/>
                  <a:gd name="connsiteX11" fmla="*/ 676275 w 711200"/>
                  <a:gd name="connsiteY11" fmla="*/ 98425 h 139700"/>
                  <a:gd name="connsiteX12" fmla="*/ 711200 w 711200"/>
                  <a:gd name="connsiteY12" fmla="*/ 139700 h 139700"/>
                  <a:gd name="connsiteX13" fmla="*/ 711200 w 711200"/>
                  <a:gd name="connsiteY13" fmla="*/ 139700 h 139700"/>
                  <a:gd name="connsiteX0" fmla="*/ 0 w 711200"/>
                  <a:gd name="connsiteY0" fmla="*/ 0 h 139700"/>
                  <a:gd name="connsiteX1" fmla="*/ 101600 w 711200"/>
                  <a:gd name="connsiteY1" fmla="*/ 22225 h 139700"/>
                  <a:gd name="connsiteX2" fmla="*/ 187325 w 711200"/>
                  <a:gd name="connsiteY2" fmla="*/ 15875 h 139700"/>
                  <a:gd name="connsiteX3" fmla="*/ 234950 w 711200"/>
                  <a:gd name="connsiteY3" fmla="*/ 15875 h 139700"/>
                  <a:gd name="connsiteX4" fmla="*/ 269875 w 711200"/>
                  <a:gd name="connsiteY4" fmla="*/ 38100 h 139700"/>
                  <a:gd name="connsiteX5" fmla="*/ 374650 w 711200"/>
                  <a:gd name="connsiteY5" fmla="*/ 63500 h 139700"/>
                  <a:gd name="connsiteX6" fmla="*/ 396875 w 711200"/>
                  <a:gd name="connsiteY6" fmla="*/ 111125 h 139700"/>
                  <a:gd name="connsiteX7" fmla="*/ 447675 w 711200"/>
                  <a:gd name="connsiteY7" fmla="*/ 111125 h 139700"/>
                  <a:gd name="connsiteX8" fmla="*/ 492125 w 711200"/>
                  <a:gd name="connsiteY8" fmla="*/ 98425 h 139700"/>
                  <a:gd name="connsiteX9" fmla="*/ 555625 w 711200"/>
                  <a:gd name="connsiteY9" fmla="*/ 130175 h 139700"/>
                  <a:gd name="connsiteX10" fmla="*/ 615950 w 711200"/>
                  <a:gd name="connsiteY10" fmla="*/ 120650 h 139700"/>
                  <a:gd name="connsiteX11" fmla="*/ 676275 w 711200"/>
                  <a:gd name="connsiteY11" fmla="*/ 98425 h 139700"/>
                  <a:gd name="connsiteX12" fmla="*/ 711200 w 711200"/>
                  <a:gd name="connsiteY12" fmla="*/ 139700 h 139700"/>
                  <a:gd name="connsiteX13" fmla="*/ 711200 w 711200"/>
                  <a:gd name="connsiteY13" fmla="*/ 139700 h 139700"/>
                  <a:gd name="connsiteX0" fmla="*/ 0 w 711200"/>
                  <a:gd name="connsiteY0" fmla="*/ 0 h 139700"/>
                  <a:gd name="connsiteX1" fmla="*/ 101600 w 711200"/>
                  <a:gd name="connsiteY1" fmla="*/ 22225 h 139700"/>
                  <a:gd name="connsiteX2" fmla="*/ 187325 w 711200"/>
                  <a:gd name="connsiteY2" fmla="*/ 15875 h 139700"/>
                  <a:gd name="connsiteX3" fmla="*/ 234950 w 711200"/>
                  <a:gd name="connsiteY3" fmla="*/ 15875 h 139700"/>
                  <a:gd name="connsiteX4" fmla="*/ 269875 w 711200"/>
                  <a:gd name="connsiteY4" fmla="*/ 38100 h 139700"/>
                  <a:gd name="connsiteX5" fmla="*/ 374650 w 711200"/>
                  <a:gd name="connsiteY5" fmla="*/ 63500 h 139700"/>
                  <a:gd name="connsiteX6" fmla="*/ 396875 w 711200"/>
                  <a:gd name="connsiteY6" fmla="*/ 111125 h 139700"/>
                  <a:gd name="connsiteX7" fmla="*/ 447675 w 711200"/>
                  <a:gd name="connsiteY7" fmla="*/ 111125 h 139700"/>
                  <a:gd name="connsiteX8" fmla="*/ 498475 w 711200"/>
                  <a:gd name="connsiteY8" fmla="*/ 133350 h 139700"/>
                  <a:gd name="connsiteX9" fmla="*/ 555625 w 711200"/>
                  <a:gd name="connsiteY9" fmla="*/ 130175 h 139700"/>
                  <a:gd name="connsiteX10" fmla="*/ 615950 w 711200"/>
                  <a:gd name="connsiteY10" fmla="*/ 120650 h 139700"/>
                  <a:gd name="connsiteX11" fmla="*/ 676275 w 711200"/>
                  <a:gd name="connsiteY11" fmla="*/ 98425 h 139700"/>
                  <a:gd name="connsiteX12" fmla="*/ 711200 w 711200"/>
                  <a:gd name="connsiteY12" fmla="*/ 139700 h 139700"/>
                  <a:gd name="connsiteX13" fmla="*/ 711200 w 711200"/>
                  <a:gd name="connsiteY13" fmla="*/ 139700 h 139700"/>
                  <a:gd name="connsiteX0" fmla="*/ 0 w 711209"/>
                  <a:gd name="connsiteY0" fmla="*/ 0 h 225425"/>
                  <a:gd name="connsiteX1" fmla="*/ 101600 w 711209"/>
                  <a:gd name="connsiteY1" fmla="*/ 22225 h 225425"/>
                  <a:gd name="connsiteX2" fmla="*/ 187325 w 711209"/>
                  <a:gd name="connsiteY2" fmla="*/ 15875 h 225425"/>
                  <a:gd name="connsiteX3" fmla="*/ 234950 w 711209"/>
                  <a:gd name="connsiteY3" fmla="*/ 15875 h 225425"/>
                  <a:gd name="connsiteX4" fmla="*/ 269875 w 711209"/>
                  <a:gd name="connsiteY4" fmla="*/ 38100 h 225425"/>
                  <a:gd name="connsiteX5" fmla="*/ 374650 w 711209"/>
                  <a:gd name="connsiteY5" fmla="*/ 63500 h 225425"/>
                  <a:gd name="connsiteX6" fmla="*/ 396875 w 711209"/>
                  <a:gd name="connsiteY6" fmla="*/ 111125 h 225425"/>
                  <a:gd name="connsiteX7" fmla="*/ 447675 w 711209"/>
                  <a:gd name="connsiteY7" fmla="*/ 111125 h 225425"/>
                  <a:gd name="connsiteX8" fmla="*/ 498475 w 711209"/>
                  <a:gd name="connsiteY8" fmla="*/ 133350 h 225425"/>
                  <a:gd name="connsiteX9" fmla="*/ 555625 w 711209"/>
                  <a:gd name="connsiteY9" fmla="*/ 130175 h 225425"/>
                  <a:gd name="connsiteX10" fmla="*/ 615950 w 711209"/>
                  <a:gd name="connsiteY10" fmla="*/ 120650 h 225425"/>
                  <a:gd name="connsiteX11" fmla="*/ 676275 w 711209"/>
                  <a:gd name="connsiteY11" fmla="*/ 98425 h 225425"/>
                  <a:gd name="connsiteX12" fmla="*/ 711200 w 711209"/>
                  <a:gd name="connsiteY12" fmla="*/ 139700 h 225425"/>
                  <a:gd name="connsiteX13" fmla="*/ 679450 w 711209"/>
                  <a:gd name="connsiteY13" fmla="*/ 225425 h 225425"/>
                  <a:gd name="connsiteX0" fmla="*/ 0 w 681579"/>
                  <a:gd name="connsiteY0" fmla="*/ 0 h 225425"/>
                  <a:gd name="connsiteX1" fmla="*/ 101600 w 681579"/>
                  <a:gd name="connsiteY1" fmla="*/ 22225 h 225425"/>
                  <a:gd name="connsiteX2" fmla="*/ 187325 w 681579"/>
                  <a:gd name="connsiteY2" fmla="*/ 15875 h 225425"/>
                  <a:gd name="connsiteX3" fmla="*/ 234950 w 681579"/>
                  <a:gd name="connsiteY3" fmla="*/ 15875 h 225425"/>
                  <a:gd name="connsiteX4" fmla="*/ 269875 w 681579"/>
                  <a:gd name="connsiteY4" fmla="*/ 38100 h 225425"/>
                  <a:gd name="connsiteX5" fmla="*/ 374650 w 681579"/>
                  <a:gd name="connsiteY5" fmla="*/ 63500 h 225425"/>
                  <a:gd name="connsiteX6" fmla="*/ 396875 w 681579"/>
                  <a:gd name="connsiteY6" fmla="*/ 111125 h 225425"/>
                  <a:gd name="connsiteX7" fmla="*/ 447675 w 681579"/>
                  <a:gd name="connsiteY7" fmla="*/ 111125 h 225425"/>
                  <a:gd name="connsiteX8" fmla="*/ 498475 w 681579"/>
                  <a:gd name="connsiteY8" fmla="*/ 133350 h 225425"/>
                  <a:gd name="connsiteX9" fmla="*/ 555625 w 681579"/>
                  <a:gd name="connsiteY9" fmla="*/ 130175 h 225425"/>
                  <a:gd name="connsiteX10" fmla="*/ 615950 w 681579"/>
                  <a:gd name="connsiteY10" fmla="*/ 120650 h 225425"/>
                  <a:gd name="connsiteX11" fmla="*/ 676275 w 681579"/>
                  <a:gd name="connsiteY11" fmla="*/ 98425 h 225425"/>
                  <a:gd name="connsiteX12" fmla="*/ 657225 w 681579"/>
                  <a:gd name="connsiteY12" fmla="*/ 180975 h 225425"/>
                  <a:gd name="connsiteX13" fmla="*/ 679450 w 681579"/>
                  <a:gd name="connsiteY13" fmla="*/ 225425 h 225425"/>
                  <a:gd name="connsiteX0" fmla="*/ 0 w 681774"/>
                  <a:gd name="connsiteY0" fmla="*/ 0 h 225425"/>
                  <a:gd name="connsiteX1" fmla="*/ 101600 w 681774"/>
                  <a:gd name="connsiteY1" fmla="*/ 22225 h 225425"/>
                  <a:gd name="connsiteX2" fmla="*/ 187325 w 681774"/>
                  <a:gd name="connsiteY2" fmla="*/ 15875 h 225425"/>
                  <a:gd name="connsiteX3" fmla="*/ 234950 w 681774"/>
                  <a:gd name="connsiteY3" fmla="*/ 15875 h 225425"/>
                  <a:gd name="connsiteX4" fmla="*/ 269875 w 681774"/>
                  <a:gd name="connsiteY4" fmla="*/ 38100 h 225425"/>
                  <a:gd name="connsiteX5" fmla="*/ 374650 w 681774"/>
                  <a:gd name="connsiteY5" fmla="*/ 63500 h 225425"/>
                  <a:gd name="connsiteX6" fmla="*/ 396875 w 681774"/>
                  <a:gd name="connsiteY6" fmla="*/ 111125 h 225425"/>
                  <a:gd name="connsiteX7" fmla="*/ 447675 w 681774"/>
                  <a:gd name="connsiteY7" fmla="*/ 111125 h 225425"/>
                  <a:gd name="connsiteX8" fmla="*/ 498475 w 681774"/>
                  <a:gd name="connsiteY8" fmla="*/ 133350 h 225425"/>
                  <a:gd name="connsiteX9" fmla="*/ 555625 w 681774"/>
                  <a:gd name="connsiteY9" fmla="*/ 130175 h 225425"/>
                  <a:gd name="connsiteX10" fmla="*/ 615950 w 681774"/>
                  <a:gd name="connsiteY10" fmla="*/ 120650 h 225425"/>
                  <a:gd name="connsiteX11" fmla="*/ 676275 w 681774"/>
                  <a:gd name="connsiteY11" fmla="*/ 98425 h 225425"/>
                  <a:gd name="connsiteX12" fmla="*/ 679450 w 681774"/>
                  <a:gd name="connsiteY12" fmla="*/ 225425 h 225425"/>
                  <a:gd name="connsiteX0" fmla="*/ 0 w 679450"/>
                  <a:gd name="connsiteY0" fmla="*/ 0 h 225425"/>
                  <a:gd name="connsiteX1" fmla="*/ 101600 w 679450"/>
                  <a:gd name="connsiteY1" fmla="*/ 22225 h 225425"/>
                  <a:gd name="connsiteX2" fmla="*/ 187325 w 679450"/>
                  <a:gd name="connsiteY2" fmla="*/ 15875 h 225425"/>
                  <a:gd name="connsiteX3" fmla="*/ 234950 w 679450"/>
                  <a:gd name="connsiteY3" fmla="*/ 15875 h 225425"/>
                  <a:gd name="connsiteX4" fmla="*/ 269875 w 679450"/>
                  <a:gd name="connsiteY4" fmla="*/ 38100 h 225425"/>
                  <a:gd name="connsiteX5" fmla="*/ 374650 w 679450"/>
                  <a:gd name="connsiteY5" fmla="*/ 63500 h 225425"/>
                  <a:gd name="connsiteX6" fmla="*/ 396875 w 679450"/>
                  <a:gd name="connsiteY6" fmla="*/ 111125 h 225425"/>
                  <a:gd name="connsiteX7" fmla="*/ 447675 w 679450"/>
                  <a:gd name="connsiteY7" fmla="*/ 111125 h 225425"/>
                  <a:gd name="connsiteX8" fmla="*/ 498475 w 679450"/>
                  <a:gd name="connsiteY8" fmla="*/ 133350 h 225425"/>
                  <a:gd name="connsiteX9" fmla="*/ 555625 w 679450"/>
                  <a:gd name="connsiteY9" fmla="*/ 130175 h 225425"/>
                  <a:gd name="connsiteX10" fmla="*/ 615950 w 679450"/>
                  <a:gd name="connsiteY10" fmla="*/ 120650 h 225425"/>
                  <a:gd name="connsiteX11" fmla="*/ 647700 w 679450"/>
                  <a:gd name="connsiteY11" fmla="*/ 193675 h 225425"/>
                  <a:gd name="connsiteX12" fmla="*/ 679450 w 679450"/>
                  <a:gd name="connsiteY12" fmla="*/ 225425 h 225425"/>
                  <a:gd name="connsiteX0" fmla="*/ 0 w 679450"/>
                  <a:gd name="connsiteY0" fmla="*/ 0 h 225425"/>
                  <a:gd name="connsiteX1" fmla="*/ 101600 w 679450"/>
                  <a:gd name="connsiteY1" fmla="*/ 22225 h 225425"/>
                  <a:gd name="connsiteX2" fmla="*/ 187325 w 679450"/>
                  <a:gd name="connsiteY2" fmla="*/ 15875 h 225425"/>
                  <a:gd name="connsiteX3" fmla="*/ 234950 w 679450"/>
                  <a:gd name="connsiteY3" fmla="*/ 15875 h 225425"/>
                  <a:gd name="connsiteX4" fmla="*/ 269875 w 679450"/>
                  <a:gd name="connsiteY4" fmla="*/ 38100 h 225425"/>
                  <a:gd name="connsiteX5" fmla="*/ 374650 w 679450"/>
                  <a:gd name="connsiteY5" fmla="*/ 63500 h 225425"/>
                  <a:gd name="connsiteX6" fmla="*/ 396875 w 679450"/>
                  <a:gd name="connsiteY6" fmla="*/ 111125 h 225425"/>
                  <a:gd name="connsiteX7" fmla="*/ 447675 w 679450"/>
                  <a:gd name="connsiteY7" fmla="*/ 111125 h 225425"/>
                  <a:gd name="connsiteX8" fmla="*/ 498475 w 679450"/>
                  <a:gd name="connsiteY8" fmla="*/ 133350 h 225425"/>
                  <a:gd name="connsiteX9" fmla="*/ 555625 w 679450"/>
                  <a:gd name="connsiteY9" fmla="*/ 130175 h 225425"/>
                  <a:gd name="connsiteX10" fmla="*/ 638175 w 679450"/>
                  <a:gd name="connsiteY10" fmla="*/ 152400 h 225425"/>
                  <a:gd name="connsiteX11" fmla="*/ 647700 w 679450"/>
                  <a:gd name="connsiteY11" fmla="*/ 193675 h 225425"/>
                  <a:gd name="connsiteX12" fmla="*/ 679450 w 679450"/>
                  <a:gd name="connsiteY12" fmla="*/ 225425 h 225425"/>
                  <a:gd name="connsiteX0" fmla="*/ 0 w 679450"/>
                  <a:gd name="connsiteY0" fmla="*/ 0 h 225425"/>
                  <a:gd name="connsiteX1" fmla="*/ 101600 w 679450"/>
                  <a:gd name="connsiteY1" fmla="*/ 22225 h 225425"/>
                  <a:gd name="connsiteX2" fmla="*/ 187325 w 679450"/>
                  <a:gd name="connsiteY2" fmla="*/ 15875 h 225425"/>
                  <a:gd name="connsiteX3" fmla="*/ 234950 w 679450"/>
                  <a:gd name="connsiteY3" fmla="*/ 15875 h 225425"/>
                  <a:gd name="connsiteX4" fmla="*/ 269875 w 679450"/>
                  <a:gd name="connsiteY4" fmla="*/ 38100 h 225425"/>
                  <a:gd name="connsiteX5" fmla="*/ 374650 w 679450"/>
                  <a:gd name="connsiteY5" fmla="*/ 63500 h 225425"/>
                  <a:gd name="connsiteX6" fmla="*/ 396875 w 679450"/>
                  <a:gd name="connsiteY6" fmla="*/ 111125 h 225425"/>
                  <a:gd name="connsiteX7" fmla="*/ 447675 w 679450"/>
                  <a:gd name="connsiteY7" fmla="*/ 111125 h 225425"/>
                  <a:gd name="connsiteX8" fmla="*/ 498475 w 679450"/>
                  <a:gd name="connsiteY8" fmla="*/ 133350 h 225425"/>
                  <a:gd name="connsiteX9" fmla="*/ 555625 w 679450"/>
                  <a:gd name="connsiteY9" fmla="*/ 130175 h 225425"/>
                  <a:gd name="connsiteX10" fmla="*/ 615950 w 679450"/>
                  <a:gd name="connsiteY10" fmla="*/ 149225 h 225425"/>
                  <a:gd name="connsiteX11" fmla="*/ 647700 w 679450"/>
                  <a:gd name="connsiteY11" fmla="*/ 193675 h 225425"/>
                  <a:gd name="connsiteX12" fmla="*/ 679450 w 679450"/>
                  <a:gd name="connsiteY12" fmla="*/ 225425 h 225425"/>
                  <a:gd name="connsiteX0" fmla="*/ 0 w 679450"/>
                  <a:gd name="connsiteY0" fmla="*/ 0 h 225425"/>
                  <a:gd name="connsiteX1" fmla="*/ 101600 w 679450"/>
                  <a:gd name="connsiteY1" fmla="*/ 22225 h 225425"/>
                  <a:gd name="connsiteX2" fmla="*/ 187325 w 679450"/>
                  <a:gd name="connsiteY2" fmla="*/ 15875 h 225425"/>
                  <a:gd name="connsiteX3" fmla="*/ 234950 w 679450"/>
                  <a:gd name="connsiteY3" fmla="*/ 15875 h 225425"/>
                  <a:gd name="connsiteX4" fmla="*/ 269875 w 679450"/>
                  <a:gd name="connsiteY4" fmla="*/ 38100 h 225425"/>
                  <a:gd name="connsiteX5" fmla="*/ 374650 w 679450"/>
                  <a:gd name="connsiteY5" fmla="*/ 63500 h 225425"/>
                  <a:gd name="connsiteX6" fmla="*/ 409575 w 679450"/>
                  <a:gd name="connsiteY6" fmla="*/ 101600 h 225425"/>
                  <a:gd name="connsiteX7" fmla="*/ 447675 w 679450"/>
                  <a:gd name="connsiteY7" fmla="*/ 111125 h 225425"/>
                  <a:gd name="connsiteX8" fmla="*/ 498475 w 679450"/>
                  <a:gd name="connsiteY8" fmla="*/ 133350 h 225425"/>
                  <a:gd name="connsiteX9" fmla="*/ 555625 w 679450"/>
                  <a:gd name="connsiteY9" fmla="*/ 130175 h 225425"/>
                  <a:gd name="connsiteX10" fmla="*/ 615950 w 679450"/>
                  <a:gd name="connsiteY10" fmla="*/ 149225 h 225425"/>
                  <a:gd name="connsiteX11" fmla="*/ 647700 w 679450"/>
                  <a:gd name="connsiteY11" fmla="*/ 193675 h 225425"/>
                  <a:gd name="connsiteX12" fmla="*/ 679450 w 679450"/>
                  <a:gd name="connsiteY12" fmla="*/ 225425 h 225425"/>
                  <a:gd name="connsiteX0" fmla="*/ 0 w 679450"/>
                  <a:gd name="connsiteY0" fmla="*/ 0 h 225425"/>
                  <a:gd name="connsiteX1" fmla="*/ 101600 w 679450"/>
                  <a:gd name="connsiteY1" fmla="*/ 22225 h 225425"/>
                  <a:gd name="connsiteX2" fmla="*/ 187325 w 679450"/>
                  <a:gd name="connsiteY2" fmla="*/ 15875 h 225425"/>
                  <a:gd name="connsiteX3" fmla="*/ 234950 w 679450"/>
                  <a:gd name="connsiteY3" fmla="*/ 15875 h 225425"/>
                  <a:gd name="connsiteX4" fmla="*/ 269875 w 679450"/>
                  <a:gd name="connsiteY4" fmla="*/ 38100 h 225425"/>
                  <a:gd name="connsiteX5" fmla="*/ 374650 w 679450"/>
                  <a:gd name="connsiteY5" fmla="*/ 63500 h 225425"/>
                  <a:gd name="connsiteX6" fmla="*/ 409575 w 679450"/>
                  <a:gd name="connsiteY6" fmla="*/ 101600 h 225425"/>
                  <a:gd name="connsiteX7" fmla="*/ 447675 w 679450"/>
                  <a:gd name="connsiteY7" fmla="*/ 111125 h 225425"/>
                  <a:gd name="connsiteX8" fmla="*/ 498475 w 679450"/>
                  <a:gd name="connsiteY8" fmla="*/ 133350 h 225425"/>
                  <a:gd name="connsiteX9" fmla="*/ 555625 w 679450"/>
                  <a:gd name="connsiteY9" fmla="*/ 130175 h 225425"/>
                  <a:gd name="connsiteX10" fmla="*/ 615950 w 679450"/>
                  <a:gd name="connsiteY10" fmla="*/ 149225 h 225425"/>
                  <a:gd name="connsiteX11" fmla="*/ 647700 w 679450"/>
                  <a:gd name="connsiteY11" fmla="*/ 193675 h 225425"/>
                  <a:gd name="connsiteX12" fmla="*/ 679450 w 679450"/>
                  <a:gd name="connsiteY12" fmla="*/ 225425 h 225425"/>
                  <a:gd name="connsiteX0" fmla="*/ 0 w 690326"/>
                  <a:gd name="connsiteY0" fmla="*/ 0 h 226633"/>
                  <a:gd name="connsiteX1" fmla="*/ 112476 w 690326"/>
                  <a:gd name="connsiteY1" fmla="*/ 23433 h 226633"/>
                  <a:gd name="connsiteX2" fmla="*/ 198201 w 690326"/>
                  <a:gd name="connsiteY2" fmla="*/ 17083 h 226633"/>
                  <a:gd name="connsiteX3" fmla="*/ 245826 w 690326"/>
                  <a:gd name="connsiteY3" fmla="*/ 17083 h 226633"/>
                  <a:gd name="connsiteX4" fmla="*/ 280751 w 690326"/>
                  <a:gd name="connsiteY4" fmla="*/ 39308 h 226633"/>
                  <a:gd name="connsiteX5" fmla="*/ 385526 w 690326"/>
                  <a:gd name="connsiteY5" fmla="*/ 64708 h 226633"/>
                  <a:gd name="connsiteX6" fmla="*/ 420451 w 690326"/>
                  <a:gd name="connsiteY6" fmla="*/ 102808 h 226633"/>
                  <a:gd name="connsiteX7" fmla="*/ 458551 w 690326"/>
                  <a:gd name="connsiteY7" fmla="*/ 112333 h 226633"/>
                  <a:gd name="connsiteX8" fmla="*/ 509351 w 690326"/>
                  <a:gd name="connsiteY8" fmla="*/ 134558 h 226633"/>
                  <a:gd name="connsiteX9" fmla="*/ 566501 w 690326"/>
                  <a:gd name="connsiteY9" fmla="*/ 131383 h 226633"/>
                  <a:gd name="connsiteX10" fmla="*/ 626826 w 690326"/>
                  <a:gd name="connsiteY10" fmla="*/ 150433 h 226633"/>
                  <a:gd name="connsiteX11" fmla="*/ 658576 w 690326"/>
                  <a:gd name="connsiteY11" fmla="*/ 194883 h 226633"/>
                  <a:gd name="connsiteX12" fmla="*/ 690326 w 690326"/>
                  <a:gd name="connsiteY12" fmla="*/ 226633 h 226633"/>
                  <a:gd name="connsiteX0" fmla="*/ 0 w 696368"/>
                  <a:gd name="connsiteY0" fmla="*/ 0 h 227842"/>
                  <a:gd name="connsiteX1" fmla="*/ 112476 w 696368"/>
                  <a:gd name="connsiteY1" fmla="*/ 23433 h 227842"/>
                  <a:gd name="connsiteX2" fmla="*/ 198201 w 696368"/>
                  <a:gd name="connsiteY2" fmla="*/ 17083 h 227842"/>
                  <a:gd name="connsiteX3" fmla="*/ 245826 w 696368"/>
                  <a:gd name="connsiteY3" fmla="*/ 17083 h 227842"/>
                  <a:gd name="connsiteX4" fmla="*/ 280751 w 696368"/>
                  <a:gd name="connsiteY4" fmla="*/ 39308 h 227842"/>
                  <a:gd name="connsiteX5" fmla="*/ 385526 w 696368"/>
                  <a:gd name="connsiteY5" fmla="*/ 64708 h 227842"/>
                  <a:gd name="connsiteX6" fmla="*/ 420451 w 696368"/>
                  <a:gd name="connsiteY6" fmla="*/ 102808 h 227842"/>
                  <a:gd name="connsiteX7" fmla="*/ 458551 w 696368"/>
                  <a:gd name="connsiteY7" fmla="*/ 112333 h 227842"/>
                  <a:gd name="connsiteX8" fmla="*/ 509351 w 696368"/>
                  <a:gd name="connsiteY8" fmla="*/ 134558 h 227842"/>
                  <a:gd name="connsiteX9" fmla="*/ 566501 w 696368"/>
                  <a:gd name="connsiteY9" fmla="*/ 131383 h 227842"/>
                  <a:gd name="connsiteX10" fmla="*/ 626826 w 696368"/>
                  <a:gd name="connsiteY10" fmla="*/ 150433 h 227842"/>
                  <a:gd name="connsiteX11" fmla="*/ 658576 w 696368"/>
                  <a:gd name="connsiteY11" fmla="*/ 194883 h 227842"/>
                  <a:gd name="connsiteX12" fmla="*/ 696368 w 696368"/>
                  <a:gd name="connsiteY12" fmla="*/ 227842 h 22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96368" h="227842">
                    <a:moveTo>
                      <a:pt x="0" y="0"/>
                    </a:moveTo>
                    <a:cubicBezTo>
                      <a:pt x="35189" y="9789"/>
                      <a:pt x="79443" y="20586"/>
                      <a:pt x="112476" y="23433"/>
                    </a:cubicBezTo>
                    <a:cubicBezTo>
                      <a:pt x="145509" y="26280"/>
                      <a:pt x="175976" y="18141"/>
                      <a:pt x="198201" y="17083"/>
                    </a:cubicBezTo>
                    <a:cubicBezTo>
                      <a:pt x="220426" y="16025"/>
                      <a:pt x="232068" y="13379"/>
                      <a:pt x="245826" y="17083"/>
                    </a:cubicBezTo>
                    <a:cubicBezTo>
                      <a:pt x="259584" y="20787"/>
                      <a:pt x="257468" y="31371"/>
                      <a:pt x="280751" y="39308"/>
                    </a:cubicBezTo>
                    <a:cubicBezTo>
                      <a:pt x="304034" y="47246"/>
                      <a:pt x="362243" y="54125"/>
                      <a:pt x="385526" y="64708"/>
                    </a:cubicBezTo>
                    <a:cubicBezTo>
                      <a:pt x="408809" y="75291"/>
                      <a:pt x="408280" y="94871"/>
                      <a:pt x="420451" y="102808"/>
                    </a:cubicBezTo>
                    <a:cubicBezTo>
                      <a:pt x="432622" y="110745"/>
                      <a:pt x="443734" y="107041"/>
                      <a:pt x="458551" y="112333"/>
                    </a:cubicBezTo>
                    <a:cubicBezTo>
                      <a:pt x="473368" y="117625"/>
                      <a:pt x="491359" y="131383"/>
                      <a:pt x="509351" y="134558"/>
                    </a:cubicBezTo>
                    <a:cubicBezTo>
                      <a:pt x="527343" y="137733"/>
                      <a:pt x="546922" y="128737"/>
                      <a:pt x="566501" y="131383"/>
                    </a:cubicBezTo>
                    <a:cubicBezTo>
                      <a:pt x="586080" y="134029"/>
                      <a:pt x="611480" y="139850"/>
                      <a:pt x="626826" y="150433"/>
                    </a:cubicBezTo>
                    <a:cubicBezTo>
                      <a:pt x="642172" y="161016"/>
                      <a:pt x="647993" y="182183"/>
                      <a:pt x="658576" y="194883"/>
                    </a:cubicBezTo>
                    <a:cubicBezTo>
                      <a:pt x="669159" y="207583"/>
                      <a:pt x="651257" y="198209"/>
                      <a:pt x="696368" y="227842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4" name="Пермь-Екатеринбург"/>
              <p:cNvSpPr/>
              <p:nvPr/>
            </p:nvSpPr>
            <p:spPr>
              <a:xfrm>
                <a:off x="3028949" y="4295775"/>
                <a:ext cx="166143" cy="259733"/>
              </a:xfrm>
              <a:custGeom>
                <a:avLst/>
                <a:gdLst>
                  <a:gd name="connsiteX0" fmla="*/ 0 w 146050"/>
                  <a:gd name="connsiteY0" fmla="*/ 0 h 241300"/>
                  <a:gd name="connsiteX1" fmla="*/ 38100 w 146050"/>
                  <a:gd name="connsiteY1" fmla="*/ 38100 h 241300"/>
                  <a:gd name="connsiteX2" fmla="*/ 73025 w 146050"/>
                  <a:gd name="connsiteY2" fmla="*/ 98425 h 241300"/>
                  <a:gd name="connsiteX3" fmla="*/ 92075 w 146050"/>
                  <a:gd name="connsiteY3" fmla="*/ 180975 h 241300"/>
                  <a:gd name="connsiteX4" fmla="*/ 146050 w 146050"/>
                  <a:gd name="connsiteY4" fmla="*/ 241300 h 241300"/>
                  <a:gd name="connsiteX0" fmla="*/ 0 w 120650"/>
                  <a:gd name="connsiteY0" fmla="*/ 0 h 241300"/>
                  <a:gd name="connsiteX1" fmla="*/ 12700 w 120650"/>
                  <a:gd name="connsiteY1" fmla="*/ 38100 h 241300"/>
                  <a:gd name="connsiteX2" fmla="*/ 47625 w 120650"/>
                  <a:gd name="connsiteY2" fmla="*/ 98425 h 241300"/>
                  <a:gd name="connsiteX3" fmla="*/ 66675 w 120650"/>
                  <a:gd name="connsiteY3" fmla="*/ 180975 h 241300"/>
                  <a:gd name="connsiteX4" fmla="*/ 120650 w 120650"/>
                  <a:gd name="connsiteY4" fmla="*/ 241300 h 241300"/>
                  <a:gd name="connsiteX0" fmla="*/ 0 w 149225"/>
                  <a:gd name="connsiteY0" fmla="*/ 0 h 247650"/>
                  <a:gd name="connsiteX1" fmla="*/ 41275 w 149225"/>
                  <a:gd name="connsiteY1" fmla="*/ 44450 h 247650"/>
                  <a:gd name="connsiteX2" fmla="*/ 76200 w 149225"/>
                  <a:gd name="connsiteY2" fmla="*/ 104775 h 247650"/>
                  <a:gd name="connsiteX3" fmla="*/ 95250 w 149225"/>
                  <a:gd name="connsiteY3" fmla="*/ 187325 h 247650"/>
                  <a:gd name="connsiteX4" fmla="*/ 149225 w 149225"/>
                  <a:gd name="connsiteY4" fmla="*/ 247650 h 247650"/>
                  <a:gd name="connsiteX0" fmla="*/ 0 w 149225"/>
                  <a:gd name="connsiteY0" fmla="*/ 0 h 247650"/>
                  <a:gd name="connsiteX1" fmla="*/ 41275 w 149225"/>
                  <a:gd name="connsiteY1" fmla="*/ 44450 h 247650"/>
                  <a:gd name="connsiteX2" fmla="*/ 76200 w 149225"/>
                  <a:gd name="connsiteY2" fmla="*/ 104775 h 247650"/>
                  <a:gd name="connsiteX3" fmla="*/ 95250 w 149225"/>
                  <a:gd name="connsiteY3" fmla="*/ 187325 h 247650"/>
                  <a:gd name="connsiteX4" fmla="*/ 149225 w 149225"/>
                  <a:gd name="connsiteY4" fmla="*/ 247650 h 247650"/>
                  <a:gd name="connsiteX0" fmla="*/ 0 w 161309"/>
                  <a:gd name="connsiteY0" fmla="*/ 0 h 258525"/>
                  <a:gd name="connsiteX1" fmla="*/ 41275 w 161309"/>
                  <a:gd name="connsiteY1" fmla="*/ 44450 h 258525"/>
                  <a:gd name="connsiteX2" fmla="*/ 76200 w 161309"/>
                  <a:gd name="connsiteY2" fmla="*/ 104775 h 258525"/>
                  <a:gd name="connsiteX3" fmla="*/ 95250 w 161309"/>
                  <a:gd name="connsiteY3" fmla="*/ 187325 h 258525"/>
                  <a:gd name="connsiteX4" fmla="*/ 161309 w 161309"/>
                  <a:gd name="connsiteY4" fmla="*/ 258525 h 258525"/>
                  <a:gd name="connsiteX0" fmla="*/ 0 w 166143"/>
                  <a:gd name="connsiteY0" fmla="*/ 0 h 259733"/>
                  <a:gd name="connsiteX1" fmla="*/ 41275 w 166143"/>
                  <a:gd name="connsiteY1" fmla="*/ 44450 h 259733"/>
                  <a:gd name="connsiteX2" fmla="*/ 76200 w 166143"/>
                  <a:gd name="connsiteY2" fmla="*/ 104775 h 259733"/>
                  <a:gd name="connsiteX3" fmla="*/ 95250 w 166143"/>
                  <a:gd name="connsiteY3" fmla="*/ 187325 h 259733"/>
                  <a:gd name="connsiteX4" fmla="*/ 166143 w 166143"/>
                  <a:gd name="connsiteY4" fmla="*/ 259733 h 25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143" h="259733">
                    <a:moveTo>
                      <a:pt x="0" y="0"/>
                    </a:moveTo>
                    <a:cubicBezTo>
                      <a:pt x="28839" y="4498"/>
                      <a:pt x="28575" y="26988"/>
                      <a:pt x="41275" y="44450"/>
                    </a:cubicBezTo>
                    <a:cubicBezTo>
                      <a:pt x="53975" y="61913"/>
                      <a:pt x="67204" y="80963"/>
                      <a:pt x="76200" y="104775"/>
                    </a:cubicBezTo>
                    <a:cubicBezTo>
                      <a:pt x="85196" y="128587"/>
                      <a:pt x="83079" y="163513"/>
                      <a:pt x="95250" y="187325"/>
                    </a:cubicBezTo>
                    <a:cubicBezTo>
                      <a:pt x="107421" y="211138"/>
                      <a:pt x="166143" y="259733"/>
                      <a:pt x="166143" y="25973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5" name="Казань-Екатеринбург"/>
              <p:cNvSpPr/>
              <p:nvPr/>
            </p:nvSpPr>
            <p:spPr>
              <a:xfrm>
                <a:off x="2454547" y="4354476"/>
                <a:ext cx="720453" cy="214861"/>
              </a:xfrm>
              <a:custGeom>
                <a:avLst/>
                <a:gdLst>
                  <a:gd name="connsiteX0" fmla="*/ 0 w 654050"/>
                  <a:gd name="connsiteY0" fmla="*/ 0 h 171963"/>
                  <a:gd name="connsiteX1" fmla="*/ 101600 w 654050"/>
                  <a:gd name="connsiteY1" fmla="*/ 31750 h 171963"/>
                  <a:gd name="connsiteX2" fmla="*/ 171450 w 654050"/>
                  <a:gd name="connsiteY2" fmla="*/ 50800 h 171963"/>
                  <a:gd name="connsiteX3" fmla="*/ 263525 w 654050"/>
                  <a:gd name="connsiteY3" fmla="*/ 95250 h 171963"/>
                  <a:gd name="connsiteX4" fmla="*/ 311150 w 654050"/>
                  <a:gd name="connsiteY4" fmla="*/ 120650 h 171963"/>
                  <a:gd name="connsiteX5" fmla="*/ 403225 w 654050"/>
                  <a:gd name="connsiteY5" fmla="*/ 158750 h 171963"/>
                  <a:gd name="connsiteX6" fmla="*/ 492125 w 654050"/>
                  <a:gd name="connsiteY6" fmla="*/ 158750 h 171963"/>
                  <a:gd name="connsiteX7" fmla="*/ 609600 w 654050"/>
                  <a:gd name="connsiteY7" fmla="*/ 171450 h 171963"/>
                  <a:gd name="connsiteX8" fmla="*/ 654050 w 654050"/>
                  <a:gd name="connsiteY8" fmla="*/ 168275 h 171963"/>
                  <a:gd name="connsiteX0" fmla="*/ 0 w 641350"/>
                  <a:gd name="connsiteY0" fmla="*/ 0 h 178313"/>
                  <a:gd name="connsiteX1" fmla="*/ 88900 w 641350"/>
                  <a:gd name="connsiteY1" fmla="*/ 38100 h 178313"/>
                  <a:gd name="connsiteX2" fmla="*/ 158750 w 641350"/>
                  <a:gd name="connsiteY2" fmla="*/ 57150 h 178313"/>
                  <a:gd name="connsiteX3" fmla="*/ 250825 w 641350"/>
                  <a:gd name="connsiteY3" fmla="*/ 101600 h 178313"/>
                  <a:gd name="connsiteX4" fmla="*/ 298450 w 641350"/>
                  <a:gd name="connsiteY4" fmla="*/ 127000 h 178313"/>
                  <a:gd name="connsiteX5" fmla="*/ 390525 w 641350"/>
                  <a:gd name="connsiteY5" fmla="*/ 165100 h 178313"/>
                  <a:gd name="connsiteX6" fmla="*/ 479425 w 641350"/>
                  <a:gd name="connsiteY6" fmla="*/ 165100 h 178313"/>
                  <a:gd name="connsiteX7" fmla="*/ 596900 w 641350"/>
                  <a:gd name="connsiteY7" fmla="*/ 177800 h 178313"/>
                  <a:gd name="connsiteX8" fmla="*/ 641350 w 641350"/>
                  <a:gd name="connsiteY8" fmla="*/ 174625 h 178313"/>
                  <a:gd name="connsiteX0" fmla="*/ 0 w 641350"/>
                  <a:gd name="connsiteY0" fmla="*/ 0 h 178313"/>
                  <a:gd name="connsiteX1" fmla="*/ 88900 w 641350"/>
                  <a:gd name="connsiteY1" fmla="*/ 38100 h 178313"/>
                  <a:gd name="connsiteX2" fmla="*/ 158750 w 641350"/>
                  <a:gd name="connsiteY2" fmla="*/ 57150 h 178313"/>
                  <a:gd name="connsiteX3" fmla="*/ 250825 w 641350"/>
                  <a:gd name="connsiteY3" fmla="*/ 101600 h 178313"/>
                  <a:gd name="connsiteX4" fmla="*/ 298450 w 641350"/>
                  <a:gd name="connsiteY4" fmla="*/ 127000 h 178313"/>
                  <a:gd name="connsiteX5" fmla="*/ 390525 w 641350"/>
                  <a:gd name="connsiteY5" fmla="*/ 165100 h 178313"/>
                  <a:gd name="connsiteX6" fmla="*/ 479425 w 641350"/>
                  <a:gd name="connsiteY6" fmla="*/ 165100 h 178313"/>
                  <a:gd name="connsiteX7" fmla="*/ 596900 w 641350"/>
                  <a:gd name="connsiteY7" fmla="*/ 177800 h 178313"/>
                  <a:gd name="connsiteX8" fmla="*/ 641350 w 641350"/>
                  <a:gd name="connsiteY8" fmla="*/ 174625 h 178313"/>
                  <a:gd name="connsiteX0" fmla="*/ 0 w 619125"/>
                  <a:gd name="connsiteY0" fmla="*/ 0 h 171963"/>
                  <a:gd name="connsiteX1" fmla="*/ 66675 w 619125"/>
                  <a:gd name="connsiteY1" fmla="*/ 31750 h 171963"/>
                  <a:gd name="connsiteX2" fmla="*/ 136525 w 619125"/>
                  <a:gd name="connsiteY2" fmla="*/ 50800 h 171963"/>
                  <a:gd name="connsiteX3" fmla="*/ 228600 w 619125"/>
                  <a:gd name="connsiteY3" fmla="*/ 95250 h 171963"/>
                  <a:gd name="connsiteX4" fmla="*/ 276225 w 619125"/>
                  <a:gd name="connsiteY4" fmla="*/ 120650 h 171963"/>
                  <a:gd name="connsiteX5" fmla="*/ 368300 w 619125"/>
                  <a:gd name="connsiteY5" fmla="*/ 158750 h 171963"/>
                  <a:gd name="connsiteX6" fmla="*/ 457200 w 619125"/>
                  <a:gd name="connsiteY6" fmla="*/ 158750 h 171963"/>
                  <a:gd name="connsiteX7" fmla="*/ 574675 w 619125"/>
                  <a:gd name="connsiteY7" fmla="*/ 171450 h 171963"/>
                  <a:gd name="connsiteX8" fmla="*/ 619125 w 619125"/>
                  <a:gd name="connsiteY8" fmla="*/ 168275 h 171963"/>
                  <a:gd name="connsiteX0" fmla="*/ 0 w 619125"/>
                  <a:gd name="connsiteY0" fmla="*/ 0 h 171963"/>
                  <a:gd name="connsiteX1" fmla="*/ 66675 w 619125"/>
                  <a:gd name="connsiteY1" fmla="*/ 31750 h 171963"/>
                  <a:gd name="connsiteX2" fmla="*/ 136525 w 619125"/>
                  <a:gd name="connsiteY2" fmla="*/ 50800 h 171963"/>
                  <a:gd name="connsiteX3" fmla="*/ 228600 w 619125"/>
                  <a:gd name="connsiteY3" fmla="*/ 95250 h 171963"/>
                  <a:gd name="connsiteX4" fmla="*/ 276225 w 619125"/>
                  <a:gd name="connsiteY4" fmla="*/ 120650 h 171963"/>
                  <a:gd name="connsiteX5" fmla="*/ 368300 w 619125"/>
                  <a:gd name="connsiteY5" fmla="*/ 158750 h 171963"/>
                  <a:gd name="connsiteX6" fmla="*/ 457200 w 619125"/>
                  <a:gd name="connsiteY6" fmla="*/ 158750 h 171963"/>
                  <a:gd name="connsiteX7" fmla="*/ 574675 w 619125"/>
                  <a:gd name="connsiteY7" fmla="*/ 171450 h 171963"/>
                  <a:gd name="connsiteX8" fmla="*/ 619125 w 619125"/>
                  <a:gd name="connsiteY8" fmla="*/ 168275 h 171963"/>
                  <a:gd name="connsiteX0" fmla="*/ 0 w 628650"/>
                  <a:gd name="connsiteY0" fmla="*/ 0 h 175138"/>
                  <a:gd name="connsiteX1" fmla="*/ 76200 w 628650"/>
                  <a:gd name="connsiteY1" fmla="*/ 34925 h 175138"/>
                  <a:gd name="connsiteX2" fmla="*/ 146050 w 628650"/>
                  <a:gd name="connsiteY2" fmla="*/ 53975 h 175138"/>
                  <a:gd name="connsiteX3" fmla="*/ 238125 w 628650"/>
                  <a:gd name="connsiteY3" fmla="*/ 98425 h 175138"/>
                  <a:gd name="connsiteX4" fmla="*/ 285750 w 628650"/>
                  <a:gd name="connsiteY4" fmla="*/ 123825 h 175138"/>
                  <a:gd name="connsiteX5" fmla="*/ 377825 w 628650"/>
                  <a:gd name="connsiteY5" fmla="*/ 161925 h 175138"/>
                  <a:gd name="connsiteX6" fmla="*/ 466725 w 628650"/>
                  <a:gd name="connsiteY6" fmla="*/ 161925 h 175138"/>
                  <a:gd name="connsiteX7" fmla="*/ 584200 w 628650"/>
                  <a:gd name="connsiteY7" fmla="*/ 174625 h 175138"/>
                  <a:gd name="connsiteX8" fmla="*/ 628650 w 628650"/>
                  <a:gd name="connsiteY8" fmla="*/ 171450 h 175138"/>
                  <a:gd name="connsiteX0" fmla="*/ 0 w 628650"/>
                  <a:gd name="connsiteY0" fmla="*/ 0 h 175138"/>
                  <a:gd name="connsiteX1" fmla="*/ 76200 w 628650"/>
                  <a:gd name="connsiteY1" fmla="*/ 34925 h 175138"/>
                  <a:gd name="connsiteX2" fmla="*/ 146050 w 628650"/>
                  <a:gd name="connsiteY2" fmla="*/ 53975 h 175138"/>
                  <a:gd name="connsiteX3" fmla="*/ 238125 w 628650"/>
                  <a:gd name="connsiteY3" fmla="*/ 98425 h 175138"/>
                  <a:gd name="connsiteX4" fmla="*/ 285750 w 628650"/>
                  <a:gd name="connsiteY4" fmla="*/ 123825 h 175138"/>
                  <a:gd name="connsiteX5" fmla="*/ 377825 w 628650"/>
                  <a:gd name="connsiteY5" fmla="*/ 161925 h 175138"/>
                  <a:gd name="connsiteX6" fmla="*/ 466725 w 628650"/>
                  <a:gd name="connsiteY6" fmla="*/ 161925 h 175138"/>
                  <a:gd name="connsiteX7" fmla="*/ 584200 w 628650"/>
                  <a:gd name="connsiteY7" fmla="*/ 174625 h 175138"/>
                  <a:gd name="connsiteX8" fmla="*/ 628650 w 628650"/>
                  <a:gd name="connsiteY8" fmla="*/ 171450 h 175138"/>
                  <a:gd name="connsiteX0" fmla="*/ 0 w 597694"/>
                  <a:gd name="connsiteY0" fmla="*/ 0 h 167994"/>
                  <a:gd name="connsiteX1" fmla="*/ 45244 w 597694"/>
                  <a:gd name="connsiteY1" fmla="*/ 27781 h 167994"/>
                  <a:gd name="connsiteX2" fmla="*/ 115094 w 597694"/>
                  <a:gd name="connsiteY2" fmla="*/ 46831 h 167994"/>
                  <a:gd name="connsiteX3" fmla="*/ 207169 w 597694"/>
                  <a:gd name="connsiteY3" fmla="*/ 91281 h 167994"/>
                  <a:gd name="connsiteX4" fmla="*/ 254794 w 597694"/>
                  <a:gd name="connsiteY4" fmla="*/ 116681 h 167994"/>
                  <a:gd name="connsiteX5" fmla="*/ 346869 w 597694"/>
                  <a:gd name="connsiteY5" fmla="*/ 154781 h 167994"/>
                  <a:gd name="connsiteX6" fmla="*/ 435769 w 597694"/>
                  <a:gd name="connsiteY6" fmla="*/ 154781 h 167994"/>
                  <a:gd name="connsiteX7" fmla="*/ 553244 w 597694"/>
                  <a:gd name="connsiteY7" fmla="*/ 167481 h 167994"/>
                  <a:gd name="connsiteX8" fmla="*/ 597694 w 597694"/>
                  <a:gd name="connsiteY8" fmla="*/ 164306 h 167994"/>
                  <a:gd name="connsiteX0" fmla="*/ 0 w 597694"/>
                  <a:gd name="connsiteY0" fmla="*/ 0 h 167994"/>
                  <a:gd name="connsiteX1" fmla="*/ 45244 w 597694"/>
                  <a:gd name="connsiteY1" fmla="*/ 27781 h 167994"/>
                  <a:gd name="connsiteX2" fmla="*/ 115094 w 597694"/>
                  <a:gd name="connsiteY2" fmla="*/ 46831 h 167994"/>
                  <a:gd name="connsiteX3" fmla="*/ 207169 w 597694"/>
                  <a:gd name="connsiteY3" fmla="*/ 91281 h 167994"/>
                  <a:gd name="connsiteX4" fmla="*/ 254794 w 597694"/>
                  <a:gd name="connsiteY4" fmla="*/ 116681 h 167994"/>
                  <a:gd name="connsiteX5" fmla="*/ 346869 w 597694"/>
                  <a:gd name="connsiteY5" fmla="*/ 154781 h 167994"/>
                  <a:gd name="connsiteX6" fmla="*/ 435769 w 597694"/>
                  <a:gd name="connsiteY6" fmla="*/ 154781 h 167994"/>
                  <a:gd name="connsiteX7" fmla="*/ 553244 w 597694"/>
                  <a:gd name="connsiteY7" fmla="*/ 167481 h 167994"/>
                  <a:gd name="connsiteX8" fmla="*/ 597694 w 597694"/>
                  <a:gd name="connsiteY8" fmla="*/ 164306 h 167994"/>
                  <a:gd name="connsiteX0" fmla="*/ 0 w 597694"/>
                  <a:gd name="connsiteY0" fmla="*/ 0 h 167994"/>
                  <a:gd name="connsiteX1" fmla="*/ 45244 w 597694"/>
                  <a:gd name="connsiteY1" fmla="*/ 27781 h 167994"/>
                  <a:gd name="connsiteX2" fmla="*/ 115094 w 597694"/>
                  <a:gd name="connsiteY2" fmla="*/ 46831 h 167994"/>
                  <a:gd name="connsiteX3" fmla="*/ 207169 w 597694"/>
                  <a:gd name="connsiteY3" fmla="*/ 91281 h 167994"/>
                  <a:gd name="connsiteX4" fmla="*/ 254794 w 597694"/>
                  <a:gd name="connsiteY4" fmla="*/ 116681 h 167994"/>
                  <a:gd name="connsiteX5" fmla="*/ 346869 w 597694"/>
                  <a:gd name="connsiteY5" fmla="*/ 154781 h 167994"/>
                  <a:gd name="connsiteX6" fmla="*/ 435769 w 597694"/>
                  <a:gd name="connsiteY6" fmla="*/ 154781 h 167994"/>
                  <a:gd name="connsiteX7" fmla="*/ 553244 w 597694"/>
                  <a:gd name="connsiteY7" fmla="*/ 167481 h 167994"/>
                  <a:gd name="connsiteX8" fmla="*/ 597694 w 597694"/>
                  <a:gd name="connsiteY8" fmla="*/ 164306 h 167994"/>
                  <a:gd name="connsiteX0" fmla="*/ 2744 w 600438"/>
                  <a:gd name="connsiteY0" fmla="*/ 0 h 167994"/>
                  <a:gd name="connsiteX1" fmla="*/ 3538 w 600438"/>
                  <a:gd name="connsiteY1" fmla="*/ 8731 h 167994"/>
                  <a:gd name="connsiteX2" fmla="*/ 47988 w 600438"/>
                  <a:gd name="connsiteY2" fmla="*/ 27781 h 167994"/>
                  <a:gd name="connsiteX3" fmla="*/ 117838 w 600438"/>
                  <a:gd name="connsiteY3" fmla="*/ 46831 h 167994"/>
                  <a:gd name="connsiteX4" fmla="*/ 209913 w 600438"/>
                  <a:gd name="connsiteY4" fmla="*/ 91281 h 167994"/>
                  <a:gd name="connsiteX5" fmla="*/ 257538 w 600438"/>
                  <a:gd name="connsiteY5" fmla="*/ 116681 h 167994"/>
                  <a:gd name="connsiteX6" fmla="*/ 349613 w 600438"/>
                  <a:gd name="connsiteY6" fmla="*/ 154781 h 167994"/>
                  <a:gd name="connsiteX7" fmla="*/ 438513 w 600438"/>
                  <a:gd name="connsiteY7" fmla="*/ 154781 h 167994"/>
                  <a:gd name="connsiteX8" fmla="*/ 555988 w 600438"/>
                  <a:gd name="connsiteY8" fmla="*/ 167481 h 167994"/>
                  <a:gd name="connsiteX9" fmla="*/ 600438 w 600438"/>
                  <a:gd name="connsiteY9" fmla="*/ 164306 h 167994"/>
                  <a:gd name="connsiteX0" fmla="*/ 22678 w 620372"/>
                  <a:gd name="connsiteY0" fmla="*/ 0 h 167994"/>
                  <a:gd name="connsiteX1" fmla="*/ 1247 w 620372"/>
                  <a:gd name="connsiteY1" fmla="*/ 30956 h 167994"/>
                  <a:gd name="connsiteX2" fmla="*/ 67922 w 620372"/>
                  <a:gd name="connsiteY2" fmla="*/ 27781 h 167994"/>
                  <a:gd name="connsiteX3" fmla="*/ 137772 w 620372"/>
                  <a:gd name="connsiteY3" fmla="*/ 46831 h 167994"/>
                  <a:gd name="connsiteX4" fmla="*/ 229847 w 620372"/>
                  <a:gd name="connsiteY4" fmla="*/ 91281 h 167994"/>
                  <a:gd name="connsiteX5" fmla="*/ 277472 w 620372"/>
                  <a:gd name="connsiteY5" fmla="*/ 116681 h 167994"/>
                  <a:gd name="connsiteX6" fmla="*/ 369547 w 620372"/>
                  <a:gd name="connsiteY6" fmla="*/ 154781 h 167994"/>
                  <a:gd name="connsiteX7" fmla="*/ 458447 w 620372"/>
                  <a:gd name="connsiteY7" fmla="*/ 154781 h 167994"/>
                  <a:gd name="connsiteX8" fmla="*/ 575922 w 620372"/>
                  <a:gd name="connsiteY8" fmla="*/ 167481 h 167994"/>
                  <a:gd name="connsiteX9" fmla="*/ 620372 w 620372"/>
                  <a:gd name="connsiteY9" fmla="*/ 164306 h 167994"/>
                  <a:gd name="connsiteX0" fmla="*/ 0 w 705644"/>
                  <a:gd name="connsiteY0" fmla="*/ 0 h 212444"/>
                  <a:gd name="connsiteX1" fmla="*/ 86519 w 705644"/>
                  <a:gd name="connsiteY1" fmla="*/ 75406 h 212444"/>
                  <a:gd name="connsiteX2" fmla="*/ 153194 w 705644"/>
                  <a:gd name="connsiteY2" fmla="*/ 72231 h 212444"/>
                  <a:gd name="connsiteX3" fmla="*/ 223044 w 705644"/>
                  <a:gd name="connsiteY3" fmla="*/ 91281 h 212444"/>
                  <a:gd name="connsiteX4" fmla="*/ 315119 w 705644"/>
                  <a:gd name="connsiteY4" fmla="*/ 135731 h 212444"/>
                  <a:gd name="connsiteX5" fmla="*/ 362744 w 705644"/>
                  <a:gd name="connsiteY5" fmla="*/ 161131 h 212444"/>
                  <a:gd name="connsiteX6" fmla="*/ 454819 w 705644"/>
                  <a:gd name="connsiteY6" fmla="*/ 199231 h 212444"/>
                  <a:gd name="connsiteX7" fmla="*/ 543719 w 705644"/>
                  <a:gd name="connsiteY7" fmla="*/ 199231 h 212444"/>
                  <a:gd name="connsiteX8" fmla="*/ 661194 w 705644"/>
                  <a:gd name="connsiteY8" fmla="*/ 211931 h 212444"/>
                  <a:gd name="connsiteX9" fmla="*/ 705644 w 705644"/>
                  <a:gd name="connsiteY9" fmla="*/ 208756 h 212444"/>
                  <a:gd name="connsiteX0" fmla="*/ 0 w 705644"/>
                  <a:gd name="connsiteY0" fmla="*/ 0 h 212444"/>
                  <a:gd name="connsiteX1" fmla="*/ 80169 w 705644"/>
                  <a:gd name="connsiteY1" fmla="*/ 24606 h 212444"/>
                  <a:gd name="connsiteX2" fmla="*/ 153194 w 705644"/>
                  <a:gd name="connsiteY2" fmla="*/ 72231 h 212444"/>
                  <a:gd name="connsiteX3" fmla="*/ 223044 w 705644"/>
                  <a:gd name="connsiteY3" fmla="*/ 91281 h 212444"/>
                  <a:gd name="connsiteX4" fmla="*/ 315119 w 705644"/>
                  <a:gd name="connsiteY4" fmla="*/ 135731 h 212444"/>
                  <a:gd name="connsiteX5" fmla="*/ 362744 w 705644"/>
                  <a:gd name="connsiteY5" fmla="*/ 161131 h 212444"/>
                  <a:gd name="connsiteX6" fmla="*/ 454819 w 705644"/>
                  <a:gd name="connsiteY6" fmla="*/ 199231 h 212444"/>
                  <a:gd name="connsiteX7" fmla="*/ 543719 w 705644"/>
                  <a:gd name="connsiteY7" fmla="*/ 199231 h 212444"/>
                  <a:gd name="connsiteX8" fmla="*/ 661194 w 705644"/>
                  <a:gd name="connsiteY8" fmla="*/ 211931 h 212444"/>
                  <a:gd name="connsiteX9" fmla="*/ 705644 w 705644"/>
                  <a:gd name="connsiteY9" fmla="*/ 208756 h 212444"/>
                  <a:gd name="connsiteX0" fmla="*/ 0 w 711994"/>
                  <a:gd name="connsiteY0" fmla="*/ 0 h 212444"/>
                  <a:gd name="connsiteX1" fmla="*/ 86519 w 711994"/>
                  <a:gd name="connsiteY1" fmla="*/ 24606 h 212444"/>
                  <a:gd name="connsiteX2" fmla="*/ 159544 w 711994"/>
                  <a:gd name="connsiteY2" fmla="*/ 72231 h 212444"/>
                  <a:gd name="connsiteX3" fmla="*/ 229394 w 711994"/>
                  <a:gd name="connsiteY3" fmla="*/ 91281 h 212444"/>
                  <a:gd name="connsiteX4" fmla="*/ 321469 w 711994"/>
                  <a:gd name="connsiteY4" fmla="*/ 135731 h 212444"/>
                  <a:gd name="connsiteX5" fmla="*/ 369094 w 711994"/>
                  <a:gd name="connsiteY5" fmla="*/ 161131 h 212444"/>
                  <a:gd name="connsiteX6" fmla="*/ 461169 w 711994"/>
                  <a:gd name="connsiteY6" fmla="*/ 199231 h 212444"/>
                  <a:gd name="connsiteX7" fmla="*/ 550069 w 711994"/>
                  <a:gd name="connsiteY7" fmla="*/ 199231 h 212444"/>
                  <a:gd name="connsiteX8" fmla="*/ 667544 w 711994"/>
                  <a:gd name="connsiteY8" fmla="*/ 211931 h 212444"/>
                  <a:gd name="connsiteX9" fmla="*/ 711994 w 711994"/>
                  <a:gd name="connsiteY9" fmla="*/ 208756 h 212444"/>
                  <a:gd name="connsiteX0" fmla="*/ 0 w 720453"/>
                  <a:gd name="connsiteY0" fmla="*/ 0 h 214861"/>
                  <a:gd name="connsiteX1" fmla="*/ 94978 w 720453"/>
                  <a:gd name="connsiteY1" fmla="*/ 27023 h 214861"/>
                  <a:gd name="connsiteX2" fmla="*/ 168003 w 720453"/>
                  <a:gd name="connsiteY2" fmla="*/ 74648 h 214861"/>
                  <a:gd name="connsiteX3" fmla="*/ 237853 w 720453"/>
                  <a:gd name="connsiteY3" fmla="*/ 93698 h 214861"/>
                  <a:gd name="connsiteX4" fmla="*/ 329928 w 720453"/>
                  <a:gd name="connsiteY4" fmla="*/ 138148 h 214861"/>
                  <a:gd name="connsiteX5" fmla="*/ 377553 w 720453"/>
                  <a:gd name="connsiteY5" fmla="*/ 163548 h 214861"/>
                  <a:gd name="connsiteX6" fmla="*/ 469628 w 720453"/>
                  <a:gd name="connsiteY6" fmla="*/ 201648 h 214861"/>
                  <a:gd name="connsiteX7" fmla="*/ 558528 w 720453"/>
                  <a:gd name="connsiteY7" fmla="*/ 201648 h 214861"/>
                  <a:gd name="connsiteX8" fmla="*/ 676003 w 720453"/>
                  <a:gd name="connsiteY8" fmla="*/ 214348 h 214861"/>
                  <a:gd name="connsiteX9" fmla="*/ 720453 w 720453"/>
                  <a:gd name="connsiteY9" fmla="*/ 211173 h 21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20453" h="214861">
                    <a:moveTo>
                      <a:pt x="0" y="0"/>
                    </a:moveTo>
                    <a:cubicBezTo>
                      <a:pt x="132" y="1455"/>
                      <a:pt x="66978" y="14582"/>
                      <a:pt x="94978" y="27023"/>
                    </a:cubicBezTo>
                    <a:cubicBezTo>
                      <a:pt x="122979" y="39464"/>
                      <a:pt x="144191" y="63536"/>
                      <a:pt x="168003" y="74648"/>
                    </a:cubicBezTo>
                    <a:cubicBezTo>
                      <a:pt x="191816" y="85761"/>
                      <a:pt x="210866" y="83115"/>
                      <a:pt x="237853" y="93698"/>
                    </a:cubicBezTo>
                    <a:cubicBezTo>
                      <a:pt x="264840" y="104281"/>
                      <a:pt x="306645" y="126506"/>
                      <a:pt x="329928" y="138148"/>
                    </a:cubicBezTo>
                    <a:cubicBezTo>
                      <a:pt x="353211" y="149790"/>
                      <a:pt x="354270" y="152965"/>
                      <a:pt x="377553" y="163548"/>
                    </a:cubicBezTo>
                    <a:cubicBezTo>
                      <a:pt x="400836" y="174131"/>
                      <a:pt x="439466" y="195298"/>
                      <a:pt x="469628" y="201648"/>
                    </a:cubicBezTo>
                    <a:cubicBezTo>
                      <a:pt x="499790" y="207998"/>
                      <a:pt x="524132" y="199531"/>
                      <a:pt x="558528" y="201648"/>
                    </a:cubicBezTo>
                    <a:cubicBezTo>
                      <a:pt x="592924" y="203765"/>
                      <a:pt x="649016" y="212761"/>
                      <a:pt x="676003" y="214348"/>
                    </a:cubicBezTo>
                    <a:cubicBezTo>
                      <a:pt x="702990" y="215935"/>
                      <a:pt x="711721" y="213554"/>
                      <a:pt x="720453" y="21117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6" name="Самара-Нефтекамск"/>
              <p:cNvSpPr/>
              <p:nvPr/>
            </p:nvSpPr>
            <p:spPr>
              <a:xfrm>
                <a:off x="2333625" y="4467226"/>
                <a:ext cx="374650" cy="88459"/>
              </a:xfrm>
              <a:custGeom>
                <a:avLst/>
                <a:gdLst>
                  <a:gd name="connsiteX0" fmla="*/ 0 w 374650"/>
                  <a:gd name="connsiteY0" fmla="*/ 85725 h 85725"/>
                  <a:gd name="connsiteX1" fmla="*/ 95250 w 374650"/>
                  <a:gd name="connsiteY1" fmla="*/ 63500 h 85725"/>
                  <a:gd name="connsiteX2" fmla="*/ 168275 w 374650"/>
                  <a:gd name="connsiteY2" fmla="*/ 73025 h 85725"/>
                  <a:gd name="connsiteX3" fmla="*/ 234950 w 374650"/>
                  <a:gd name="connsiteY3" fmla="*/ 53975 h 85725"/>
                  <a:gd name="connsiteX4" fmla="*/ 298450 w 374650"/>
                  <a:gd name="connsiteY4" fmla="*/ 50800 h 85725"/>
                  <a:gd name="connsiteX5" fmla="*/ 374650 w 374650"/>
                  <a:gd name="connsiteY5" fmla="*/ 0 h 85725"/>
                  <a:gd name="connsiteX0" fmla="*/ 0 w 374650"/>
                  <a:gd name="connsiteY0" fmla="*/ 85725 h 85938"/>
                  <a:gd name="connsiteX1" fmla="*/ 95250 w 374650"/>
                  <a:gd name="connsiteY1" fmla="*/ 63500 h 85938"/>
                  <a:gd name="connsiteX2" fmla="*/ 168275 w 374650"/>
                  <a:gd name="connsiteY2" fmla="*/ 73025 h 85938"/>
                  <a:gd name="connsiteX3" fmla="*/ 234950 w 374650"/>
                  <a:gd name="connsiteY3" fmla="*/ 53975 h 85938"/>
                  <a:gd name="connsiteX4" fmla="*/ 298450 w 374650"/>
                  <a:gd name="connsiteY4" fmla="*/ 50800 h 85938"/>
                  <a:gd name="connsiteX5" fmla="*/ 374650 w 374650"/>
                  <a:gd name="connsiteY5" fmla="*/ 0 h 85938"/>
                  <a:gd name="connsiteX0" fmla="*/ 0 w 374650"/>
                  <a:gd name="connsiteY0" fmla="*/ 85725 h 88459"/>
                  <a:gd name="connsiteX1" fmla="*/ 95250 w 374650"/>
                  <a:gd name="connsiteY1" fmla="*/ 63500 h 88459"/>
                  <a:gd name="connsiteX2" fmla="*/ 168275 w 374650"/>
                  <a:gd name="connsiteY2" fmla="*/ 73025 h 88459"/>
                  <a:gd name="connsiteX3" fmla="*/ 234950 w 374650"/>
                  <a:gd name="connsiteY3" fmla="*/ 53975 h 88459"/>
                  <a:gd name="connsiteX4" fmla="*/ 298450 w 374650"/>
                  <a:gd name="connsiteY4" fmla="*/ 50800 h 88459"/>
                  <a:gd name="connsiteX5" fmla="*/ 374650 w 374650"/>
                  <a:gd name="connsiteY5" fmla="*/ 0 h 8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4650" h="88459">
                    <a:moveTo>
                      <a:pt x="0" y="85725"/>
                    </a:moveTo>
                    <a:cubicBezTo>
                      <a:pt x="27252" y="97896"/>
                      <a:pt x="67204" y="65617"/>
                      <a:pt x="95250" y="63500"/>
                    </a:cubicBezTo>
                    <a:cubicBezTo>
                      <a:pt x="123296" y="61383"/>
                      <a:pt x="144992" y="74612"/>
                      <a:pt x="168275" y="73025"/>
                    </a:cubicBezTo>
                    <a:cubicBezTo>
                      <a:pt x="191558" y="71437"/>
                      <a:pt x="213254" y="57679"/>
                      <a:pt x="234950" y="53975"/>
                    </a:cubicBezTo>
                    <a:cubicBezTo>
                      <a:pt x="256646" y="50271"/>
                      <a:pt x="275167" y="59796"/>
                      <a:pt x="298450" y="50800"/>
                    </a:cubicBezTo>
                    <a:cubicBezTo>
                      <a:pt x="321733" y="41804"/>
                      <a:pt x="348191" y="20902"/>
                      <a:pt x="37465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7" name="Екатеринбург-Челябинск"/>
              <p:cNvSpPr/>
              <p:nvPr/>
            </p:nvSpPr>
            <p:spPr>
              <a:xfrm>
                <a:off x="3084441" y="4569749"/>
                <a:ext cx="116555" cy="281793"/>
              </a:xfrm>
              <a:custGeom>
                <a:avLst/>
                <a:gdLst>
                  <a:gd name="connsiteX0" fmla="*/ 107950 w 111721"/>
                  <a:gd name="connsiteY0" fmla="*/ 0 h 254000"/>
                  <a:gd name="connsiteX1" fmla="*/ 104775 w 111721"/>
                  <a:gd name="connsiteY1" fmla="*/ 88900 h 254000"/>
                  <a:gd name="connsiteX2" fmla="*/ 44450 w 111721"/>
                  <a:gd name="connsiteY2" fmla="*/ 123825 h 254000"/>
                  <a:gd name="connsiteX3" fmla="*/ 38100 w 111721"/>
                  <a:gd name="connsiteY3" fmla="*/ 180975 h 254000"/>
                  <a:gd name="connsiteX4" fmla="*/ 0 w 111721"/>
                  <a:gd name="connsiteY4" fmla="*/ 254000 h 254000"/>
                  <a:gd name="connsiteX0" fmla="*/ 107950 w 111721"/>
                  <a:gd name="connsiteY0" fmla="*/ 0 h 272126"/>
                  <a:gd name="connsiteX1" fmla="*/ 104775 w 111721"/>
                  <a:gd name="connsiteY1" fmla="*/ 107026 h 272126"/>
                  <a:gd name="connsiteX2" fmla="*/ 44450 w 111721"/>
                  <a:gd name="connsiteY2" fmla="*/ 141951 h 272126"/>
                  <a:gd name="connsiteX3" fmla="*/ 38100 w 111721"/>
                  <a:gd name="connsiteY3" fmla="*/ 199101 h 272126"/>
                  <a:gd name="connsiteX4" fmla="*/ 0 w 111721"/>
                  <a:gd name="connsiteY4" fmla="*/ 272126 h 272126"/>
                  <a:gd name="connsiteX0" fmla="*/ 112784 w 116555"/>
                  <a:gd name="connsiteY0" fmla="*/ 0 h 281793"/>
                  <a:gd name="connsiteX1" fmla="*/ 109609 w 116555"/>
                  <a:gd name="connsiteY1" fmla="*/ 107026 h 281793"/>
                  <a:gd name="connsiteX2" fmla="*/ 49284 w 116555"/>
                  <a:gd name="connsiteY2" fmla="*/ 141951 h 281793"/>
                  <a:gd name="connsiteX3" fmla="*/ 42934 w 116555"/>
                  <a:gd name="connsiteY3" fmla="*/ 199101 h 281793"/>
                  <a:gd name="connsiteX4" fmla="*/ 0 w 116555"/>
                  <a:gd name="connsiteY4" fmla="*/ 281793 h 281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555" h="281793">
                    <a:moveTo>
                      <a:pt x="112784" y="0"/>
                    </a:moveTo>
                    <a:cubicBezTo>
                      <a:pt x="116488" y="34131"/>
                      <a:pt x="120192" y="83368"/>
                      <a:pt x="109609" y="107026"/>
                    </a:cubicBezTo>
                    <a:cubicBezTo>
                      <a:pt x="99026" y="130684"/>
                      <a:pt x="60396" y="126605"/>
                      <a:pt x="49284" y="141951"/>
                    </a:cubicBezTo>
                    <a:cubicBezTo>
                      <a:pt x="38172" y="157297"/>
                      <a:pt x="50342" y="177405"/>
                      <a:pt x="42934" y="199101"/>
                    </a:cubicBezTo>
                    <a:cubicBezTo>
                      <a:pt x="35526" y="220797"/>
                      <a:pt x="15346" y="256128"/>
                      <a:pt x="0" y="281793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8" name="Крымск-Абинск"/>
              <p:cNvSpPr/>
              <p:nvPr/>
            </p:nvSpPr>
            <p:spPr>
              <a:xfrm>
                <a:off x="996950" y="4743450"/>
                <a:ext cx="50226" cy="146050"/>
              </a:xfrm>
              <a:custGeom>
                <a:avLst/>
                <a:gdLst>
                  <a:gd name="connsiteX0" fmla="*/ 0 w 50226"/>
                  <a:gd name="connsiteY0" fmla="*/ 0 h 146050"/>
                  <a:gd name="connsiteX1" fmla="*/ 44450 w 50226"/>
                  <a:gd name="connsiteY1" fmla="*/ 50800 h 146050"/>
                  <a:gd name="connsiteX2" fmla="*/ 47625 w 50226"/>
                  <a:gd name="connsiteY2" fmla="*/ 92075 h 146050"/>
                  <a:gd name="connsiteX3" fmla="*/ 25400 w 50226"/>
                  <a:gd name="connsiteY3" fmla="*/ 120650 h 146050"/>
                  <a:gd name="connsiteX4" fmla="*/ 34925 w 50226"/>
                  <a:gd name="connsiteY4" fmla="*/ 146050 h 146050"/>
                  <a:gd name="connsiteX0" fmla="*/ 0 w 50226"/>
                  <a:gd name="connsiteY0" fmla="*/ 0 h 146050"/>
                  <a:gd name="connsiteX1" fmla="*/ 44450 w 50226"/>
                  <a:gd name="connsiteY1" fmla="*/ 50800 h 146050"/>
                  <a:gd name="connsiteX2" fmla="*/ 47625 w 50226"/>
                  <a:gd name="connsiteY2" fmla="*/ 92075 h 146050"/>
                  <a:gd name="connsiteX3" fmla="*/ 25400 w 50226"/>
                  <a:gd name="connsiteY3" fmla="*/ 120650 h 146050"/>
                  <a:gd name="connsiteX4" fmla="*/ 34925 w 50226"/>
                  <a:gd name="connsiteY4" fmla="*/ 146050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26" h="146050">
                    <a:moveTo>
                      <a:pt x="0" y="0"/>
                    </a:moveTo>
                    <a:cubicBezTo>
                      <a:pt x="18256" y="17727"/>
                      <a:pt x="36513" y="35454"/>
                      <a:pt x="44450" y="50800"/>
                    </a:cubicBezTo>
                    <a:cubicBezTo>
                      <a:pt x="52387" y="66146"/>
                      <a:pt x="50800" y="80433"/>
                      <a:pt x="47625" y="92075"/>
                    </a:cubicBezTo>
                    <a:cubicBezTo>
                      <a:pt x="44450" y="103717"/>
                      <a:pt x="27517" y="111654"/>
                      <a:pt x="25400" y="120650"/>
                    </a:cubicBezTo>
                    <a:cubicBezTo>
                      <a:pt x="23283" y="129646"/>
                      <a:pt x="41188" y="133014"/>
                      <a:pt x="34925" y="14605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09" name="Нефтекамск-Ижевск"/>
              <p:cNvSpPr/>
              <p:nvPr/>
            </p:nvSpPr>
            <p:spPr>
              <a:xfrm>
                <a:off x="2747133" y="4382565"/>
                <a:ext cx="22180" cy="84659"/>
              </a:xfrm>
              <a:custGeom>
                <a:avLst/>
                <a:gdLst>
                  <a:gd name="connsiteX0" fmla="*/ 15875 w 15875"/>
                  <a:gd name="connsiteY0" fmla="*/ 76200 h 76200"/>
                  <a:gd name="connsiteX1" fmla="*/ 0 w 15875"/>
                  <a:gd name="connsiteY1" fmla="*/ 0 h 76200"/>
                  <a:gd name="connsiteX0" fmla="*/ 15875 w 20033"/>
                  <a:gd name="connsiteY0" fmla="*/ 76200 h 76200"/>
                  <a:gd name="connsiteX1" fmla="*/ 0 w 20033"/>
                  <a:gd name="connsiteY1" fmla="*/ 0 h 76200"/>
                  <a:gd name="connsiteX0" fmla="*/ 18292 w 22180"/>
                  <a:gd name="connsiteY0" fmla="*/ 84659 h 84659"/>
                  <a:gd name="connsiteX1" fmla="*/ 0 w 22180"/>
                  <a:gd name="connsiteY1" fmla="*/ 0 h 84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180" h="84659">
                    <a:moveTo>
                      <a:pt x="18292" y="84659"/>
                    </a:moveTo>
                    <a:cubicBezTo>
                      <a:pt x="32050" y="59259"/>
                      <a:pt x="5292" y="25400"/>
                      <a:pt x="0" y="0"/>
                    </a:cubicBezTo>
                  </a:path>
                </a:pathLst>
              </a:custGeom>
              <a:noFill/>
              <a:ln w="57150" cmpd="dbl">
                <a:solidFill>
                  <a:schemeClr val="accent1"/>
                </a:solidFill>
              </a:ln>
            </p:spPr>
            <p:style>
              <a:lnRef idx="2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85" name="Полилиния 84"/>
            <p:cNvSpPr/>
            <p:nvPr/>
          </p:nvSpPr>
          <p:spPr>
            <a:xfrm>
              <a:off x="1549678" y="5167799"/>
              <a:ext cx="60264" cy="67847"/>
            </a:xfrm>
            <a:custGeom>
              <a:avLst/>
              <a:gdLst>
                <a:gd name="connsiteX0" fmla="*/ 0 w 35719"/>
                <a:gd name="connsiteY0" fmla="*/ 0 h 38100"/>
                <a:gd name="connsiteX1" fmla="*/ 35719 w 35719"/>
                <a:gd name="connsiteY1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719" h="38100">
                  <a:moveTo>
                    <a:pt x="0" y="0"/>
                  </a:moveTo>
                  <a:lnTo>
                    <a:pt x="35719" y="38100"/>
                  </a:lnTo>
                </a:path>
              </a:pathLst>
            </a:custGeom>
            <a:noFill/>
            <a:ln w="28575" cmpd="dbl">
              <a:solidFill>
                <a:schemeClr val="accent1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10" name="Овал 109"/>
          <p:cNvSpPr/>
          <p:nvPr/>
        </p:nvSpPr>
        <p:spPr>
          <a:xfrm>
            <a:off x="5637107" y="3109719"/>
            <a:ext cx="92223" cy="90093"/>
          </a:xfrm>
          <a:prstGeom prst="ellipse">
            <a:avLst/>
          </a:prstGeom>
          <a:solidFill>
            <a:srgbClr val="A0A0A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1" name="Овал 110"/>
          <p:cNvSpPr/>
          <p:nvPr/>
        </p:nvSpPr>
        <p:spPr>
          <a:xfrm>
            <a:off x="5677615" y="1783974"/>
            <a:ext cx="92223" cy="90065"/>
          </a:xfrm>
          <a:prstGeom prst="ellipse">
            <a:avLst/>
          </a:prstGeom>
          <a:solidFill>
            <a:srgbClr val="A0A0A0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2" name="Овал 111"/>
          <p:cNvSpPr/>
          <p:nvPr/>
        </p:nvSpPr>
        <p:spPr>
          <a:xfrm>
            <a:off x="5414842" y="333936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Овал 112"/>
          <p:cNvSpPr/>
          <p:nvPr/>
        </p:nvSpPr>
        <p:spPr>
          <a:xfrm>
            <a:off x="5145606" y="3996483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4" name="Овал 113"/>
          <p:cNvSpPr/>
          <p:nvPr/>
        </p:nvSpPr>
        <p:spPr>
          <a:xfrm>
            <a:off x="4594545" y="4666724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5" name="Овал 114"/>
          <p:cNvSpPr/>
          <p:nvPr/>
        </p:nvSpPr>
        <p:spPr>
          <a:xfrm>
            <a:off x="4170169" y="5099402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6" name="Овал 115"/>
          <p:cNvSpPr/>
          <p:nvPr/>
        </p:nvSpPr>
        <p:spPr>
          <a:xfrm>
            <a:off x="5927236" y="456612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7" name="Овал 116"/>
          <p:cNvSpPr/>
          <p:nvPr/>
        </p:nvSpPr>
        <p:spPr>
          <a:xfrm>
            <a:off x="6580802" y="4458395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8" name="Овал 117"/>
          <p:cNvSpPr/>
          <p:nvPr/>
        </p:nvSpPr>
        <p:spPr>
          <a:xfrm>
            <a:off x="6769654" y="3920892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Овал 118"/>
          <p:cNvSpPr/>
          <p:nvPr/>
        </p:nvSpPr>
        <p:spPr>
          <a:xfrm>
            <a:off x="7383486" y="396821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0" name="Овал 119"/>
          <p:cNvSpPr/>
          <p:nvPr/>
        </p:nvSpPr>
        <p:spPr>
          <a:xfrm>
            <a:off x="7889585" y="3819945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Овал 120"/>
          <p:cNvSpPr/>
          <p:nvPr/>
        </p:nvSpPr>
        <p:spPr>
          <a:xfrm>
            <a:off x="7459457" y="463156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" name="Овал 121"/>
          <p:cNvSpPr/>
          <p:nvPr/>
        </p:nvSpPr>
        <p:spPr>
          <a:xfrm>
            <a:off x="8012150" y="4925497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" name="Овал 122"/>
          <p:cNvSpPr/>
          <p:nvPr/>
        </p:nvSpPr>
        <p:spPr>
          <a:xfrm>
            <a:off x="8262744" y="4341147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4" name="Овал 123"/>
          <p:cNvSpPr/>
          <p:nvPr/>
        </p:nvSpPr>
        <p:spPr>
          <a:xfrm>
            <a:off x="3972662" y="5019282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5" name="Овал 124"/>
          <p:cNvSpPr/>
          <p:nvPr/>
        </p:nvSpPr>
        <p:spPr>
          <a:xfrm>
            <a:off x="5936133" y="3216885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6" name="Овал 125"/>
          <p:cNvSpPr/>
          <p:nvPr/>
        </p:nvSpPr>
        <p:spPr>
          <a:xfrm>
            <a:off x="4814749" y="3816063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7" name="Овал 126"/>
          <p:cNvSpPr/>
          <p:nvPr/>
        </p:nvSpPr>
        <p:spPr>
          <a:xfrm>
            <a:off x="5489773" y="5643124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8" name="Овал 127"/>
          <p:cNvSpPr/>
          <p:nvPr/>
        </p:nvSpPr>
        <p:spPr>
          <a:xfrm>
            <a:off x="5346015" y="5004816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" name="Овал 128"/>
          <p:cNvSpPr/>
          <p:nvPr/>
        </p:nvSpPr>
        <p:spPr>
          <a:xfrm>
            <a:off x="5428646" y="4154715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0" name="Шали-Бавлы-Сагарчин"/>
          <p:cNvSpPr/>
          <p:nvPr/>
        </p:nvSpPr>
        <p:spPr>
          <a:xfrm>
            <a:off x="6815730" y="4021653"/>
            <a:ext cx="453030" cy="1437680"/>
          </a:xfrm>
          <a:custGeom>
            <a:avLst/>
            <a:gdLst>
              <a:gd name="connsiteX0" fmla="*/ 0 w 238125"/>
              <a:gd name="connsiteY0" fmla="*/ 0 h 726281"/>
              <a:gd name="connsiteX1" fmla="*/ 11907 w 238125"/>
              <a:gd name="connsiteY1" fmla="*/ 61912 h 726281"/>
              <a:gd name="connsiteX2" fmla="*/ 45244 w 238125"/>
              <a:gd name="connsiteY2" fmla="*/ 59531 h 726281"/>
              <a:gd name="connsiteX3" fmla="*/ 40482 w 238125"/>
              <a:gd name="connsiteY3" fmla="*/ 92868 h 726281"/>
              <a:gd name="connsiteX4" fmla="*/ 85725 w 238125"/>
              <a:gd name="connsiteY4" fmla="*/ 140493 h 726281"/>
              <a:gd name="connsiteX5" fmla="*/ 119063 w 238125"/>
              <a:gd name="connsiteY5" fmla="*/ 142875 h 726281"/>
              <a:gd name="connsiteX6" fmla="*/ 111919 w 238125"/>
              <a:gd name="connsiteY6" fmla="*/ 195262 h 726281"/>
              <a:gd name="connsiteX7" fmla="*/ 147638 w 238125"/>
              <a:gd name="connsiteY7" fmla="*/ 238125 h 726281"/>
              <a:gd name="connsiteX8" fmla="*/ 140494 w 238125"/>
              <a:gd name="connsiteY8" fmla="*/ 292893 h 726281"/>
              <a:gd name="connsiteX9" fmla="*/ 180975 w 238125"/>
              <a:gd name="connsiteY9" fmla="*/ 419100 h 726281"/>
              <a:gd name="connsiteX10" fmla="*/ 219075 w 238125"/>
              <a:gd name="connsiteY10" fmla="*/ 492918 h 726281"/>
              <a:gd name="connsiteX11" fmla="*/ 209550 w 238125"/>
              <a:gd name="connsiteY11" fmla="*/ 635793 h 726281"/>
              <a:gd name="connsiteX12" fmla="*/ 238125 w 238125"/>
              <a:gd name="connsiteY12" fmla="*/ 726281 h 726281"/>
              <a:gd name="connsiteX0" fmla="*/ 0 w 233362"/>
              <a:gd name="connsiteY0" fmla="*/ 0 h 740568"/>
              <a:gd name="connsiteX1" fmla="*/ 11907 w 233362"/>
              <a:gd name="connsiteY1" fmla="*/ 61912 h 740568"/>
              <a:gd name="connsiteX2" fmla="*/ 45244 w 233362"/>
              <a:gd name="connsiteY2" fmla="*/ 59531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9550 w 233362"/>
              <a:gd name="connsiteY11" fmla="*/ 635793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61912 h 740568"/>
              <a:gd name="connsiteX2" fmla="*/ 45244 w 233362"/>
              <a:gd name="connsiteY2" fmla="*/ 59531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61912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9063 w 233362"/>
              <a:gd name="connsiteY5" fmla="*/ 142875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47638 w 233362"/>
              <a:gd name="connsiteY7" fmla="*/ 23812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40494 w 233362"/>
              <a:gd name="connsiteY8" fmla="*/ 292893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33350 w 233362"/>
              <a:gd name="connsiteY8" fmla="*/ 309562 h 740568"/>
              <a:gd name="connsiteX9" fmla="*/ 180975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33350 w 233362"/>
              <a:gd name="connsiteY8" fmla="*/ 309562 h 740568"/>
              <a:gd name="connsiteX9" fmla="*/ 150019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26207 w 233362"/>
              <a:gd name="connsiteY8" fmla="*/ 309562 h 740568"/>
              <a:gd name="connsiteX9" fmla="*/ 150019 w 233362"/>
              <a:gd name="connsiteY9" fmla="*/ 419100 h 740568"/>
              <a:gd name="connsiteX10" fmla="*/ 219075 w 233362"/>
              <a:gd name="connsiteY10" fmla="*/ 492918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  <a:gd name="connsiteX0" fmla="*/ 0 w 233362"/>
              <a:gd name="connsiteY0" fmla="*/ 0 h 740568"/>
              <a:gd name="connsiteX1" fmla="*/ 11907 w 233362"/>
              <a:gd name="connsiteY1" fmla="*/ 52387 h 740568"/>
              <a:gd name="connsiteX2" fmla="*/ 33338 w 233362"/>
              <a:gd name="connsiteY2" fmla="*/ 66675 h 740568"/>
              <a:gd name="connsiteX3" fmla="*/ 40482 w 233362"/>
              <a:gd name="connsiteY3" fmla="*/ 92868 h 740568"/>
              <a:gd name="connsiteX4" fmla="*/ 85725 w 233362"/>
              <a:gd name="connsiteY4" fmla="*/ 140493 h 740568"/>
              <a:gd name="connsiteX5" fmla="*/ 111920 w 233362"/>
              <a:gd name="connsiteY5" fmla="*/ 154781 h 740568"/>
              <a:gd name="connsiteX6" fmla="*/ 111919 w 233362"/>
              <a:gd name="connsiteY6" fmla="*/ 195262 h 740568"/>
              <a:gd name="connsiteX7" fmla="*/ 138113 w 233362"/>
              <a:gd name="connsiteY7" fmla="*/ 257175 h 740568"/>
              <a:gd name="connsiteX8" fmla="*/ 126207 w 233362"/>
              <a:gd name="connsiteY8" fmla="*/ 309562 h 740568"/>
              <a:gd name="connsiteX9" fmla="*/ 150019 w 233362"/>
              <a:gd name="connsiteY9" fmla="*/ 419100 h 740568"/>
              <a:gd name="connsiteX10" fmla="*/ 214312 w 233362"/>
              <a:gd name="connsiteY10" fmla="*/ 542925 h 740568"/>
              <a:gd name="connsiteX11" fmla="*/ 202407 w 233362"/>
              <a:gd name="connsiteY11" fmla="*/ 661987 h 740568"/>
              <a:gd name="connsiteX12" fmla="*/ 233362 w 233362"/>
              <a:gd name="connsiteY12" fmla="*/ 740568 h 740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3362" h="740568">
                <a:moveTo>
                  <a:pt x="0" y="0"/>
                </a:moveTo>
                <a:cubicBezTo>
                  <a:pt x="2183" y="25995"/>
                  <a:pt x="6351" y="41275"/>
                  <a:pt x="11907" y="52387"/>
                </a:cubicBezTo>
                <a:cubicBezTo>
                  <a:pt x="17463" y="63500"/>
                  <a:pt x="28576" y="59928"/>
                  <a:pt x="33338" y="66675"/>
                </a:cubicBezTo>
                <a:cubicBezTo>
                  <a:pt x="38100" y="73422"/>
                  <a:pt x="31751" y="80565"/>
                  <a:pt x="40482" y="92868"/>
                </a:cubicBezTo>
                <a:cubicBezTo>
                  <a:pt x="49213" y="105171"/>
                  <a:pt x="73819" y="130174"/>
                  <a:pt x="85725" y="140493"/>
                </a:cubicBezTo>
                <a:cubicBezTo>
                  <a:pt x="97631" y="150812"/>
                  <a:pt x="107554" y="145653"/>
                  <a:pt x="111920" y="154781"/>
                </a:cubicBezTo>
                <a:cubicBezTo>
                  <a:pt x="116286" y="163909"/>
                  <a:pt x="107554" y="178196"/>
                  <a:pt x="111919" y="195262"/>
                </a:cubicBezTo>
                <a:cubicBezTo>
                  <a:pt x="116285" y="212328"/>
                  <a:pt x="135732" y="238125"/>
                  <a:pt x="138113" y="257175"/>
                </a:cubicBezTo>
                <a:cubicBezTo>
                  <a:pt x="140494" y="276225"/>
                  <a:pt x="124223" y="282575"/>
                  <a:pt x="126207" y="309562"/>
                </a:cubicBezTo>
                <a:cubicBezTo>
                  <a:pt x="128191" y="336549"/>
                  <a:pt x="135335" y="380206"/>
                  <a:pt x="150019" y="419100"/>
                </a:cubicBezTo>
                <a:cubicBezTo>
                  <a:pt x="164703" y="457994"/>
                  <a:pt x="205581" y="502444"/>
                  <a:pt x="214312" y="542925"/>
                </a:cubicBezTo>
                <a:cubicBezTo>
                  <a:pt x="223043" y="583406"/>
                  <a:pt x="199232" y="629046"/>
                  <a:pt x="202407" y="661987"/>
                </a:cubicBezTo>
                <a:cubicBezTo>
                  <a:pt x="205582" y="694928"/>
                  <a:pt x="220662" y="714771"/>
                  <a:pt x="233362" y="740568"/>
                </a:cubicBezTo>
              </a:path>
            </a:pathLst>
          </a:custGeom>
          <a:noFill/>
          <a:ln w="57150" cmpd="dbl">
            <a:solidFill>
              <a:schemeClr val="accent1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131" name="Овал 130"/>
          <p:cNvSpPr/>
          <p:nvPr/>
        </p:nvSpPr>
        <p:spPr>
          <a:xfrm>
            <a:off x="6330966" y="3509931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2" name="Овал 131"/>
          <p:cNvSpPr/>
          <p:nvPr/>
        </p:nvSpPr>
        <p:spPr>
          <a:xfrm>
            <a:off x="7043579" y="517836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3" name="Овал 132"/>
          <p:cNvSpPr/>
          <p:nvPr/>
        </p:nvSpPr>
        <p:spPr>
          <a:xfrm>
            <a:off x="7248611" y="5437376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4" name="Овал 133"/>
          <p:cNvSpPr/>
          <p:nvPr/>
        </p:nvSpPr>
        <p:spPr>
          <a:xfrm>
            <a:off x="7317452" y="4160378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Сочи"/>
          <p:cNvSpPr/>
          <p:nvPr/>
        </p:nvSpPr>
        <p:spPr>
          <a:xfrm>
            <a:off x="4058904" y="5361483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Озинки"/>
          <p:cNvSpPr/>
          <p:nvPr/>
        </p:nvSpPr>
        <p:spPr>
          <a:xfrm>
            <a:off x="6270469" y="4844226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7" name="Смоленск"/>
          <p:cNvSpPr/>
          <p:nvPr/>
        </p:nvSpPr>
        <p:spPr>
          <a:xfrm>
            <a:off x="4948055" y="2692484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8" name="Брянс"/>
          <p:cNvSpPr/>
          <p:nvPr/>
        </p:nvSpPr>
        <p:spPr>
          <a:xfrm>
            <a:off x="4929376" y="3048759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9" name="Усть-Луга"/>
          <p:cNvSpPr/>
          <p:nvPr/>
        </p:nvSpPr>
        <p:spPr>
          <a:xfrm>
            <a:off x="5531609" y="1603067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0" name="Джигинка"/>
          <p:cNvSpPr/>
          <p:nvPr/>
        </p:nvSpPr>
        <p:spPr>
          <a:xfrm>
            <a:off x="4013410" y="4818169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1" name="Тольятти"/>
          <p:cNvSpPr/>
          <p:nvPr/>
        </p:nvSpPr>
        <p:spPr>
          <a:xfrm>
            <a:off x="6573875" y="4340745"/>
            <a:ext cx="56753" cy="5675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4944566" y="1747262"/>
            <a:ext cx="78098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анкт-Петербург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8179462" y="4178375"/>
            <a:ext cx="667169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Екатеринбург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372981" y="3383227"/>
            <a:ext cx="824266" cy="184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Нижний Новгород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033225" y="4863821"/>
            <a:ext cx="559769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Челябинск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7399796" y="4463467"/>
            <a:ext cx="32733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Уфа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3970536" y="4504477"/>
            <a:ext cx="734496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Ростов-на-Дону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4177661" y="4984206"/>
            <a:ext cx="561373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Краснодар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7855824" y="3687890"/>
            <a:ext cx="40748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Пермь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5482537" y="4503525"/>
            <a:ext cx="47160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аратов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6588771" y="4369486"/>
            <a:ext cx="444352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амара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5410296" y="4991860"/>
            <a:ext cx="54694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Волгоград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7251481" y="3810382"/>
            <a:ext cx="445956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Ижевск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6778859" y="3794887"/>
            <a:ext cx="428321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Казань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5097890" y="3276258"/>
            <a:ext cx="351378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Тула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4712327" y="3966737"/>
            <a:ext cx="495650" cy="18466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Воронеж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3364092" y="4909050"/>
            <a:ext cx="67518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Новороссийск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5956682" y="3117969"/>
            <a:ext cx="520540" cy="13246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600" i="1" dirty="0" smtClean="0">
                <a:solidFill>
                  <a:schemeClr val="bg1">
                    <a:lumMod val="50000"/>
                  </a:schemeClr>
                </a:solidFill>
              </a:rPr>
              <a:t>Владимир</a:t>
            </a:r>
            <a:endParaRPr lang="ru-RU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4605245" y="3674388"/>
            <a:ext cx="51488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Белгород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5531861" y="5577748"/>
            <a:ext cx="545342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Астрахань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5320733" y="4000816"/>
            <a:ext cx="580071" cy="16254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500" i="1" dirty="0" smtClean="0">
                <a:solidFill>
                  <a:schemeClr val="bg1">
                    <a:lumMod val="50000"/>
                  </a:schemeClr>
                </a:solidFill>
              </a:rPr>
              <a:t>Борисоглебск</a:t>
            </a:r>
            <a:endParaRPr lang="ru-RU" sz="5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6596403" y="5124804"/>
            <a:ext cx="521297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ренбург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7229597" y="5368183"/>
            <a:ext cx="461986" cy="1692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5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агарчин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6779560" y="4113949"/>
            <a:ext cx="550150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sz="500" dirty="0"/>
              <a:t>Нижнекамск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3692105" y="5297703"/>
            <a:ext cx="357790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6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очи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6154343" y="4697629"/>
            <a:ext cx="790344" cy="3335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00" i="1" dirty="0" smtClean="0">
                <a:solidFill>
                  <a:schemeClr val="bg1">
                    <a:lumMod val="50000"/>
                  </a:schemeClr>
                </a:solidFill>
              </a:rPr>
              <a:t>Озинки</a:t>
            </a:r>
            <a:endParaRPr lang="ru-RU" sz="5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4951082" y="2504284"/>
            <a:ext cx="522899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Смоленск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4783344" y="2895292"/>
            <a:ext cx="429925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Брянск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5064989" y="1561336"/>
            <a:ext cx="529311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Усть-Луг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3528519" y="4731511"/>
            <a:ext cx="478015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Джигин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6162491" y="4287967"/>
            <a:ext cx="455574" cy="1692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ru-RU"/>
            </a:defPPr>
            <a:lvl1pPr>
              <a:defRPr sz="5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Тольятти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5700322" y="2906560"/>
            <a:ext cx="439544" cy="184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>
                <a:solidFill>
                  <a:schemeClr val="bg1">
                    <a:lumMod val="50000"/>
                  </a:schemeClr>
                </a:solidFill>
              </a:rPr>
              <a:t>Москва</a:t>
            </a:r>
          </a:p>
        </p:txBody>
      </p:sp>
      <p:sp>
        <p:nvSpPr>
          <p:cNvPr id="173" name="Р-217 М-4 Дон-Гр с Азербайджаном"/>
          <p:cNvSpPr/>
          <p:nvPr/>
        </p:nvSpPr>
        <p:spPr>
          <a:xfrm>
            <a:off x="4441851" y="4857095"/>
            <a:ext cx="537854" cy="1785845"/>
          </a:xfrm>
          <a:custGeom>
            <a:avLst/>
            <a:gdLst>
              <a:gd name="connsiteX0" fmla="*/ 3437 w 279974"/>
              <a:gd name="connsiteY0" fmla="*/ 0 h 923925"/>
              <a:gd name="connsiteX1" fmla="*/ 3437 w 279974"/>
              <a:gd name="connsiteY1" fmla="*/ 59531 h 923925"/>
              <a:gd name="connsiteX2" fmla="*/ 39156 w 279974"/>
              <a:gd name="connsiteY2" fmla="*/ 95250 h 923925"/>
              <a:gd name="connsiteX3" fmla="*/ 22487 w 279974"/>
              <a:gd name="connsiteY3" fmla="*/ 154781 h 923925"/>
              <a:gd name="connsiteX4" fmla="*/ 22487 w 279974"/>
              <a:gd name="connsiteY4" fmla="*/ 264318 h 923925"/>
              <a:gd name="connsiteX5" fmla="*/ 58206 w 279974"/>
              <a:gd name="connsiteY5" fmla="*/ 314325 h 923925"/>
              <a:gd name="connsiteX6" fmla="*/ 60587 w 279974"/>
              <a:gd name="connsiteY6" fmla="*/ 414337 h 923925"/>
              <a:gd name="connsiteX7" fmla="*/ 82018 w 279974"/>
              <a:gd name="connsiteY7" fmla="*/ 492918 h 923925"/>
              <a:gd name="connsiteX8" fmla="*/ 105831 w 279974"/>
              <a:gd name="connsiteY8" fmla="*/ 535781 h 923925"/>
              <a:gd name="connsiteX9" fmla="*/ 165362 w 279974"/>
              <a:gd name="connsiteY9" fmla="*/ 559593 h 923925"/>
              <a:gd name="connsiteX10" fmla="*/ 198700 w 279974"/>
              <a:gd name="connsiteY10" fmla="*/ 597693 h 923925"/>
              <a:gd name="connsiteX11" fmla="*/ 248706 w 279974"/>
              <a:gd name="connsiteY11" fmla="*/ 607218 h 923925"/>
              <a:gd name="connsiteX12" fmla="*/ 279662 w 279974"/>
              <a:gd name="connsiteY12" fmla="*/ 683418 h 923925"/>
              <a:gd name="connsiteX13" fmla="*/ 265375 w 279974"/>
              <a:gd name="connsiteY13" fmla="*/ 747712 h 923925"/>
              <a:gd name="connsiteX14" fmla="*/ 277281 w 279974"/>
              <a:gd name="connsiteY14" fmla="*/ 842962 h 923925"/>
              <a:gd name="connsiteX15" fmla="*/ 277281 w 279974"/>
              <a:gd name="connsiteY15" fmla="*/ 923925 h 923925"/>
              <a:gd name="connsiteX0" fmla="*/ 365 w 276902"/>
              <a:gd name="connsiteY0" fmla="*/ 0 h 923925"/>
              <a:gd name="connsiteX1" fmla="*/ 19415 w 276902"/>
              <a:gd name="connsiteY1" fmla="*/ 45243 h 923925"/>
              <a:gd name="connsiteX2" fmla="*/ 36084 w 276902"/>
              <a:gd name="connsiteY2" fmla="*/ 95250 h 923925"/>
              <a:gd name="connsiteX3" fmla="*/ 19415 w 276902"/>
              <a:gd name="connsiteY3" fmla="*/ 154781 h 923925"/>
              <a:gd name="connsiteX4" fmla="*/ 19415 w 276902"/>
              <a:gd name="connsiteY4" fmla="*/ 264318 h 923925"/>
              <a:gd name="connsiteX5" fmla="*/ 55134 w 276902"/>
              <a:gd name="connsiteY5" fmla="*/ 314325 h 923925"/>
              <a:gd name="connsiteX6" fmla="*/ 57515 w 276902"/>
              <a:gd name="connsiteY6" fmla="*/ 414337 h 923925"/>
              <a:gd name="connsiteX7" fmla="*/ 78946 w 276902"/>
              <a:gd name="connsiteY7" fmla="*/ 492918 h 923925"/>
              <a:gd name="connsiteX8" fmla="*/ 102759 w 276902"/>
              <a:gd name="connsiteY8" fmla="*/ 535781 h 923925"/>
              <a:gd name="connsiteX9" fmla="*/ 162290 w 276902"/>
              <a:gd name="connsiteY9" fmla="*/ 559593 h 923925"/>
              <a:gd name="connsiteX10" fmla="*/ 195628 w 276902"/>
              <a:gd name="connsiteY10" fmla="*/ 597693 h 923925"/>
              <a:gd name="connsiteX11" fmla="*/ 245634 w 276902"/>
              <a:gd name="connsiteY11" fmla="*/ 607218 h 923925"/>
              <a:gd name="connsiteX12" fmla="*/ 276590 w 276902"/>
              <a:gd name="connsiteY12" fmla="*/ 683418 h 923925"/>
              <a:gd name="connsiteX13" fmla="*/ 262303 w 276902"/>
              <a:gd name="connsiteY13" fmla="*/ 747712 h 923925"/>
              <a:gd name="connsiteX14" fmla="*/ 274209 w 276902"/>
              <a:gd name="connsiteY14" fmla="*/ 842962 h 923925"/>
              <a:gd name="connsiteX15" fmla="*/ 274209 w 276902"/>
              <a:gd name="connsiteY15" fmla="*/ 923925 h 923925"/>
              <a:gd name="connsiteX0" fmla="*/ 365 w 276902"/>
              <a:gd name="connsiteY0" fmla="*/ 0 h 923925"/>
              <a:gd name="connsiteX1" fmla="*/ 19415 w 276902"/>
              <a:gd name="connsiteY1" fmla="*/ 45243 h 923925"/>
              <a:gd name="connsiteX2" fmla="*/ 36084 w 276902"/>
              <a:gd name="connsiteY2" fmla="*/ 95250 h 923925"/>
              <a:gd name="connsiteX3" fmla="*/ 19415 w 276902"/>
              <a:gd name="connsiteY3" fmla="*/ 154781 h 923925"/>
              <a:gd name="connsiteX4" fmla="*/ 19415 w 276902"/>
              <a:gd name="connsiteY4" fmla="*/ 264318 h 923925"/>
              <a:gd name="connsiteX5" fmla="*/ 55134 w 276902"/>
              <a:gd name="connsiteY5" fmla="*/ 314325 h 923925"/>
              <a:gd name="connsiteX6" fmla="*/ 57515 w 276902"/>
              <a:gd name="connsiteY6" fmla="*/ 414337 h 923925"/>
              <a:gd name="connsiteX7" fmla="*/ 78946 w 276902"/>
              <a:gd name="connsiteY7" fmla="*/ 492918 h 923925"/>
              <a:gd name="connsiteX8" fmla="*/ 102759 w 276902"/>
              <a:gd name="connsiteY8" fmla="*/ 535781 h 923925"/>
              <a:gd name="connsiteX9" fmla="*/ 162290 w 276902"/>
              <a:gd name="connsiteY9" fmla="*/ 559593 h 923925"/>
              <a:gd name="connsiteX10" fmla="*/ 195628 w 276902"/>
              <a:gd name="connsiteY10" fmla="*/ 597693 h 923925"/>
              <a:gd name="connsiteX11" fmla="*/ 245634 w 276902"/>
              <a:gd name="connsiteY11" fmla="*/ 607218 h 923925"/>
              <a:gd name="connsiteX12" fmla="*/ 276590 w 276902"/>
              <a:gd name="connsiteY12" fmla="*/ 683418 h 923925"/>
              <a:gd name="connsiteX13" fmla="*/ 262303 w 276902"/>
              <a:gd name="connsiteY13" fmla="*/ 747712 h 923925"/>
              <a:gd name="connsiteX14" fmla="*/ 274209 w 276902"/>
              <a:gd name="connsiteY14" fmla="*/ 842962 h 923925"/>
              <a:gd name="connsiteX15" fmla="*/ 274209 w 276902"/>
              <a:gd name="connsiteY15" fmla="*/ 923925 h 923925"/>
              <a:gd name="connsiteX0" fmla="*/ 0 w 276537"/>
              <a:gd name="connsiteY0" fmla="*/ 0 h 923925"/>
              <a:gd name="connsiteX1" fmla="*/ 19050 w 276537"/>
              <a:gd name="connsiteY1" fmla="*/ 45243 h 923925"/>
              <a:gd name="connsiteX2" fmla="*/ 35719 w 276537"/>
              <a:gd name="connsiteY2" fmla="*/ 95250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0 w 276537"/>
              <a:gd name="connsiteY0" fmla="*/ 0 h 923925"/>
              <a:gd name="connsiteX1" fmla="*/ 19050 w 276537"/>
              <a:gd name="connsiteY1" fmla="*/ 45243 h 923925"/>
              <a:gd name="connsiteX2" fmla="*/ 23812 w 276537"/>
              <a:gd name="connsiteY2" fmla="*/ 95250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0 w 276537"/>
              <a:gd name="connsiteY0" fmla="*/ 0 h 923925"/>
              <a:gd name="connsiteX1" fmla="*/ 19050 w 276537"/>
              <a:gd name="connsiteY1" fmla="*/ 45243 h 923925"/>
              <a:gd name="connsiteX2" fmla="*/ 9524 w 276537"/>
              <a:gd name="connsiteY2" fmla="*/ 95250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0 w 276537"/>
              <a:gd name="connsiteY0" fmla="*/ 0 h 923925"/>
              <a:gd name="connsiteX1" fmla="*/ 7144 w 276537"/>
              <a:gd name="connsiteY1" fmla="*/ 45243 h 923925"/>
              <a:gd name="connsiteX2" fmla="*/ 9524 w 276537"/>
              <a:gd name="connsiteY2" fmla="*/ 95250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0 w 276537"/>
              <a:gd name="connsiteY0" fmla="*/ 0 h 923925"/>
              <a:gd name="connsiteX1" fmla="*/ 7144 w 276537"/>
              <a:gd name="connsiteY1" fmla="*/ 45243 h 923925"/>
              <a:gd name="connsiteX2" fmla="*/ 9524 w 276537"/>
              <a:gd name="connsiteY2" fmla="*/ 95250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0 w 276537"/>
              <a:gd name="connsiteY0" fmla="*/ 0 h 923925"/>
              <a:gd name="connsiteX1" fmla="*/ 7144 w 276537"/>
              <a:gd name="connsiteY1" fmla="*/ 45243 h 923925"/>
              <a:gd name="connsiteX2" fmla="*/ 9524 w 276537"/>
              <a:gd name="connsiteY2" fmla="*/ 95250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0 w 276537"/>
              <a:gd name="connsiteY0" fmla="*/ 0 h 923925"/>
              <a:gd name="connsiteX1" fmla="*/ 7144 w 276537"/>
              <a:gd name="connsiteY1" fmla="*/ 45243 h 923925"/>
              <a:gd name="connsiteX2" fmla="*/ 4762 w 276537"/>
              <a:gd name="connsiteY2" fmla="*/ 97631 h 923925"/>
              <a:gd name="connsiteX3" fmla="*/ 19050 w 276537"/>
              <a:gd name="connsiteY3" fmla="*/ 154781 h 923925"/>
              <a:gd name="connsiteX4" fmla="*/ 19050 w 276537"/>
              <a:gd name="connsiteY4" fmla="*/ 264318 h 923925"/>
              <a:gd name="connsiteX5" fmla="*/ 54769 w 276537"/>
              <a:gd name="connsiteY5" fmla="*/ 314325 h 923925"/>
              <a:gd name="connsiteX6" fmla="*/ 57150 w 276537"/>
              <a:gd name="connsiteY6" fmla="*/ 414337 h 923925"/>
              <a:gd name="connsiteX7" fmla="*/ 78581 w 276537"/>
              <a:gd name="connsiteY7" fmla="*/ 492918 h 923925"/>
              <a:gd name="connsiteX8" fmla="*/ 102394 w 276537"/>
              <a:gd name="connsiteY8" fmla="*/ 535781 h 923925"/>
              <a:gd name="connsiteX9" fmla="*/ 161925 w 276537"/>
              <a:gd name="connsiteY9" fmla="*/ 559593 h 923925"/>
              <a:gd name="connsiteX10" fmla="*/ 195263 w 276537"/>
              <a:gd name="connsiteY10" fmla="*/ 597693 h 923925"/>
              <a:gd name="connsiteX11" fmla="*/ 245269 w 276537"/>
              <a:gd name="connsiteY11" fmla="*/ 607218 h 923925"/>
              <a:gd name="connsiteX12" fmla="*/ 276225 w 276537"/>
              <a:gd name="connsiteY12" fmla="*/ 683418 h 923925"/>
              <a:gd name="connsiteX13" fmla="*/ 261938 w 276537"/>
              <a:gd name="connsiteY13" fmla="*/ 747712 h 923925"/>
              <a:gd name="connsiteX14" fmla="*/ 273844 w 276537"/>
              <a:gd name="connsiteY14" fmla="*/ 842962 h 923925"/>
              <a:gd name="connsiteX15" fmla="*/ 273844 w 276537"/>
              <a:gd name="connsiteY15" fmla="*/ 923925 h 923925"/>
              <a:gd name="connsiteX0" fmla="*/ 27 w 276564"/>
              <a:gd name="connsiteY0" fmla="*/ 0 h 923925"/>
              <a:gd name="connsiteX1" fmla="*/ 27 w 276564"/>
              <a:gd name="connsiteY1" fmla="*/ 45243 h 923925"/>
              <a:gd name="connsiteX2" fmla="*/ 4789 w 276564"/>
              <a:gd name="connsiteY2" fmla="*/ 97631 h 923925"/>
              <a:gd name="connsiteX3" fmla="*/ 19077 w 276564"/>
              <a:gd name="connsiteY3" fmla="*/ 154781 h 923925"/>
              <a:gd name="connsiteX4" fmla="*/ 19077 w 276564"/>
              <a:gd name="connsiteY4" fmla="*/ 264318 h 923925"/>
              <a:gd name="connsiteX5" fmla="*/ 54796 w 276564"/>
              <a:gd name="connsiteY5" fmla="*/ 314325 h 923925"/>
              <a:gd name="connsiteX6" fmla="*/ 57177 w 276564"/>
              <a:gd name="connsiteY6" fmla="*/ 414337 h 923925"/>
              <a:gd name="connsiteX7" fmla="*/ 78608 w 276564"/>
              <a:gd name="connsiteY7" fmla="*/ 492918 h 923925"/>
              <a:gd name="connsiteX8" fmla="*/ 102421 w 276564"/>
              <a:gd name="connsiteY8" fmla="*/ 535781 h 923925"/>
              <a:gd name="connsiteX9" fmla="*/ 161952 w 276564"/>
              <a:gd name="connsiteY9" fmla="*/ 559593 h 923925"/>
              <a:gd name="connsiteX10" fmla="*/ 195290 w 276564"/>
              <a:gd name="connsiteY10" fmla="*/ 597693 h 923925"/>
              <a:gd name="connsiteX11" fmla="*/ 245296 w 276564"/>
              <a:gd name="connsiteY11" fmla="*/ 607218 h 923925"/>
              <a:gd name="connsiteX12" fmla="*/ 276252 w 276564"/>
              <a:gd name="connsiteY12" fmla="*/ 683418 h 923925"/>
              <a:gd name="connsiteX13" fmla="*/ 261965 w 276564"/>
              <a:gd name="connsiteY13" fmla="*/ 747712 h 923925"/>
              <a:gd name="connsiteX14" fmla="*/ 273871 w 276564"/>
              <a:gd name="connsiteY14" fmla="*/ 842962 h 923925"/>
              <a:gd name="connsiteX15" fmla="*/ 273871 w 276564"/>
              <a:gd name="connsiteY15" fmla="*/ 923925 h 923925"/>
              <a:gd name="connsiteX0" fmla="*/ 25 w 276562"/>
              <a:gd name="connsiteY0" fmla="*/ 0 h 923925"/>
              <a:gd name="connsiteX1" fmla="*/ 25 w 276562"/>
              <a:gd name="connsiteY1" fmla="*/ 45243 h 923925"/>
              <a:gd name="connsiteX2" fmla="*/ 4787 w 276562"/>
              <a:gd name="connsiteY2" fmla="*/ 97631 h 923925"/>
              <a:gd name="connsiteX3" fmla="*/ 19075 w 276562"/>
              <a:gd name="connsiteY3" fmla="*/ 154781 h 923925"/>
              <a:gd name="connsiteX4" fmla="*/ 19075 w 276562"/>
              <a:gd name="connsiteY4" fmla="*/ 264318 h 923925"/>
              <a:gd name="connsiteX5" fmla="*/ 54794 w 276562"/>
              <a:gd name="connsiteY5" fmla="*/ 314325 h 923925"/>
              <a:gd name="connsiteX6" fmla="*/ 57175 w 276562"/>
              <a:gd name="connsiteY6" fmla="*/ 414337 h 923925"/>
              <a:gd name="connsiteX7" fmla="*/ 78606 w 276562"/>
              <a:gd name="connsiteY7" fmla="*/ 492918 h 923925"/>
              <a:gd name="connsiteX8" fmla="*/ 102419 w 276562"/>
              <a:gd name="connsiteY8" fmla="*/ 535781 h 923925"/>
              <a:gd name="connsiteX9" fmla="*/ 161950 w 276562"/>
              <a:gd name="connsiteY9" fmla="*/ 559593 h 923925"/>
              <a:gd name="connsiteX10" fmla="*/ 195288 w 276562"/>
              <a:gd name="connsiteY10" fmla="*/ 597693 h 923925"/>
              <a:gd name="connsiteX11" fmla="*/ 245294 w 276562"/>
              <a:gd name="connsiteY11" fmla="*/ 607218 h 923925"/>
              <a:gd name="connsiteX12" fmla="*/ 276250 w 276562"/>
              <a:gd name="connsiteY12" fmla="*/ 683418 h 923925"/>
              <a:gd name="connsiteX13" fmla="*/ 261963 w 276562"/>
              <a:gd name="connsiteY13" fmla="*/ 747712 h 923925"/>
              <a:gd name="connsiteX14" fmla="*/ 273869 w 276562"/>
              <a:gd name="connsiteY14" fmla="*/ 842962 h 923925"/>
              <a:gd name="connsiteX15" fmla="*/ 273869 w 276562"/>
              <a:gd name="connsiteY15" fmla="*/ 923925 h 923925"/>
              <a:gd name="connsiteX0" fmla="*/ 25 w 276562"/>
              <a:gd name="connsiteY0" fmla="*/ 0 h 923925"/>
              <a:gd name="connsiteX1" fmla="*/ 25 w 276562"/>
              <a:gd name="connsiteY1" fmla="*/ 45243 h 923925"/>
              <a:gd name="connsiteX2" fmla="*/ 4787 w 276562"/>
              <a:gd name="connsiteY2" fmla="*/ 97631 h 923925"/>
              <a:gd name="connsiteX3" fmla="*/ 19075 w 276562"/>
              <a:gd name="connsiteY3" fmla="*/ 154781 h 923925"/>
              <a:gd name="connsiteX4" fmla="*/ 19075 w 276562"/>
              <a:gd name="connsiteY4" fmla="*/ 264318 h 923925"/>
              <a:gd name="connsiteX5" fmla="*/ 64319 w 276562"/>
              <a:gd name="connsiteY5" fmla="*/ 361950 h 923925"/>
              <a:gd name="connsiteX6" fmla="*/ 57175 w 276562"/>
              <a:gd name="connsiteY6" fmla="*/ 414337 h 923925"/>
              <a:gd name="connsiteX7" fmla="*/ 78606 w 276562"/>
              <a:gd name="connsiteY7" fmla="*/ 492918 h 923925"/>
              <a:gd name="connsiteX8" fmla="*/ 102419 w 276562"/>
              <a:gd name="connsiteY8" fmla="*/ 535781 h 923925"/>
              <a:gd name="connsiteX9" fmla="*/ 161950 w 276562"/>
              <a:gd name="connsiteY9" fmla="*/ 559593 h 923925"/>
              <a:gd name="connsiteX10" fmla="*/ 195288 w 276562"/>
              <a:gd name="connsiteY10" fmla="*/ 597693 h 923925"/>
              <a:gd name="connsiteX11" fmla="*/ 245294 w 276562"/>
              <a:gd name="connsiteY11" fmla="*/ 607218 h 923925"/>
              <a:gd name="connsiteX12" fmla="*/ 276250 w 276562"/>
              <a:gd name="connsiteY12" fmla="*/ 683418 h 923925"/>
              <a:gd name="connsiteX13" fmla="*/ 261963 w 276562"/>
              <a:gd name="connsiteY13" fmla="*/ 747712 h 923925"/>
              <a:gd name="connsiteX14" fmla="*/ 273869 w 276562"/>
              <a:gd name="connsiteY14" fmla="*/ 842962 h 923925"/>
              <a:gd name="connsiteX15" fmla="*/ 273869 w 276562"/>
              <a:gd name="connsiteY15" fmla="*/ 923925 h 923925"/>
              <a:gd name="connsiteX0" fmla="*/ 25 w 276562"/>
              <a:gd name="connsiteY0" fmla="*/ 0 h 923925"/>
              <a:gd name="connsiteX1" fmla="*/ 25 w 276562"/>
              <a:gd name="connsiteY1" fmla="*/ 45243 h 923925"/>
              <a:gd name="connsiteX2" fmla="*/ 4787 w 276562"/>
              <a:gd name="connsiteY2" fmla="*/ 104775 h 923925"/>
              <a:gd name="connsiteX3" fmla="*/ 19075 w 276562"/>
              <a:gd name="connsiteY3" fmla="*/ 154781 h 923925"/>
              <a:gd name="connsiteX4" fmla="*/ 19075 w 276562"/>
              <a:gd name="connsiteY4" fmla="*/ 264318 h 923925"/>
              <a:gd name="connsiteX5" fmla="*/ 64319 w 276562"/>
              <a:gd name="connsiteY5" fmla="*/ 361950 h 923925"/>
              <a:gd name="connsiteX6" fmla="*/ 57175 w 276562"/>
              <a:gd name="connsiteY6" fmla="*/ 414337 h 923925"/>
              <a:gd name="connsiteX7" fmla="*/ 78606 w 276562"/>
              <a:gd name="connsiteY7" fmla="*/ 492918 h 923925"/>
              <a:gd name="connsiteX8" fmla="*/ 102419 w 276562"/>
              <a:gd name="connsiteY8" fmla="*/ 535781 h 923925"/>
              <a:gd name="connsiteX9" fmla="*/ 161950 w 276562"/>
              <a:gd name="connsiteY9" fmla="*/ 559593 h 923925"/>
              <a:gd name="connsiteX10" fmla="*/ 195288 w 276562"/>
              <a:gd name="connsiteY10" fmla="*/ 597693 h 923925"/>
              <a:gd name="connsiteX11" fmla="*/ 245294 w 276562"/>
              <a:gd name="connsiteY11" fmla="*/ 607218 h 923925"/>
              <a:gd name="connsiteX12" fmla="*/ 276250 w 276562"/>
              <a:gd name="connsiteY12" fmla="*/ 683418 h 923925"/>
              <a:gd name="connsiteX13" fmla="*/ 261963 w 276562"/>
              <a:gd name="connsiteY13" fmla="*/ 747712 h 923925"/>
              <a:gd name="connsiteX14" fmla="*/ 273869 w 276562"/>
              <a:gd name="connsiteY14" fmla="*/ 842962 h 923925"/>
              <a:gd name="connsiteX15" fmla="*/ 273869 w 276562"/>
              <a:gd name="connsiteY15" fmla="*/ 923925 h 923925"/>
              <a:gd name="connsiteX0" fmla="*/ 25 w 276562"/>
              <a:gd name="connsiteY0" fmla="*/ 0 h 923925"/>
              <a:gd name="connsiteX1" fmla="*/ 25 w 276562"/>
              <a:gd name="connsiteY1" fmla="*/ 45243 h 923925"/>
              <a:gd name="connsiteX2" fmla="*/ 4787 w 276562"/>
              <a:gd name="connsiteY2" fmla="*/ 104775 h 923925"/>
              <a:gd name="connsiteX3" fmla="*/ 23838 w 276562"/>
              <a:gd name="connsiteY3" fmla="*/ 171450 h 923925"/>
              <a:gd name="connsiteX4" fmla="*/ 19075 w 276562"/>
              <a:gd name="connsiteY4" fmla="*/ 264318 h 923925"/>
              <a:gd name="connsiteX5" fmla="*/ 64319 w 276562"/>
              <a:gd name="connsiteY5" fmla="*/ 361950 h 923925"/>
              <a:gd name="connsiteX6" fmla="*/ 57175 w 276562"/>
              <a:gd name="connsiteY6" fmla="*/ 414337 h 923925"/>
              <a:gd name="connsiteX7" fmla="*/ 78606 w 276562"/>
              <a:gd name="connsiteY7" fmla="*/ 492918 h 923925"/>
              <a:gd name="connsiteX8" fmla="*/ 102419 w 276562"/>
              <a:gd name="connsiteY8" fmla="*/ 535781 h 923925"/>
              <a:gd name="connsiteX9" fmla="*/ 161950 w 276562"/>
              <a:gd name="connsiteY9" fmla="*/ 559593 h 923925"/>
              <a:gd name="connsiteX10" fmla="*/ 195288 w 276562"/>
              <a:gd name="connsiteY10" fmla="*/ 597693 h 923925"/>
              <a:gd name="connsiteX11" fmla="*/ 245294 w 276562"/>
              <a:gd name="connsiteY11" fmla="*/ 607218 h 923925"/>
              <a:gd name="connsiteX12" fmla="*/ 276250 w 276562"/>
              <a:gd name="connsiteY12" fmla="*/ 683418 h 923925"/>
              <a:gd name="connsiteX13" fmla="*/ 261963 w 276562"/>
              <a:gd name="connsiteY13" fmla="*/ 747712 h 923925"/>
              <a:gd name="connsiteX14" fmla="*/ 273869 w 276562"/>
              <a:gd name="connsiteY14" fmla="*/ 842962 h 923925"/>
              <a:gd name="connsiteX15" fmla="*/ 273869 w 276562"/>
              <a:gd name="connsiteY15" fmla="*/ 923925 h 923925"/>
              <a:gd name="connsiteX0" fmla="*/ 25 w 276562"/>
              <a:gd name="connsiteY0" fmla="*/ 0 h 923925"/>
              <a:gd name="connsiteX1" fmla="*/ 25 w 276562"/>
              <a:gd name="connsiteY1" fmla="*/ 45243 h 923925"/>
              <a:gd name="connsiteX2" fmla="*/ 4787 w 276562"/>
              <a:gd name="connsiteY2" fmla="*/ 104775 h 923925"/>
              <a:gd name="connsiteX3" fmla="*/ 23838 w 276562"/>
              <a:gd name="connsiteY3" fmla="*/ 171450 h 923925"/>
              <a:gd name="connsiteX4" fmla="*/ 19075 w 276562"/>
              <a:gd name="connsiteY4" fmla="*/ 264318 h 923925"/>
              <a:gd name="connsiteX5" fmla="*/ 64319 w 276562"/>
              <a:gd name="connsiteY5" fmla="*/ 361950 h 923925"/>
              <a:gd name="connsiteX6" fmla="*/ 57175 w 276562"/>
              <a:gd name="connsiteY6" fmla="*/ 414337 h 923925"/>
              <a:gd name="connsiteX7" fmla="*/ 66700 w 276562"/>
              <a:gd name="connsiteY7" fmla="*/ 492918 h 923925"/>
              <a:gd name="connsiteX8" fmla="*/ 102419 w 276562"/>
              <a:gd name="connsiteY8" fmla="*/ 535781 h 923925"/>
              <a:gd name="connsiteX9" fmla="*/ 161950 w 276562"/>
              <a:gd name="connsiteY9" fmla="*/ 559593 h 923925"/>
              <a:gd name="connsiteX10" fmla="*/ 195288 w 276562"/>
              <a:gd name="connsiteY10" fmla="*/ 597693 h 923925"/>
              <a:gd name="connsiteX11" fmla="*/ 245294 w 276562"/>
              <a:gd name="connsiteY11" fmla="*/ 607218 h 923925"/>
              <a:gd name="connsiteX12" fmla="*/ 276250 w 276562"/>
              <a:gd name="connsiteY12" fmla="*/ 683418 h 923925"/>
              <a:gd name="connsiteX13" fmla="*/ 261963 w 276562"/>
              <a:gd name="connsiteY13" fmla="*/ 747712 h 923925"/>
              <a:gd name="connsiteX14" fmla="*/ 273869 w 276562"/>
              <a:gd name="connsiteY14" fmla="*/ 842962 h 923925"/>
              <a:gd name="connsiteX15" fmla="*/ 273869 w 276562"/>
              <a:gd name="connsiteY15" fmla="*/ 923925 h 923925"/>
              <a:gd name="connsiteX0" fmla="*/ 2866 w 276541"/>
              <a:gd name="connsiteY0" fmla="*/ 0 h 918201"/>
              <a:gd name="connsiteX1" fmla="*/ 4 w 276541"/>
              <a:gd name="connsiteY1" fmla="*/ 39519 h 918201"/>
              <a:gd name="connsiteX2" fmla="*/ 4766 w 276541"/>
              <a:gd name="connsiteY2" fmla="*/ 99051 h 918201"/>
              <a:gd name="connsiteX3" fmla="*/ 23817 w 276541"/>
              <a:gd name="connsiteY3" fmla="*/ 165726 h 918201"/>
              <a:gd name="connsiteX4" fmla="*/ 19054 w 276541"/>
              <a:gd name="connsiteY4" fmla="*/ 258594 h 918201"/>
              <a:gd name="connsiteX5" fmla="*/ 64298 w 276541"/>
              <a:gd name="connsiteY5" fmla="*/ 356226 h 918201"/>
              <a:gd name="connsiteX6" fmla="*/ 57154 w 276541"/>
              <a:gd name="connsiteY6" fmla="*/ 408613 h 918201"/>
              <a:gd name="connsiteX7" fmla="*/ 66679 w 276541"/>
              <a:gd name="connsiteY7" fmla="*/ 487194 h 918201"/>
              <a:gd name="connsiteX8" fmla="*/ 102398 w 276541"/>
              <a:gd name="connsiteY8" fmla="*/ 530057 h 918201"/>
              <a:gd name="connsiteX9" fmla="*/ 161929 w 276541"/>
              <a:gd name="connsiteY9" fmla="*/ 553869 h 918201"/>
              <a:gd name="connsiteX10" fmla="*/ 195267 w 276541"/>
              <a:gd name="connsiteY10" fmla="*/ 591969 h 918201"/>
              <a:gd name="connsiteX11" fmla="*/ 245273 w 276541"/>
              <a:gd name="connsiteY11" fmla="*/ 601494 h 918201"/>
              <a:gd name="connsiteX12" fmla="*/ 276229 w 276541"/>
              <a:gd name="connsiteY12" fmla="*/ 677694 h 918201"/>
              <a:gd name="connsiteX13" fmla="*/ 261942 w 276541"/>
              <a:gd name="connsiteY13" fmla="*/ 741988 h 918201"/>
              <a:gd name="connsiteX14" fmla="*/ 273848 w 276541"/>
              <a:gd name="connsiteY14" fmla="*/ 837238 h 918201"/>
              <a:gd name="connsiteX15" fmla="*/ 273848 w 276541"/>
              <a:gd name="connsiteY15" fmla="*/ 918201 h 918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6541" h="918201">
                <a:moveTo>
                  <a:pt x="2866" y="0"/>
                </a:moveTo>
                <a:cubicBezTo>
                  <a:pt x="21321" y="19447"/>
                  <a:pt x="-313" y="23011"/>
                  <a:pt x="4" y="39519"/>
                </a:cubicBezTo>
                <a:cubicBezTo>
                  <a:pt x="321" y="56027"/>
                  <a:pt x="797" y="78017"/>
                  <a:pt x="4766" y="99051"/>
                </a:cubicBezTo>
                <a:cubicBezTo>
                  <a:pt x="8735" y="120085"/>
                  <a:pt x="21436" y="139136"/>
                  <a:pt x="23817" y="165726"/>
                </a:cubicBezTo>
                <a:cubicBezTo>
                  <a:pt x="26198" y="192317"/>
                  <a:pt x="12307" y="226844"/>
                  <a:pt x="19054" y="258594"/>
                </a:cubicBezTo>
                <a:cubicBezTo>
                  <a:pt x="25801" y="290344"/>
                  <a:pt x="57948" y="331223"/>
                  <a:pt x="64298" y="356226"/>
                </a:cubicBezTo>
                <a:cubicBezTo>
                  <a:pt x="70648" y="381229"/>
                  <a:pt x="56757" y="386785"/>
                  <a:pt x="57154" y="408613"/>
                </a:cubicBezTo>
                <a:cubicBezTo>
                  <a:pt x="57551" y="430441"/>
                  <a:pt x="59138" y="466953"/>
                  <a:pt x="66679" y="487194"/>
                </a:cubicBezTo>
                <a:cubicBezTo>
                  <a:pt x="74220" y="507435"/>
                  <a:pt x="86523" y="518945"/>
                  <a:pt x="102398" y="530057"/>
                </a:cubicBezTo>
                <a:cubicBezTo>
                  <a:pt x="118273" y="541170"/>
                  <a:pt x="146451" y="543550"/>
                  <a:pt x="161929" y="553869"/>
                </a:cubicBezTo>
                <a:cubicBezTo>
                  <a:pt x="177407" y="564188"/>
                  <a:pt x="181376" y="584032"/>
                  <a:pt x="195267" y="591969"/>
                </a:cubicBezTo>
                <a:cubicBezTo>
                  <a:pt x="209158" y="599906"/>
                  <a:pt x="231779" y="587207"/>
                  <a:pt x="245273" y="601494"/>
                </a:cubicBezTo>
                <a:cubicBezTo>
                  <a:pt x="258767" y="615781"/>
                  <a:pt x="273451" y="654278"/>
                  <a:pt x="276229" y="677694"/>
                </a:cubicBezTo>
                <a:cubicBezTo>
                  <a:pt x="279007" y="701110"/>
                  <a:pt x="262339" y="715397"/>
                  <a:pt x="261942" y="741988"/>
                </a:cubicBezTo>
                <a:cubicBezTo>
                  <a:pt x="261545" y="768579"/>
                  <a:pt x="271864" y="807869"/>
                  <a:pt x="273848" y="837238"/>
                </a:cubicBezTo>
                <a:cubicBezTo>
                  <a:pt x="275832" y="866607"/>
                  <a:pt x="274840" y="892404"/>
                  <a:pt x="273848" y="918201"/>
                </a:cubicBezTo>
              </a:path>
            </a:pathLst>
          </a:custGeom>
          <a:noFill/>
          <a:ln w="57150" cmpd="dbl">
            <a:solidFill>
              <a:schemeClr val="accent1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4" name="Р-21 Кола СПб-Петрозаводск"/>
          <p:cNvSpPr/>
          <p:nvPr/>
        </p:nvSpPr>
        <p:spPr>
          <a:xfrm>
            <a:off x="5930262" y="1722673"/>
            <a:ext cx="391214" cy="186866"/>
          </a:xfrm>
          <a:custGeom>
            <a:avLst/>
            <a:gdLst>
              <a:gd name="connsiteX0" fmla="*/ 0 w 282575"/>
              <a:gd name="connsiteY0" fmla="*/ 74835 h 100362"/>
              <a:gd name="connsiteX1" fmla="*/ 76200 w 282575"/>
              <a:gd name="connsiteY1" fmla="*/ 100235 h 100362"/>
              <a:gd name="connsiteX2" fmla="*/ 161925 w 282575"/>
              <a:gd name="connsiteY2" fmla="*/ 65310 h 100362"/>
              <a:gd name="connsiteX3" fmla="*/ 190500 w 282575"/>
              <a:gd name="connsiteY3" fmla="*/ 62135 h 100362"/>
              <a:gd name="connsiteX4" fmla="*/ 171450 w 282575"/>
              <a:gd name="connsiteY4" fmla="*/ 36735 h 100362"/>
              <a:gd name="connsiteX5" fmla="*/ 203200 w 282575"/>
              <a:gd name="connsiteY5" fmla="*/ 1810 h 100362"/>
              <a:gd name="connsiteX6" fmla="*/ 231775 w 282575"/>
              <a:gd name="connsiteY6" fmla="*/ 4985 h 100362"/>
              <a:gd name="connsiteX7" fmla="*/ 282575 w 282575"/>
              <a:gd name="connsiteY7" fmla="*/ 4985 h 100362"/>
              <a:gd name="connsiteX0" fmla="*/ 0 w 206375"/>
              <a:gd name="connsiteY0" fmla="*/ 100235 h 100235"/>
              <a:gd name="connsiteX1" fmla="*/ 85725 w 206375"/>
              <a:gd name="connsiteY1" fmla="*/ 65310 h 100235"/>
              <a:gd name="connsiteX2" fmla="*/ 114300 w 206375"/>
              <a:gd name="connsiteY2" fmla="*/ 62135 h 100235"/>
              <a:gd name="connsiteX3" fmla="*/ 95250 w 206375"/>
              <a:gd name="connsiteY3" fmla="*/ 36735 h 100235"/>
              <a:gd name="connsiteX4" fmla="*/ 127000 w 206375"/>
              <a:gd name="connsiteY4" fmla="*/ 1810 h 100235"/>
              <a:gd name="connsiteX5" fmla="*/ 155575 w 206375"/>
              <a:gd name="connsiteY5" fmla="*/ 4985 h 100235"/>
              <a:gd name="connsiteX6" fmla="*/ 206375 w 206375"/>
              <a:gd name="connsiteY6" fmla="*/ 4985 h 100235"/>
              <a:gd name="connsiteX0" fmla="*/ 0 w 200025"/>
              <a:gd name="connsiteY0" fmla="*/ 93885 h 93885"/>
              <a:gd name="connsiteX1" fmla="*/ 79375 w 200025"/>
              <a:gd name="connsiteY1" fmla="*/ 65310 h 93885"/>
              <a:gd name="connsiteX2" fmla="*/ 107950 w 200025"/>
              <a:gd name="connsiteY2" fmla="*/ 62135 h 93885"/>
              <a:gd name="connsiteX3" fmla="*/ 88900 w 200025"/>
              <a:gd name="connsiteY3" fmla="*/ 36735 h 93885"/>
              <a:gd name="connsiteX4" fmla="*/ 120650 w 200025"/>
              <a:gd name="connsiteY4" fmla="*/ 1810 h 93885"/>
              <a:gd name="connsiteX5" fmla="*/ 149225 w 200025"/>
              <a:gd name="connsiteY5" fmla="*/ 4985 h 93885"/>
              <a:gd name="connsiteX6" fmla="*/ 200025 w 200025"/>
              <a:gd name="connsiteY6" fmla="*/ 4985 h 93885"/>
              <a:gd name="connsiteX0" fmla="*/ 0 w 200025"/>
              <a:gd name="connsiteY0" fmla="*/ 93885 h 93885"/>
              <a:gd name="connsiteX1" fmla="*/ 79375 w 200025"/>
              <a:gd name="connsiteY1" fmla="*/ 65310 h 93885"/>
              <a:gd name="connsiteX2" fmla="*/ 107950 w 200025"/>
              <a:gd name="connsiteY2" fmla="*/ 62135 h 93885"/>
              <a:gd name="connsiteX3" fmla="*/ 88900 w 200025"/>
              <a:gd name="connsiteY3" fmla="*/ 36735 h 93885"/>
              <a:gd name="connsiteX4" fmla="*/ 120650 w 200025"/>
              <a:gd name="connsiteY4" fmla="*/ 1810 h 93885"/>
              <a:gd name="connsiteX5" fmla="*/ 149225 w 200025"/>
              <a:gd name="connsiteY5" fmla="*/ 4985 h 93885"/>
              <a:gd name="connsiteX6" fmla="*/ 200025 w 200025"/>
              <a:gd name="connsiteY6" fmla="*/ 4985 h 93885"/>
              <a:gd name="connsiteX0" fmla="*/ 0 w 203200"/>
              <a:gd name="connsiteY0" fmla="*/ 97060 h 97060"/>
              <a:gd name="connsiteX1" fmla="*/ 82550 w 203200"/>
              <a:gd name="connsiteY1" fmla="*/ 65310 h 97060"/>
              <a:gd name="connsiteX2" fmla="*/ 111125 w 203200"/>
              <a:gd name="connsiteY2" fmla="*/ 62135 h 97060"/>
              <a:gd name="connsiteX3" fmla="*/ 92075 w 203200"/>
              <a:gd name="connsiteY3" fmla="*/ 36735 h 97060"/>
              <a:gd name="connsiteX4" fmla="*/ 123825 w 203200"/>
              <a:gd name="connsiteY4" fmla="*/ 1810 h 97060"/>
              <a:gd name="connsiteX5" fmla="*/ 152400 w 203200"/>
              <a:gd name="connsiteY5" fmla="*/ 4985 h 97060"/>
              <a:gd name="connsiteX6" fmla="*/ 203200 w 203200"/>
              <a:gd name="connsiteY6" fmla="*/ 4985 h 97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3200" h="97060">
                <a:moveTo>
                  <a:pt x="0" y="97060"/>
                </a:moveTo>
                <a:cubicBezTo>
                  <a:pt x="33337" y="76423"/>
                  <a:pt x="64029" y="71131"/>
                  <a:pt x="82550" y="65310"/>
                </a:cubicBezTo>
                <a:cubicBezTo>
                  <a:pt x="101071" y="59489"/>
                  <a:pt x="109538" y="66897"/>
                  <a:pt x="111125" y="62135"/>
                </a:cubicBezTo>
                <a:cubicBezTo>
                  <a:pt x="112712" y="57373"/>
                  <a:pt x="89958" y="46789"/>
                  <a:pt x="92075" y="36735"/>
                </a:cubicBezTo>
                <a:cubicBezTo>
                  <a:pt x="94192" y="26681"/>
                  <a:pt x="113771" y="7102"/>
                  <a:pt x="123825" y="1810"/>
                </a:cubicBezTo>
                <a:cubicBezTo>
                  <a:pt x="133879" y="-3482"/>
                  <a:pt x="139171" y="4456"/>
                  <a:pt x="152400" y="4985"/>
                </a:cubicBezTo>
                <a:cubicBezTo>
                  <a:pt x="165629" y="5514"/>
                  <a:pt x="184414" y="5249"/>
                  <a:pt x="203200" y="4985"/>
                </a:cubicBezTo>
              </a:path>
            </a:pathLst>
          </a:custGeom>
          <a:noFill/>
          <a:ln w="57150" cmpd="dbl">
            <a:solidFill>
              <a:schemeClr val="accent1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5" name="Овал 174"/>
          <p:cNvSpPr/>
          <p:nvPr/>
        </p:nvSpPr>
        <p:spPr>
          <a:xfrm>
            <a:off x="6308712" y="1679652"/>
            <a:ext cx="92223" cy="9009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217909" tIns="36311" rIns="217909" bIns="36311" numCol="1" spcCol="1270" rtlCol="0" anchor="ctr" anchorCtr="0">
            <a:noAutofit/>
          </a:bodyPr>
          <a:lstStyle/>
          <a:p>
            <a:pPr algn="just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6312963" y="1637941"/>
            <a:ext cx="67037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i="1" dirty="0" smtClean="0">
                <a:solidFill>
                  <a:schemeClr val="bg1">
                    <a:lumMod val="50000"/>
                  </a:schemeClr>
                </a:solidFill>
              </a:rPr>
              <a:t>Петрозаводск</a:t>
            </a:r>
            <a:endParaRPr lang="ru-RU" sz="6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2912" y="1165891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 smtClean="0"/>
              <a:t>Коллегия </a:t>
            </a:r>
            <a:r>
              <a:rPr lang="ru-RU" sz="1200" dirty="0"/>
              <a:t>Минтранса России </a:t>
            </a:r>
            <a:r>
              <a:rPr lang="ru-RU" sz="1200" dirty="0" smtClean="0"/>
              <a:t>06.07.2016 утвердила основные принципы </a:t>
            </a:r>
            <a:r>
              <a:rPr lang="ru-RU" sz="1200" dirty="0"/>
              <a:t>формирования </a:t>
            </a:r>
            <a:r>
              <a:rPr lang="ru-RU" sz="1200" dirty="0" smtClean="0"/>
              <a:t>сети </a:t>
            </a:r>
            <a:r>
              <a:rPr lang="ru-RU" sz="1200" dirty="0"/>
              <a:t>скоростных </a:t>
            </a:r>
            <a:r>
              <a:rPr lang="ru-RU" sz="1200" dirty="0" smtClean="0"/>
              <a:t>автодорог</a:t>
            </a:r>
            <a:r>
              <a:rPr lang="ru-RU" sz="1200" dirty="0"/>
              <a:t>: </a:t>
            </a:r>
            <a:endParaRPr lang="ru-RU" sz="1200" dirty="0" smtClean="0"/>
          </a:p>
          <a:p>
            <a:r>
              <a:rPr lang="ru-RU" sz="1200" dirty="0" smtClean="0"/>
              <a:t>  </a:t>
            </a:r>
            <a:endParaRPr lang="ru-RU" sz="1200" dirty="0"/>
          </a:p>
          <a:p>
            <a:pPr marL="228600" indent="-228600">
              <a:buAutoNum type="arabicPeriod"/>
            </a:pPr>
            <a:r>
              <a:rPr lang="ru-RU" sz="1200" dirty="0" smtClean="0"/>
              <a:t>Целостность </a:t>
            </a:r>
            <a:r>
              <a:rPr lang="ru-RU" sz="1200" dirty="0"/>
              <a:t>и непрерывность </a:t>
            </a:r>
            <a:r>
              <a:rPr lang="ru-RU" sz="1200" dirty="0" smtClean="0"/>
              <a:t>автодорог (возможность </a:t>
            </a:r>
            <a:r>
              <a:rPr lang="ru-RU" sz="1200" dirty="0"/>
              <a:t>сквозного скоростного сообщения на всех </a:t>
            </a:r>
            <a:r>
              <a:rPr lang="ru-RU" sz="1200" dirty="0" smtClean="0"/>
              <a:t>участках сети)</a:t>
            </a:r>
          </a:p>
          <a:p>
            <a:pPr marL="228600" indent="-228600">
              <a:buAutoNum type="arabicPeriod"/>
            </a:pPr>
            <a:endParaRPr lang="ru-RU" sz="1200" dirty="0" smtClean="0"/>
          </a:p>
          <a:p>
            <a:pPr marL="228600" indent="-228600">
              <a:buAutoNum type="arabicPeriod"/>
            </a:pPr>
            <a:r>
              <a:rPr lang="ru-RU" sz="1200" dirty="0"/>
              <a:t>Матрично-сетевой принцип </a:t>
            </a:r>
            <a:r>
              <a:rPr lang="ru-RU" sz="1200" dirty="0" smtClean="0"/>
              <a:t>планирования (соединение </a:t>
            </a:r>
            <a:r>
              <a:rPr lang="ru-RU" sz="1200" dirty="0"/>
              <a:t>по кратчайшему маршруту опорных </a:t>
            </a:r>
            <a:r>
              <a:rPr lang="ru-RU" sz="1200" dirty="0" smtClean="0"/>
              <a:t>точек - промышленных центров </a:t>
            </a:r>
            <a:r>
              <a:rPr lang="ru-RU" sz="1200" dirty="0"/>
              <a:t>и </a:t>
            </a:r>
            <a:r>
              <a:rPr lang="ru-RU" sz="1200" dirty="0" smtClean="0"/>
              <a:t>городских агломераций св.1 млн.человек)</a:t>
            </a:r>
          </a:p>
        </p:txBody>
      </p:sp>
    </p:spTree>
    <p:extLst>
      <p:ext uri="{BB962C8B-B14F-4D97-AF65-F5344CB8AC3E}">
        <p14:creationId xmlns:p14="http://schemas.microsoft.com/office/powerpoint/2010/main" val="30772887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99" b="1760"/>
          <a:stretch/>
        </p:blipFill>
        <p:spPr bwMode="auto">
          <a:xfrm>
            <a:off x="5222491" y="3907606"/>
            <a:ext cx="3505378" cy="190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5" name="Rectangle 2"/>
          <p:cNvSpPr>
            <a:spLocks noGrp="1" noChangeArrowheads="1"/>
          </p:cNvSpPr>
          <p:nvPr>
            <p:ph type="title"/>
          </p:nvPr>
        </p:nvSpPr>
        <p:spPr>
          <a:xfrm>
            <a:off x="537117" y="188640"/>
            <a:ext cx="5904656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 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МТМ «ЕВРОПА – ЗАПАДНЫЙ КИТАЙ»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0874" y="995383"/>
            <a:ext cx="3268604" cy="558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9" name="Группа 1"/>
          <p:cNvGrpSpPr>
            <a:grpSpLocks/>
          </p:cNvGrpSpPr>
          <p:nvPr/>
        </p:nvGrpSpPr>
        <p:grpSpPr bwMode="auto">
          <a:xfrm>
            <a:off x="1293765" y="1224848"/>
            <a:ext cx="3755649" cy="4972907"/>
            <a:chOff x="910022" y="1101857"/>
            <a:chExt cx="3937845" cy="5214338"/>
          </a:xfrm>
        </p:grpSpPr>
        <p:sp>
          <p:nvSpPr>
            <p:cNvPr id="180" name="Прямоугольник 179"/>
            <p:cNvSpPr/>
            <p:nvPr/>
          </p:nvSpPr>
          <p:spPr bwMode="auto">
            <a:xfrm>
              <a:off x="1723496" y="1101857"/>
              <a:ext cx="2232112" cy="26966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САНКТ-ПЕТЕРБУРГ</a:t>
              </a:r>
            </a:p>
          </p:txBody>
        </p:sp>
        <p:sp>
          <p:nvSpPr>
            <p:cNvPr id="181" name="Прямоугольник 180"/>
            <p:cNvSpPr/>
            <p:nvPr/>
          </p:nvSpPr>
          <p:spPr bwMode="auto">
            <a:xfrm>
              <a:off x="2489514" y="3717284"/>
              <a:ext cx="2162204" cy="8322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Нижний-Новгород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2" name="Прямоугольник 181"/>
            <p:cNvSpPr/>
            <p:nvPr/>
          </p:nvSpPr>
          <p:spPr bwMode="auto">
            <a:xfrm>
              <a:off x="1774676" y="2486714"/>
              <a:ext cx="515999" cy="15813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Тверь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3" name="Прямоугольник 182"/>
            <p:cNvSpPr/>
            <p:nvPr/>
          </p:nvSpPr>
          <p:spPr bwMode="auto">
            <a:xfrm>
              <a:off x="2267374" y="3308632"/>
              <a:ext cx="1015353" cy="22305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Владимир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4" name="Прямоугольник 183"/>
            <p:cNvSpPr/>
            <p:nvPr/>
          </p:nvSpPr>
          <p:spPr bwMode="auto">
            <a:xfrm>
              <a:off x="3251346" y="4096430"/>
              <a:ext cx="687444" cy="24302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КАЗАНЬ</a:t>
              </a:r>
            </a:p>
          </p:txBody>
        </p:sp>
        <p:sp>
          <p:nvSpPr>
            <p:cNvPr id="185" name="Прямоугольник 184"/>
            <p:cNvSpPr/>
            <p:nvPr/>
          </p:nvSpPr>
          <p:spPr bwMode="auto">
            <a:xfrm>
              <a:off x="3424393" y="6201340"/>
              <a:ext cx="1341598" cy="11485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ОРЕНБУРГ</a:t>
              </a:r>
            </a:p>
          </p:txBody>
        </p:sp>
        <p:sp>
          <p:nvSpPr>
            <p:cNvPr id="186" name="Прямоугольник 185"/>
            <p:cNvSpPr/>
            <p:nvPr/>
          </p:nvSpPr>
          <p:spPr bwMode="auto">
            <a:xfrm>
              <a:off x="3502138" y="4338872"/>
              <a:ext cx="685780" cy="24302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Шали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7" name="Прямоугольник 186"/>
            <p:cNvSpPr/>
            <p:nvPr/>
          </p:nvSpPr>
          <p:spPr bwMode="auto">
            <a:xfrm>
              <a:off x="3676704" y="5037011"/>
              <a:ext cx="685780" cy="24469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Бавлы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8" name="Прямоугольник 187"/>
            <p:cNvSpPr/>
            <p:nvPr/>
          </p:nvSpPr>
          <p:spPr bwMode="auto">
            <a:xfrm>
              <a:off x="3632772" y="5867083"/>
              <a:ext cx="1215095" cy="27465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Кумертау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9" name="Прямоугольник 188"/>
            <p:cNvSpPr/>
            <p:nvPr/>
          </p:nvSpPr>
          <p:spPr bwMode="auto">
            <a:xfrm>
              <a:off x="3394813" y="4645857"/>
              <a:ext cx="1342049" cy="24635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Сорочьи горы</a:t>
              </a:r>
              <a:endPara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90" name="Прямоугольник 189"/>
            <p:cNvSpPr/>
            <p:nvPr/>
          </p:nvSpPr>
          <p:spPr bwMode="auto">
            <a:xfrm>
              <a:off x="2419160" y="5310808"/>
              <a:ext cx="685780" cy="24302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САМАРА</a:t>
              </a:r>
              <a:endPara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91" name="Прямоугольник 190"/>
            <p:cNvSpPr/>
            <p:nvPr/>
          </p:nvSpPr>
          <p:spPr bwMode="auto">
            <a:xfrm>
              <a:off x="910022" y="3173758"/>
              <a:ext cx="1075276" cy="28131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830892">
                <a:defRPr/>
              </a:pP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МОСКВА</a:t>
              </a:r>
            </a:p>
          </p:txBody>
        </p:sp>
      </p:grpSp>
      <p:sp>
        <p:nvSpPr>
          <p:cNvPr id="195" name="Овал 194"/>
          <p:cNvSpPr/>
          <p:nvPr/>
        </p:nvSpPr>
        <p:spPr>
          <a:xfrm>
            <a:off x="2164655" y="1314784"/>
            <a:ext cx="151748" cy="150812"/>
          </a:xfrm>
          <a:prstGeom prst="ellipse">
            <a:avLst/>
          </a:prstGeom>
          <a:solidFill>
            <a:srgbClr val="E15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 defTabSz="83089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6" name="Овал 195"/>
          <p:cNvSpPr/>
          <p:nvPr/>
        </p:nvSpPr>
        <p:spPr>
          <a:xfrm>
            <a:off x="3401427" y="4266811"/>
            <a:ext cx="137953" cy="150812"/>
          </a:xfrm>
          <a:prstGeom prst="ellipse">
            <a:avLst/>
          </a:prstGeom>
          <a:solidFill>
            <a:srgbClr val="E15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 defTabSz="83089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7" name="Овал 196"/>
          <p:cNvSpPr/>
          <p:nvPr/>
        </p:nvSpPr>
        <p:spPr>
          <a:xfrm>
            <a:off x="3868003" y="5084494"/>
            <a:ext cx="137953" cy="137102"/>
          </a:xfrm>
          <a:prstGeom prst="ellipse">
            <a:avLst/>
          </a:prstGeom>
          <a:solidFill>
            <a:srgbClr val="E15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 defTabSz="83089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8" name="Овал 197"/>
          <p:cNvSpPr/>
          <p:nvPr/>
        </p:nvSpPr>
        <p:spPr>
          <a:xfrm>
            <a:off x="3868987" y="5831856"/>
            <a:ext cx="137953" cy="137102"/>
          </a:xfrm>
          <a:prstGeom prst="ellipse">
            <a:avLst/>
          </a:prstGeom>
          <a:solidFill>
            <a:srgbClr val="E15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 defTabSz="830892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99" name="Picture 5" descr="C:\Users\Kaluga_LV\Desktop\5e6a42_4f9fa381f03346a68089d4a5b476302c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045" y="1045132"/>
            <a:ext cx="215328" cy="215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0" name="Овал 199"/>
          <p:cNvSpPr/>
          <p:nvPr/>
        </p:nvSpPr>
        <p:spPr>
          <a:xfrm>
            <a:off x="1836759" y="3002449"/>
            <a:ext cx="183615" cy="200730"/>
          </a:xfrm>
          <a:prstGeom prst="ellipse">
            <a:avLst/>
          </a:prstGeom>
          <a:solidFill>
            <a:srgbClr val="E15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 defTabSz="83089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2" name="Овал 201"/>
          <p:cNvSpPr/>
          <p:nvPr/>
        </p:nvSpPr>
        <p:spPr>
          <a:xfrm>
            <a:off x="3418737" y="5221596"/>
            <a:ext cx="137953" cy="137102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 defTabSz="83089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3" name="Полилиния 202"/>
          <p:cNvSpPr/>
          <p:nvPr/>
        </p:nvSpPr>
        <p:spPr>
          <a:xfrm>
            <a:off x="2959808" y="4009078"/>
            <a:ext cx="452596" cy="1200150"/>
          </a:xfrm>
          <a:custGeom>
            <a:avLst/>
            <a:gdLst>
              <a:gd name="connsiteX0" fmla="*/ 119221 w 452596"/>
              <a:gd name="connsiteY0" fmla="*/ 0 h 1200150"/>
              <a:gd name="connsiteX1" fmla="*/ 4921 w 452596"/>
              <a:gd name="connsiteY1" fmla="*/ 238125 h 1200150"/>
              <a:gd name="connsiteX2" fmla="*/ 33496 w 452596"/>
              <a:gd name="connsiteY2" fmla="*/ 485775 h 1200150"/>
              <a:gd name="connsiteX3" fmla="*/ 147796 w 452596"/>
              <a:gd name="connsiteY3" fmla="*/ 1000125 h 1200150"/>
              <a:gd name="connsiteX4" fmla="*/ 452596 w 452596"/>
              <a:gd name="connsiteY4" fmla="*/ 1200150 h 120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596" h="1200150">
                <a:moveTo>
                  <a:pt x="119221" y="0"/>
                </a:moveTo>
                <a:cubicBezTo>
                  <a:pt x="69214" y="78581"/>
                  <a:pt x="19208" y="157163"/>
                  <a:pt x="4921" y="238125"/>
                </a:cubicBezTo>
                <a:cubicBezTo>
                  <a:pt x="-9367" y="319088"/>
                  <a:pt x="9684" y="358775"/>
                  <a:pt x="33496" y="485775"/>
                </a:cubicBezTo>
                <a:cubicBezTo>
                  <a:pt x="57308" y="612775"/>
                  <a:pt x="77946" y="881063"/>
                  <a:pt x="147796" y="1000125"/>
                </a:cubicBezTo>
                <a:cubicBezTo>
                  <a:pt x="217646" y="1119187"/>
                  <a:pt x="335121" y="1159668"/>
                  <a:pt x="452596" y="1200150"/>
                </a:cubicBezTo>
              </a:path>
            </a:pathLst>
          </a:custGeom>
          <a:noFill/>
          <a:ln w="57150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4" name="Полилиния 203"/>
          <p:cNvSpPr/>
          <p:nvPr/>
        </p:nvSpPr>
        <p:spPr>
          <a:xfrm>
            <a:off x="2945548" y="4002396"/>
            <a:ext cx="452596" cy="1200150"/>
          </a:xfrm>
          <a:custGeom>
            <a:avLst/>
            <a:gdLst>
              <a:gd name="connsiteX0" fmla="*/ 119221 w 452596"/>
              <a:gd name="connsiteY0" fmla="*/ 0 h 1200150"/>
              <a:gd name="connsiteX1" fmla="*/ 4921 w 452596"/>
              <a:gd name="connsiteY1" fmla="*/ 238125 h 1200150"/>
              <a:gd name="connsiteX2" fmla="*/ 33496 w 452596"/>
              <a:gd name="connsiteY2" fmla="*/ 485775 h 1200150"/>
              <a:gd name="connsiteX3" fmla="*/ 147796 w 452596"/>
              <a:gd name="connsiteY3" fmla="*/ 1000125 h 1200150"/>
              <a:gd name="connsiteX4" fmla="*/ 452596 w 452596"/>
              <a:gd name="connsiteY4" fmla="*/ 1200150 h 120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2596" h="1200150">
                <a:moveTo>
                  <a:pt x="119221" y="0"/>
                </a:moveTo>
                <a:cubicBezTo>
                  <a:pt x="69214" y="78581"/>
                  <a:pt x="19208" y="157163"/>
                  <a:pt x="4921" y="238125"/>
                </a:cubicBezTo>
                <a:cubicBezTo>
                  <a:pt x="-9367" y="319088"/>
                  <a:pt x="9684" y="358775"/>
                  <a:pt x="33496" y="485775"/>
                </a:cubicBezTo>
                <a:cubicBezTo>
                  <a:pt x="57308" y="612775"/>
                  <a:pt x="77946" y="881063"/>
                  <a:pt x="147796" y="1000125"/>
                </a:cubicBezTo>
                <a:cubicBezTo>
                  <a:pt x="217646" y="1119187"/>
                  <a:pt x="335121" y="1159668"/>
                  <a:pt x="452596" y="1200150"/>
                </a:cubicBezTo>
              </a:path>
            </a:pathLst>
          </a:cu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206" name="Table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022733"/>
              </p:ext>
            </p:extLst>
          </p:nvPr>
        </p:nvGraphicFramePr>
        <p:xfrm>
          <a:off x="118728" y="4162623"/>
          <a:ext cx="2818706" cy="1005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818706"/>
              </a:tblGrid>
              <a:tr h="92382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Скоростная автомобильная дорога </a:t>
                      </a:r>
                      <a:br>
                        <a:rPr lang="ru-RU" sz="1100" dirty="0" smtClean="0">
                          <a:latin typeface="+mn-lt"/>
                        </a:rPr>
                      </a:br>
                      <a:r>
                        <a:rPr lang="ru-RU" sz="1100" dirty="0" smtClean="0">
                          <a:latin typeface="+mn-lt"/>
                        </a:rPr>
                        <a:t>Москва –  Н.Новгород – Казань 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(724 км)</a:t>
                      </a:r>
                    </a:p>
                    <a:p>
                      <a:pPr algn="ctr"/>
                      <a:endParaRPr lang="ru-RU" sz="1100" dirty="0" smtClean="0">
                        <a:latin typeface="+mn-lt"/>
                      </a:endParaRPr>
                    </a:p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Стадия: Инженерные изыскания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и</a:t>
                      </a:r>
                      <a:r>
                        <a:rPr lang="ru-RU" sz="1100" baseline="0" dirty="0" smtClean="0">
                          <a:latin typeface="+mn-lt"/>
                        </a:rPr>
                        <a:t> проект планировки территории</a:t>
                      </a:r>
                      <a:endParaRPr lang="ru-RU" sz="1100" dirty="0" smtClean="0"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4173420" y="978539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sz="1400" dirty="0">
                <a:latin typeface="+mn-lt"/>
                <a:cs typeface="Tahoma" pitchFamily="34" charset="0"/>
              </a:rPr>
              <a:t>Общая протяженность </a:t>
            </a:r>
            <a:r>
              <a:rPr lang="ru-RU" altLang="ru-RU" sz="1400" dirty="0" smtClean="0">
                <a:latin typeface="+mn-lt"/>
                <a:cs typeface="Tahoma" pitchFamily="34" charset="0"/>
              </a:rPr>
              <a:t>МТМ ЕЗК </a:t>
            </a:r>
            <a:r>
              <a:rPr lang="ru-RU" altLang="ru-RU" sz="1400" dirty="0">
                <a:latin typeface="+mn-lt"/>
                <a:cs typeface="Tahoma" pitchFamily="34" charset="0"/>
              </a:rPr>
              <a:t>на территории Российской Федерации составляет </a:t>
            </a:r>
            <a:r>
              <a:rPr lang="ru-RU" altLang="ru-RU" sz="1400" dirty="0" smtClean="0">
                <a:latin typeface="+mn-lt"/>
                <a:cs typeface="Tahoma" pitchFamily="34" charset="0"/>
              </a:rPr>
              <a:t>порядка </a:t>
            </a:r>
            <a:r>
              <a:rPr lang="ru-RU" altLang="ru-RU" sz="1400" dirty="0">
                <a:latin typeface="+mn-lt"/>
                <a:cs typeface="Tahoma" pitchFamily="34" charset="0"/>
              </a:rPr>
              <a:t>2 600 км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0970" y="1543617"/>
            <a:ext cx="4536899" cy="2121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222492" y="5359349"/>
            <a:ext cx="499218" cy="4571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9480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98" y="836712"/>
            <a:ext cx="8552924" cy="381484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0000" endA="300" endPos="55500" dist="50800" dir="5400000" sy="-100000" algn="bl" rotWithShape="0"/>
          </a:effectLst>
        </p:spPr>
      </p:pic>
      <p:sp>
        <p:nvSpPr>
          <p:cNvPr id="31745" name="Rectangle 2"/>
          <p:cNvSpPr>
            <a:spLocks noGrp="1" noChangeArrowheads="1"/>
          </p:cNvSpPr>
          <p:nvPr>
            <p:ph type="title"/>
          </p:nvPr>
        </p:nvSpPr>
        <p:spPr>
          <a:xfrm>
            <a:off x="537117" y="188640"/>
            <a:ext cx="5904656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 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ПЕРСПЕКТИВЫ ДОРОЖНОГО СТРОИТЕЛЬСТВА   </a:t>
            </a:r>
            <a:b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</a:br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ПОСЛЕ 2021 г.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27584" y="1304395"/>
            <a:ext cx="1728192" cy="1066429"/>
          </a:xfrm>
          <a:prstGeom prst="rect">
            <a:avLst/>
          </a:prstGeom>
          <a:gradFill>
            <a:gsLst>
              <a:gs pos="0">
                <a:schemeClr val="accent6">
                  <a:tint val="50000"/>
                  <a:satMod val="300000"/>
                  <a:alpha val="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effectLst>
            <a:outerShdw blurRad="50800" dist="2286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Развитие магистральных коммуникаций и основных коридоров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6156176" y="1304395"/>
            <a:ext cx="2064855" cy="1066429"/>
          </a:xfrm>
          <a:prstGeom prst="rect">
            <a:avLst/>
          </a:prstGeom>
          <a:gradFill>
            <a:gsLst>
              <a:gs pos="0">
                <a:schemeClr val="accent6">
                  <a:tint val="50000"/>
                  <a:satMod val="300000"/>
                  <a:alpha val="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effectLst>
            <a:outerShdw blurRad="50800" dist="2286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Оптимальная конфигурация </a:t>
            </a:r>
            <a:r>
              <a:rPr lang="ru-RU" sz="1400" b="1" dirty="0" smtClean="0"/>
              <a:t>СЕТИ</a:t>
            </a:r>
            <a:r>
              <a:rPr lang="ru-RU" sz="1400" dirty="0" smtClean="0"/>
              <a:t> скоростных автодорог</a:t>
            </a:r>
            <a:endParaRPr lang="ru-RU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683568" y="4715827"/>
            <a:ext cx="510800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Существовавший порядок реализации не подходи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боснования (проработки) проектов - н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азработка проектной документации занимает до 5 л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финансирования для проектирования – н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тоимость будущего проекта – не известна…</a:t>
            </a:r>
            <a:endParaRPr lang="ru-RU" sz="1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491880" y="1303377"/>
            <a:ext cx="1728192" cy="1066429"/>
          </a:xfrm>
          <a:prstGeom prst="rect">
            <a:avLst/>
          </a:prstGeom>
          <a:effectLst>
            <a:outerShdw blurRad="50800" dist="2032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Нет системного подхода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2795988" y="1681419"/>
            <a:ext cx="432048" cy="31034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>
            <a:off x="5551005" y="1696127"/>
            <a:ext cx="432048" cy="31034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3361329"/>
            <a:ext cx="1728192" cy="1066429"/>
          </a:xfrm>
          <a:prstGeom prst="rect">
            <a:avLst/>
          </a:prstGeom>
          <a:gradFill>
            <a:gsLst>
              <a:gs pos="0">
                <a:schemeClr val="accent6">
                  <a:tint val="50000"/>
                  <a:satMod val="300000"/>
                  <a:alpha val="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effectLst>
            <a:outerShdw blurRad="50800" dist="2286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Формирование «портфеля» первоочередных проектов</a:t>
            </a:r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6156176" y="3361329"/>
            <a:ext cx="2064855" cy="1066429"/>
          </a:xfrm>
          <a:prstGeom prst="rect">
            <a:avLst/>
          </a:prstGeom>
          <a:gradFill>
            <a:gsLst>
              <a:gs pos="0">
                <a:schemeClr val="accent6">
                  <a:tint val="50000"/>
                  <a:satMod val="300000"/>
                  <a:alpha val="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effectLst>
            <a:outerShdw blurRad="50800" dist="2286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Подготовка к запуску </a:t>
            </a:r>
            <a:r>
              <a:rPr lang="ru-RU" sz="1400" dirty="0" err="1"/>
              <a:t>инвестпроектов</a:t>
            </a:r>
            <a:endParaRPr lang="ru-RU" sz="1400" dirty="0"/>
          </a:p>
          <a:p>
            <a:pPr algn="ctr"/>
            <a:r>
              <a:rPr lang="ru-RU" sz="1400" dirty="0"/>
              <a:t>за 2-3 год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491880" y="3360311"/>
            <a:ext cx="1728192" cy="1066429"/>
          </a:xfrm>
          <a:prstGeom prst="rect">
            <a:avLst/>
          </a:prstGeom>
          <a:effectLst>
            <a:outerShdw blurRad="50800" dist="2032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Нет </a:t>
            </a:r>
            <a:r>
              <a:rPr lang="ru-RU" sz="1400" dirty="0" smtClean="0"/>
              <a:t>проектов после 2021 года</a:t>
            </a:r>
            <a:endParaRPr lang="ru-RU" sz="1400" dirty="0"/>
          </a:p>
        </p:txBody>
      </p:sp>
      <p:sp>
        <p:nvSpPr>
          <p:cNvPr id="21" name="Стрелка вправо 20"/>
          <p:cNvSpPr/>
          <p:nvPr/>
        </p:nvSpPr>
        <p:spPr>
          <a:xfrm>
            <a:off x="2795988" y="3738353"/>
            <a:ext cx="432048" cy="31034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>
            <a:off x="5551005" y="3753061"/>
            <a:ext cx="432048" cy="31034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5220072" y="5836622"/>
            <a:ext cx="3357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…требуется </a:t>
            </a:r>
            <a:r>
              <a:rPr lang="ru-RU" b="1" dirty="0"/>
              <a:t>новый подход!</a:t>
            </a:r>
          </a:p>
        </p:txBody>
      </p:sp>
    </p:spTree>
    <p:extLst>
      <p:ext uri="{BB962C8B-B14F-4D97-AF65-F5344CB8AC3E}">
        <p14:creationId xmlns:p14="http://schemas.microsoft.com/office/powerpoint/2010/main" val="75146306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6" grpId="0" animBg="1"/>
      <p:bldP spid="6" grpId="0"/>
      <p:bldP spid="2" grpId="0" animBg="1"/>
      <p:bldP spid="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708209"/>
            <a:ext cx="1484784" cy="1484784"/>
          </a:xfrm>
          <a:prstGeom prst="rect">
            <a:avLst/>
          </a:prstGeom>
        </p:spPr>
      </p:pic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188640"/>
            <a:ext cx="6408712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 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ОПРЕДЕЛЕНИЕ ОПТИМАЛЬНОЙ КОНФИГУРАЦИИ СЕТИ (1/2)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412468" y="1268760"/>
            <a:ext cx="2364060" cy="1080120"/>
          </a:xfrm>
          <a:prstGeom prst="rect">
            <a:avLst/>
          </a:prstGeom>
          <a:gradFill>
            <a:gsLst>
              <a:gs pos="0">
                <a:schemeClr val="accent6">
                  <a:tint val="50000"/>
                  <a:satMod val="300000"/>
                  <a:alpha val="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effectLst>
            <a:outerShdw blurRad="50800" dist="2286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зработка стратегии и определение основных элементов сети дорог</a:t>
            </a:r>
            <a:endParaRPr lang="ru-RU" sz="1400" dirty="0"/>
          </a:p>
        </p:txBody>
      </p:sp>
      <p:sp>
        <p:nvSpPr>
          <p:cNvPr id="3" name="Скругленная прямоугольная выноска 2"/>
          <p:cNvSpPr/>
          <p:nvPr/>
        </p:nvSpPr>
        <p:spPr>
          <a:xfrm>
            <a:off x="1475656" y="2513533"/>
            <a:ext cx="2880320" cy="1188133"/>
          </a:xfrm>
          <a:prstGeom prst="wedgeRoundRectCallout">
            <a:avLst>
              <a:gd name="adj1" fmla="val -59330"/>
              <a:gd name="adj2" fmla="val 14880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 smtClean="0"/>
              <a:t>Определяютс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сновные </a:t>
            </a:r>
            <a:r>
              <a:rPr lang="ru-RU" sz="1200" dirty="0"/>
              <a:t>принципы построения сети скоростных </a:t>
            </a:r>
            <a:r>
              <a:rPr lang="ru-RU" sz="1200" dirty="0" smtClean="0"/>
              <a:t>автодорог 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(в том числе платных);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направления </a:t>
            </a:r>
            <a:r>
              <a:rPr lang="ru-RU" sz="1200" dirty="0"/>
              <a:t>развития сети, основные </a:t>
            </a:r>
            <a:r>
              <a:rPr lang="ru-RU" sz="1200" dirty="0" smtClean="0"/>
              <a:t>маршруты</a:t>
            </a:r>
            <a:r>
              <a:rPr lang="ru-RU" sz="1200" dirty="0"/>
              <a:t>.</a:t>
            </a:r>
            <a:endParaRPr lang="ru-RU" sz="1200" dirty="0" smtClean="0"/>
          </a:p>
        </p:txBody>
      </p:sp>
      <p:sp>
        <p:nvSpPr>
          <p:cNvPr id="40" name="Скругленная прямоугольная выноска 39"/>
          <p:cNvSpPr/>
          <p:nvPr/>
        </p:nvSpPr>
        <p:spPr>
          <a:xfrm>
            <a:off x="1475656" y="3818806"/>
            <a:ext cx="2880320" cy="818964"/>
          </a:xfrm>
          <a:prstGeom prst="wedgeRoundRectCallout">
            <a:avLst>
              <a:gd name="adj1" fmla="val -57629"/>
              <a:gd name="adj2" fmla="val -35962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/>
              <a:t>Подготавливается обоснование предлагаемых маршрутов (элементов сети), в </a:t>
            </a:r>
            <a:r>
              <a:rPr lang="ru-RU" sz="1200" dirty="0" err="1" smtClean="0"/>
              <a:t>т.ч</a:t>
            </a:r>
            <a:r>
              <a:rPr lang="ru-RU" sz="1200" dirty="0" smtClean="0"/>
              <a:t>. на </a:t>
            </a:r>
            <a:r>
              <a:rPr lang="ru-RU" sz="1200" dirty="0" err="1" smtClean="0"/>
              <a:t>осно-вании</a:t>
            </a:r>
            <a:r>
              <a:rPr lang="ru-RU" sz="1200" dirty="0" smtClean="0"/>
              <a:t> </a:t>
            </a:r>
            <a:r>
              <a:rPr lang="ru-RU" sz="1200" dirty="0"/>
              <a:t>транспортной модели ГК.</a:t>
            </a:r>
          </a:p>
        </p:txBody>
      </p:sp>
      <p:sp>
        <p:nvSpPr>
          <p:cNvPr id="44" name="Скругленная прямоугольная выноска 43"/>
          <p:cNvSpPr/>
          <p:nvPr/>
        </p:nvSpPr>
        <p:spPr>
          <a:xfrm>
            <a:off x="4584204" y="3818806"/>
            <a:ext cx="2724100" cy="818964"/>
          </a:xfrm>
          <a:prstGeom prst="wedgeRoundRectCallout">
            <a:avLst>
              <a:gd name="adj1" fmla="val 59679"/>
              <a:gd name="adj2" fmla="val -33259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 smtClean="0"/>
              <a:t>Подготавливается </a:t>
            </a:r>
            <a:r>
              <a:rPr lang="ru-RU" sz="1200" dirty="0"/>
              <a:t>укрупненное финансово-экономическое обоснование маршрутов и элементов сети </a:t>
            </a:r>
            <a:r>
              <a:rPr lang="ru-RU" sz="1200" dirty="0" smtClean="0"/>
              <a:t>автодорог</a:t>
            </a:r>
            <a:r>
              <a:rPr lang="ru-RU" sz="1200" dirty="0"/>
              <a:t>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894821"/>
            <a:ext cx="1111560" cy="1111560"/>
          </a:xfrm>
          <a:prstGeom prst="rect">
            <a:avLst/>
          </a:prstGeom>
        </p:spPr>
      </p:pic>
      <p:sp>
        <p:nvSpPr>
          <p:cNvPr id="41" name="Скругленная прямоугольная выноска 40"/>
          <p:cNvSpPr/>
          <p:nvPr/>
        </p:nvSpPr>
        <p:spPr>
          <a:xfrm>
            <a:off x="4499992" y="2513533"/>
            <a:ext cx="2808312" cy="1188133"/>
          </a:xfrm>
          <a:prstGeom prst="wedgeRoundRectCallout">
            <a:avLst>
              <a:gd name="adj1" fmla="val 60578"/>
              <a:gd name="adj2" fmla="val 15589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 smtClean="0"/>
              <a:t>Определяютс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сновные </a:t>
            </a:r>
            <a:r>
              <a:rPr lang="ru-RU" sz="1200" dirty="0"/>
              <a:t>принципы построения сети скоростных </a:t>
            </a:r>
            <a:r>
              <a:rPr lang="ru-RU" sz="1200" dirty="0" smtClean="0"/>
              <a:t>автодорог 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в том числе платных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озможные схемы реализации и финансирования </a:t>
            </a:r>
            <a:r>
              <a:rPr lang="ru-RU" sz="1200" dirty="0" smtClean="0"/>
              <a:t>проектов.</a:t>
            </a:r>
            <a:endParaRPr lang="ru-RU" sz="12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5029609"/>
            <a:ext cx="1052736" cy="105273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536428" y="4721832"/>
            <a:ext cx="20711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u="sng" dirty="0" smtClean="0"/>
              <a:t>Ключевые результаты:</a:t>
            </a:r>
            <a:endParaRPr lang="ru-RU" sz="1400" u="sng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820327" y="5114545"/>
            <a:ext cx="507129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Стратегия развития сети скоростных автодоро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крупненное </a:t>
            </a:r>
            <a:r>
              <a:rPr lang="ru-RU" sz="1400" dirty="0" smtClean="0"/>
              <a:t>обоснование целесообразности </a:t>
            </a:r>
            <a:r>
              <a:rPr lang="ru-RU" sz="1400" dirty="0"/>
              <a:t>реализации </a:t>
            </a:r>
            <a:r>
              <a:rPr lang="ru-RU" sz="1400" dirty="0" smtClean="0"/>
              <a:t>маршрута (</a:t>
            </a:r>
            <a:r>
              <a:rPr lang="ru-RU" sz="1400" dirty="0"/>
              <a:t>элемента сети</a:t>
            </a:r>
            <a:r>
              <a:rPr lang="ru-RU" sz="1400" dirty="0" smtClean="0"/>
              <a:t>), </a:t>
            </a:r>
            <a:r>
              <a:rPr lang="ru-RU" sz="1400" dirty="0"/>
              <a:t>включающее:</a:t>
            </a:r>
          </a:p>
          <a:p>
            <a:r>
              <a:rPr lang="ru-RU" sz="1400" dirty="0" smtClean="0"/>
              <a:t>      - </a:t>
            </a:r>
            <a:r>
              <a:rPr lang="ru-RU" sz="1400" dirty="0"/>
              <a:t>техническое </a:t>
            </a:r>
            <a:r>
              <a:rPr lang="ru-RU" sz="1400" dirty="0" smtClean="0"/>
              <a:t>обоснование</a:t>
            </a:r>
          </a:p>
          <a:p>
            <a:r>
              <a:rPr lang="ru-RU" sz="1400" dirty="0"/>
              <a:t> </a:t>
            </a:r>
            <a:r>
              <a:rPr lang="ru-RU" sz="1400" dirty="0" smtClean="0"/>
              <a:t>     - </a:t>
            </a:r>
            <a:r>
              <a:rPr lang="ru-RU" sz="1400" dirty="0"/>
              <a:t>финансово-экономическое обоснование</a:t>
            </a:r>
          </a:p>
        </p:txBody>
      </p:sp>
    </p:spTree>
    <p:extLst>
      <p:ext uri="{BB962C8B-B14F-4D97-AF65-F5344CB8AC3E}">
        <p14:creationId xmlns:p14="http://schemas.microsoft.com/office/powerpoint/2010/main" val="16895449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0" grpId="0" animBg="1"/>
      <p:bldP spid="44" grpId="0" animBg="1"/>
      <p:bldP spid="41" grpId="0" animBg="1"/>
      <p:bldP spid="15" grpId="0"/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894821"/>
            <a:ext cx="1111560" cy="111156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708209"/>
            <a:ext cx="1484784" cy="1484784"/>
          </a:xfrm>
          <a:prstGeom prst="rect">
            <a:avLst/>
          </a:prstGeom>
        </p:spPr>
      </p:pic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188640"/>
            <a:ext cx="6408712" cy="8640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  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ОПРЕДЕЛЕНИЕ ОПТИМАЛЬНОЙ КОНФИГУРАЦИИ СЕТИ (2/2)</a:t>
            </a:r>
            <a:endParaRPr lang="ru-RU" sz="1600" b="1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Скругленная прямоугольная выноска 2"/>
          <p:cNvSpPr/>
          <p:nvPr/>
        </p:nvSpPr>
        <p:spPr>
          <a:xfrm>
            <a:off x="1475656" y="2513534"/>
            <a:ext cx="2880320" cy="1679460"/>
          </a:xfrm>
          <a:prstGeom prst="wedgeRoundRectCallout">
            <a:avLst>
              <a:gd name="adj1" fmla="val -59330"/>
              <a:gd name="adj2" fmla="val 14880"/>
              <a:gd name="adj3" fmla="val 1666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выбор </a:t>
            </a:r>
            <a:r>
              <a:rPr lang="ru-RU" sz="1100" dirty="0"/>
              <a:t>(уточнение) наиболее оптимального маршрута </a:t>
            </a:r>
            <a:r>
              <a:rPr lang="ru-RU" sz="1100" dirty="0" smtClean="0"/>
              <a:t>(коридора </a:t>
            </a:r>
            <a:r>
              <a:rPr lang="ru-RU" sz="1100" dirty="0"/>
              <a:t>трассы шириной 10-15 км</a:t>
            </a:r>
            <a:r>
              <a:rPr lang="ru-RU" sz="110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определение </a:t>
            </a:r>
            <a:r>
              <a:rPr lang="ru-RU" sz="1100" dirty="0"/>
              <a:t>предварительной трассировки (с учетом детальной проработки коридора и </a:t>
            </a:r>
            <a:r>
              <a:rPr lang="ru-RU" sz="1100" dirty="0" smtClean="0"/>
              <a:t>камеральных </a:t>
            </a:r>
            <a:r>
              <a:rPr lang="ru-RU" sz="1100" dirty="0"/>
              <a:t>изысканий</a:t>
            </a:r>
            <a:r>
              <a:rPr lang="ru-RU" sz="1100" dirty="0" smtClean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предварительное </a:t>
            </a:r>
            <a:r>
              <a:rPr lang="ru-RU" sz="1100" dirty="0"/>
              <a:t>согласование с субъектами РФ </a:t>
            </a:r>
            <a:r>
              <a:rPr lang="ru-RU" sz="1100" dirty="0" smtClean="0"/>
              <a:t>трассировки</a:t>
            </a:r>
            <a:endParaRPr lang="ru-RU" sz="1100" dirty="0"/>
          </a:p>
        </p:txBody>
      </p:sp>
      <p:sp>
        <p:nvSpPr>
          <p:cNvPr id="41" name="Скругленная прямоугольная выноска 40"/>
          <p:cNvSpPr/>
          <p:nvPr/>
        </p:nvSpPr>
        <p:spPr>
          <a:xfrm>
            <a:off x="4499992" y="2513533"/>
            <a:ext cx="2808312" cy="1679460"/>
          </a:xfrm>
          <a:prstGeom prst="wedgeRoundRectCallout">
            <a:avLst>
              <a:gd name="adj1" fmla="val 60578"/>
              <a:gd name="adj2" fmla="val 15589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обоснование </a:t>
            </a:r>
            <a:r>
              <a:rPr lang="ru-RU" sz="1100" dirty="0"/>
              <a:t>целесообразности реализации </a:t>
            </a:r>
            <a:r>
              <a:rPr lang="ru-RU" sz="1100" dirty="0" smtClean="0"/>
              <a:t>проек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оценка </a:t>
            </a:r>
            <a:r>
              <a:rPr lang="ru-RU" sz="1100" dirty="0"/>
              <a:t>социально-экономического эффекта реализации </a:t>
            </a:r>
            <a:r>
              <a:rPr lang="ru-RU" sz="1100" dirty="0" smtClean="0"/>
              <a:t>проек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подготовка </a:t>
            </a:r>
            <a:r>
              <a:rPr lang="ru-RU" sz="1100" dirty="0"/>
              <a:t>укрупненной </a:t>
            </a:r>
            <a:r>
              <a:rPr lang="ru-RU" sz="1100" dirty="0" err="1" smtClean="0"/>
              <a:t>финансо</a:t>
            </a:r>
            <a:r>
              <a:rPr lang="ru-RU" sz="1100" dirty="0" smtClean="0"/>
              <a:t>-вой модел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предварительная </a:t>
            </a:r>
            <a:r>
              <a:rPr lang="ru-RU" sz="1100" dirty="0"/>
              <a:t>проработка возможных организационно-правовых схем </a:t>
            </a:r>
            <a:r>
              <a:rPr lang="ru-RU" sz="1100" dirty="0" smtClean="0"/>
              <a:t>реализации</a:t>
            </a:r>
            <a:endParaRPr lang="ru-RU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3464420" y="4293096"/>
            <a:ext cx="20711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u="sng" dirty="0" smtClean="0"/>
              <a:t>Ключевые результаты:</a:t>
            </a:r>
            <a:endParaRPr lang="ru-RU" sz="1400" u="sng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499992" y="4620904"/>
            <a:ext cx="446449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Материалы для внесения объекта в схему </a:t>
            </a:r>
            <a:r>
              <a:rPr lang="ru-RU" sz="1200" dirty="0" err="1" smtClean="0"/>
              <a:t>терпланирования</a:t>
            </a:r>
            <a:r>
              <a:rPr lang="ru-RU" sz="1200" dirty="0" smtClean="0"/>
              <a:t> </a:t>
            </a:r>
            <a:r>
              <a:rPr lang="ru-RU" sz="1200" dirty="0"/>
              <a:t>РФ (согласованные с субъектами РФ</a:t>
            </a:r>
            <a:r>
              <a:rPr lang="ru-RU" sz="1200" dirty="0" smtClean="0"/>
              <a:t>)</a:t>
            </a:r>
          </a:p>
          <a:p>
            <a:pPr lvl="0"/>
            <a:endParaRPr lang="ru-RU" sz="12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/>
              <a:t>Обоснование </a:t>
            </a:r>
            <a:r>
              <a:rPr lang="ru-RU" sz="1200" dirty="0" smtClean="0"/>
              <a:t>финансовых </a:t>
            </a:r>
            <a:r>
              <a:rPr lang="ru-RU" sz="1200" dirty="0"/>
              <a:t>параметров проекта </a:t>
            </a:r>
            <a:r>
              <a:rPr lang="ru-RU" sz="1200" dirty="0" smtClean="0"/>
              <a:t>для госпрограммы </a:t>
            </a:r>
            <a:r>
              <a:rPr lang="ru-RU" sz="1200" dirty="0"/>
              <a:t>«Развитие транспортной системы </a:t>
            </a:r>
            <a:r>
              <a:rPr lang="ru-RU" sz="1200" dirty="0" smtClean="0"/>
              <a:t>России» и Программы </a:t>
            </a:r>
            <a:r>
              <a:rPr lang="ru-RU" sz="1200" dirty="0"/>
              <a:t>деятельности ГК «</a:t>
            </a:r>
            <a:r>
              <a:rPr lang="ru-RU" sz="1200" dirty="0" err="1"/>
              <a:t>Автодор</a:t>
            </a:r>
            <a:r>
              <a:rPr lang="ru-RU" sz="1200" dirty="0" smtClean="0"/>
              <a:t>»</a:t>
            </a:r>
            <a:endParaRPr lang="ru-RU" sz="1200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3383868" y="1124744"/>
            <a:ext cx="2376264" cy="1152128"/>
          </a:xfrm>
          <a:prstGeom prst="rect">
            <a:avLst/>
          </a:prstGeom>
          <a:gradFill>
            <a:gsLst>
              <a:gs pos="0">
                <a:schemeClr val="accent6">
                  <a:tint val="50000"/>
                  <a:satMod val="300000"/>
                  <a:alpha val="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effectLst>
            <a:outerShdw blurRad="50800" dist="1270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dirty="0" smtClean="0"/>
              <a:t>Проработка отдельных участков (дорог) сети и обоснование целесообразности их реализации</a:t>
            </a:r>
            <a:endParaRPr lang="ru-RU" sz="13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477481" y="4758382"/>
            <a:ext cx="2880320" cy="92537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Распоряжение Правительства РФ о внесении изменений в схему территориального планирования РФ 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806329"/>
            <a:ext cx="877424" cy="877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60782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1" grpId="0" animBg="1"/>
      <p:bldP spid="15" grpId="0"/>
      <p:bldP spid="16" grpId="0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Aw.HrpskaoY5qvmvgE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31</TotalTime>
  <Words>1676</Words>
  <Application>Microsoft Office PowerPoint</Application>
  <PresentationFormat>Экран (4:3)</PresentationFormat>
  <Paragraphs>372</Paragraphs>
  <Slides>20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Специальное оформление</vt:lpstr>
      <vt:lpstr>Презентация PowerPoint</vt:lpstr>
      <vt:lpstr>ЦЕЛИ И ЗАДАЧИ ДОРОЖНОЙ ОТРАСЛИ</vt:lpstr>
      <vt:lpstr>Презентация PowerPoint</vt:lpstr>
      <vt:lpstr>Схема территориального планирования (утв. распоряжением Правительства РФ от 19.03.2013 №384-р)</vt:lpstr>
      <vt:lpstr>  СЕТЬ СКОРОСТНЫХ ДОРОГ</vt:lpstr>
      <vt:lpstr>  МТМ «ЕВРОПА – ЗАПАДНЫЙ КИТАЙ»</vt:lpstr>
      <vt:lpstr>  ПЕРСПЕКТИВЫ ДОРОЖНОГО СТРОИТЕЛЬСТВА      ПОСЛЕ 2021 г.</vt:lpstr>
      <vt:lpstr>  ОПРЕДЕЛЕНИЕ ОПТИМАЛЬНОЙ КОНФИГУРАЦИИ СЕТИ (1/2)</vt:lpstr>
      <vt:lpstr>  ОПРЕДЕЛЕНИЕ ОПТИМАЛЬНОЙ КОНФИГУРАЦИИ СЕТИ (2/2)</vt:lpstr>
      <vt:lpstr>ПОДГОТОВКА К ЗАПУСКУ ПЕРВООЧЕРЕДНЫХ ПРОЕКТОВ задачи и проблемы</vt:lpstr>
      <vt:lpstr>СУЩЕСТВУЮЩАЯ СХЕМА РЕАЛИЗАЦИИ ПРОЕКТОВ</vt:lpstr>
      <vt:lpstr>ПРЕДЛАГАЕМАЯ СХЕМА РЕАЛИЗАЦИИ ПРОЕКТОВ</vt:lpstr>
      <vt:lpstr>ОБЕСПЕЧИВАЕМЫЕ РЕЗУЛЬТАТЫ</vt:lpstr>
      <vt:lpstr>СОСТАВ ДОКУМЕНТАЦИИ ПО ПЛАНИРОВКЕ ТЕРРИТОРИИ</vt:lpstr>
      <vt:lpstr>ИНЖЕНЕРНЫЕ ИЗЫСКАНИЯ В ДОКУМЕНТАЦИИ ПО ПЛАНИРОВКЕ ТЕРРИТОРИИ</vt:lpstr>
      <vt:lpstr>ИНЖЕНЕРНЫЕ ИЗЫСКАНИЯ И ПРОЕКТНЫЕ РЕШЕНИЯ В ДОКУМЕНТАЦИИ ПО ПЛАНИРОВКЕ ТЕРРИТОРИИ</vt:lpstr>
      <vt:lpstr>ИНЖЕНЕРНЫЕ ИЗЫСКАНИЯ И ПРОЕКТНЫЕ РЕШЕНИЯ В ДОКУМЕНТАЦИИ ПО ПЛАНИРОВКЕ ТЕРРИТОРИИ</vt:lpstr>
      <vt:lpstr>ИНЖЕНЕРНЫЕ ИЗЫСКАНИЯ И ПРОЕКТНЫЕ РЕШЕНИЯ В ДОКУМЕНТАЦИИ ПО ПЛАНИРОВКЕ ТЕРРИТОРИИ</vt:lpstr>
      <vt:lpstr>ПЛАН-ГРАФИК ПОДГОТОВКИ ПРОЕКТА МОСКВА – НИЖНИЙ НОВГОРОД - КАЗАНЬ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Биктимиров Рушан Сеярович</cp:lastModifiedBy>
  <cp:revision>327</cp:revision>
  <cp:lastPrinted>2018-05-28T08:20:36Z</cp:lastPrinted>
  <dcterms:created xsi:type="dcterms:W3CDTF">2012-01-30T08:19:07Z</dcterms:created>
  <dcterms:modified xsi:type="dcterms:W3CDTF">2018-05-29T15:41:04Z</dcterms:modified>
</cp:coreProperties>
</file>